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5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notesSlides/notesSlide8.xml" ContentType="application/vnd.openxmlformats-officedocument.presentationml.notesSlide+xml"/>
  <Override PartName="/ppt/tags/tag2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62" r:id="rId4"/>
    <p:sldMasterId id="2147483699" r:id="rId5"/>
    <p:sldMasterId id="2147483679" r:id="rId6"/>
    <p:sldMasterId id="2147483682" r:id="rId7"/>
    <p:sldMasterId id="2147483708" r:id="rId8"/>
    <p:sldMasterId id="2147483980" r:id="rId9"/>
  </p:sldMasterIdLst>
  <p:notesMasterIdLst>
    <p:notesMasterId r:id="rId29"/>
  </p:notesMasterIdLst>
  <p:sldIdLst>
    <p:sldId id="4220" r:id="rId10"/>
    <p:sldId id="4221" r:id="rId11"/>
    <p:sldId id="4222" r:id="rId12"/>
    <p:sldId id="4223" r:id="rId13"/>
    <p:sldId id="4224" r:id="rId14"/>
    <p:sldId id="4225" r:id="rId15"/>
    <p:sldId id="4226" r:id="rId16"/>
    <p:sldId id="4227" r:id="rId17"/>
    <p:sldId id="4228" r:id="rId18"/>
    <p:sldId id="4229" r:id="rId19"/>
    <p:sldId id="4230" r:id="rId20"/>
    <p:sldId id="4231" r:id="rId21"/>
    <p:sldId id="4232" r:id="rId22"/>
    <p:sldId id="4233" r:id="rId23"/>
    <p:sldId id="256" r:id="rId24"/>
    <p:sldId id="283" r:id="rId25"/>
    <p:sldId id="313" r:id="rId26"/>
    <p:sldId id="297" r:id="rId27"/>
    <p:sldId id="293" r:id="rId28"/>
  </p:sldIdLst>
  <p:sldSz cx="9144000" cy="5143500" type="screen16x9"/>
  <p:notesSz cx="6858000" cy="9144000"/>
  <p:embeddedFontLst>
    <p:embeddedFont>
      <p:font typeface="Arial Nova Light" panose="020B0304020202020204" pitchFamily="34" charset="0"/>
      <p:regular r:id="rId30"/>
      <p:italic r:id="rId31"/>
    </p:embeddedFont>
    <p:embeddedFont>
      <p:font typeface="Century Gothic" panose="020B0502020202020204" pitchFamily="34" charset="0"/>
      <p:regular r:id="rId32"/>
      <p:bold r:id="rId33"/>
      <p:italic r:id="rId34"/>
      <p:boldItalic r:id="rId35"/>
    </p:embeddedFont>
    <p:embeddedFont>
      <p:font typeface="Elephant" panose="02020904090505020303" pitchFamily="18" charset="0"/>
      <p:regular r:id="rId36"/>
      <p:italic r:id="rId37"/>
    </p:embeddedFont>
    <p:embeddedFont>
      <p:font typeface="Montserrat" panose="00000500000000000000" pitchFamily="2" charset="0"/>
      <p:regular r:id="rId38"/>
      <p:bold r:id="rId39"/>
      <p:italic r:id="rId40"/>
      <p:boldItalic r:id="rId41"/>
    </p:embeddedFont>
    <p:embeddedFont>
      <p:font typeface="Montserrat Medium" pitchFamily="2" charset="0"/>
      <p:regular r:id="rId42"/>
      <p:italic r:id="rId43"/>
    </p:embeddedFont>
    <p:embeddedFont>
      <p:font typeface="Neue Haas Grotesk Text Pro" panose="020B0504020202020204" pitchFamily="34" charset="0"/>
      <p:regular r:id="rId44"/>
      <p:bold r:id="rId45"/>
      <p:italic r:id="rId46"/>
    </p:embeddedFont>
    <p:embeddedFont>
      <p:font typeface="Open Sans" panose="020B0606030504020204" pitchFamily="34" charset="0"/>
      <p:regular r:id="rId47"/>
      <p:bold r:id="rId48"/>
      <p:italic r:id="rId49"/>
      <p:boldItalic r:id="rId50"/>
    </p:embeddedFont>
    <p:embeddedFont>
      <p:font typeface="Playfair Display" panose="00000500000000000000" pitchFamily="2" charset="0"/>
      <p:regular r:id="rId51"/>
      <p:bold r:id="rId52"/>
      <p:italic r:id="rId53"/>
      <p:boldItalic r:id="rId54"/>
    </p:embeddedFont>
    <p:embeddedFont>
      <p:font typeface="Tenorite" panose="00000500000000000000" pitchFamily="2" charset="0"/>
      <p:regular r:id="rId55"/>
      <p:bold r:id="rId56"/>
    </p:embeddedFont>
    <p:embeddedFont>
      <p:font typeface="Tinos" panose="020B0604020202020204" charset="0"/>
      <p:regular r:id="rId57"/>
      <p:bold r:id="rId58"/>
      <p:italic r:id="rId59"/>
      <p:boldItalic r:id="rId60"/>
    </p:embeddedFont>
    <p:embeddedFont>
      <p:font typeface="Verdana" panose="020B0604030504040204" pitchFamily="34" charset="0"/>
      <p:regular r:id="rId61"/>
      <p:bold r:id="rId62"/>
      <p:italic r:id="rId63"/>
      <p:boldItalic r:id="rId64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3F09206-165E-4825-9BA1-353705293EFE}" v="3" dt="2024-04-11T13:51:48.82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95" d="100"/>
          <a:sy n="95" d="100"/>
        </p:scale>
        <p:origin x="77" y="48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7.xml"/><Relationship Id="rId21" Type="http://schemas.openxmlformats.org/officeDocument/2006/relationships/slide" Target="slides/slide12.xml"/><Relationship Id="rId42" Type="http://schemas.openxmlformats.org/officeDocument/2006/relationships/font" Target="fonts/font13.fntdata"/><Relationship Id="rId47" Type="http://schemas.openxmlformats.org/officeDocument/2006/relationships/font" Target="fonts/font18.fntdata"/><Relationship Id="rId63" Type="http://schemas.openxmlformats.org/officeDocument/2006/relationships/font" Target="fonts/font34.fntdata"/><Relationship Id="rId68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9" Type="http://schemas.openxmlformats.org/officeDocument/2006/relationships/notesMaster" Target="notesMasters/notesMaster1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font" Target="fonts/font3.fntdata"/><Relationship Id="rId37" Type="http://schemas.openxmlformats.org/officeDocument/2006/relationships/font" Target="fonts/font8.fntdata"/><Relationship Id="rId40" Type="http://schemas.openxmlformats.org/officeDocument/2006/relationships/font" Target="fonts/font11.fntdata"/><Relationship Id="rId45" Type="http://schemas.openxmlformats.org/officeDocument/2006/relationships/font" Target="fonts/font16.fntdata"/><Relationship Id="rId53" Type="http://schemas.openxmlformats.org/officeDocument/2006/relationships/font" Target="fonts/font24.fntdata"/><Relationship Id="rId58" Type="http://schemas.openxmlformats.org/officeDocument/2006/relationships/font" Target="fonts/font29.fntdata"/><Relationship Id="rId66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61" Type="http://schemas.openxmlformats.org/officeDocument/2006/relationships/font" Target="fonts/font32.fntdata"/><Relationship Id="rId19" Type="http://schemas.openxmlformats.org/officeDocument/2006/relationships/slide" Target="slides/slide10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font" Target="fonts/font1.fntdata"/><Relationship Id="rId35" Type="http://schemas.openxmlformats.org/officeDocument/2006/relationships/font" Target="fonts/font6.fntdata"/><Relationship Id="rId43" Type="http://schemas.openxmlformats.org/officeDocument/2006/relationships/font" Target="fonts/font14.fntdata"/><Relationship Id="rId48" Type="http://schemas.openxmlformats.org/officeDocument/2006/relationships/font" Target="fonts/font19.fntdata"/><Relationship Id="rId56" Type="http://schemas.openxmlformats.org/officeDocument/2006/relationships/font" Target="fonts/font27.fntdata"/><Relationship Id="rId64" Type="http://schemas.openxmlformats.org/officeDocument/2006/relationships/font" Target="fonts/font35.fntdata"/><Relationship Id="rId69" Type="http://schemas.microsoft.com/office/2016/11/relationships/changesInfo" Target="changesInfos/changesInfo1.xml"/><Relationship Id="rId8" Type="http://schemas.openxmlformats.org/officeDocument/2006/relationships/slideMaster" Target="slideMasters/slideMaster5.xml"/><Relationship Id="rId51" Type="http://schemas.openxmlformats.org/officeDocument/2006/relationships/font" Target="fonts/font22.fntdata"/><Relationship Id="rId3" Type="http://schemas.openxmlformats.org/officeDocument/2006/relationships/customXml" Target="../customXml/item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font" Target="fonts/font4.fntdata"/><Relationship Id="rId38" Type="http://schemas.openxmlformats.org/officeDocument/2006/relationships/font" Target="fonts/font9.fntdata"/><Relationship Id="rId46" Type="http://schemas.openxmlformats.org/officeDocument/2006/relationships/font" Target="fonts/font17.fntdata"/><Relationship Id="rId59" Type="http://schemas.openxmlformats.org/officeDocument/2006/relationships/font" Target="fonts/font30.fntdata"/><Relationship Id="rId67" Type="http://schemas.openxmlformats.org/officeDocument/2006/relationships/theme" Target="theme/theme1.xml"/><Relationship Id="rId20" Type="http://schemas.openxmlformats.org/officeDocument/2006/relationships/slide" Target="slides/slide11.xml"/><Relationship Id="rId41" Type="http://schemas.openxmlformats.org/officeDocument/2006/relationships/font" Target="fonts/font12.fntdata"/><Relationship Id="rId54" Type="http://schemas.openxmlformats.org/officeDocument/2006/relationships/font" Target="fonts/font25.fntdata"/><Relationship Id="rId62" Type="http://schemas.openxmlformats.org/officeDocument/2006/relationships/font" Target="fonts/font33.fntdata"/><Relationship Id="rId7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font" Target="fonts/font7.fntdata"/><Relationship Id="rId49" Type="http://schemas.openxmlformats.org/officeDocument/2006/relationships/font" Target="fonts/font20.fntdata"/><Relationship Id="rId57" Type="http://schemas.openxmlformats.org/officeDocument/2006/relationships/font" Target="fonts/font28.fntdata"/><Relationship Id="rId10" Type="http://schemas.openxmlformats.org/officeDocument/2006/relationships/slide" Target="slides/slide1.xml"/><Relationship Id="rId31" Type="http://schemas.openxmlformats.org/officeDocument/2006/relationships/font" Target="fonts/font2.fntdata"/><Relationship Id="rId44" Type="http://schemas.openxmlformats.org/officeDocument/2006/relationships/font" Target="fonts/font15.fntdata"/><Relationship Id="rId52" Type="http://schemas.openxmlformats.org/officeDocument/2006/relationships/font" Target="fonts/font23.fntdata"/><Relationship Id="rId60" Type="http://schemas.openxmlformats.org/officeDocument/2006/relationships/font" Target="fonts/font31.fntdata"/><Relationship Id="rId65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39" Type="http://schemas.openxmlformats.org/officeDocument/2006/relationships/font" Target="fonts/font10.fntdata"/><Relationship Id="rId34" Type="http://schemas.openxmlformats.org/officeDocument/2006/relationships/font" Target="fonts/font5.fntdata"/><Relationship Id="rId50" Type="http://schemas.openxmlformats.org/officeDocument/2006/relationships/font" Target="fonts/font21.fntdata"/><Relationship Id="rId55" Type="http://schemas.openxmlformats.org/officeDocument/2006/relationships/font" Target="fonts/font26.fntdata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ena Dunham" userId="7a8e6d5e-cb96-47cf-aa9f-438249cb2abd" providerId="ADAL" clId="{66C4394E-CFA1-44C5-AC5B-E5892329A3D8}"/>
    <pc:docChg chg="undo custSel modSld">
      <pc:chgData name="Lena Dunham" userId="7a8e6d5e-cb96-47cf-aa9f-438249cb2abd" providerId="ADAL" clId="{66C4394E-CFA1-44C5-AC5B-E5892329A3D8}" dt="2024-01-11T16:03:51.553" v="302" actId="20577"/>
      <pc:docMkLst>
        <pc:docMk/>
      </pc:docMkLst>
      <pc:sldChg chg="modSp mod">
        <pc:chgData name="Lena Dunham" userId="7a8e6d5e-cb96-47cf-aa9f-438249cb2abd" providerId="ADAL" clId="{66C4394E-CFA1-44C5-AC5B-E5892329A3D8}" dt="2024-01-11T16:03:51.553" v="302" actId="20577"/>
        <pc:sldMkLst>
          <pc:docMk/>
          <pc:sldMk cId="1769625664" sldId="4220"/>
        </pc:sldMkLst>
        <pc:spChg chg="mod">
          <ac:chgData name="Lena Dunham" userId="7a8e6d5e-cb96-47cf-aa9f-438249cb2abd" providerId="ADAL" clId="{66C4394E-CFA1-44C5-AC5B-E5892329A3D8}" dt="2024-01-11T15:47:46.583" v="11" actId="20577"/>
          <ac:spMkLst>
            <pc:docMk/>
            <pc:sldMk cId="1769625664" sldId="4220"/>
            <ac:spMk id="6" creationId="{00000000-0000-0000-0000-000000000000}"/>
          </ac:spMkLst>
        </pc:spChg>
        <pc:spChg chg="mod">
          <ac:chgData name="Lena Dunham" userId="7a8e6d5e-cb96-47cf-aa9f-438249cb2abd" providerId="ADAL" clId="{66C4394E-CFA1-44C5-AC5B-E5892329A3D8}" dt="2024-01-11T15:49:05.433" v="206" actId="20577"/>
          <ac:spMkLst>
            <pc:docMk/>
            <pc:sldMk cId="1769625664" sldId="4220"/>
            <ac:spMk id="9" creationId="{00000000-0000-0000-0000-000000000000}"/>
          </ac:spMkLst>
        </pc:spChg>
        <pc:spChg chg="mod">
          <ac:chgData name="Lena Dunham" userId="7a8e6d5e-cb96-47cf-aa9f-438249cb2abd" providerId="ADAL" clId="{66C4394E-CFA1-44C5-AC5B-E5892329A3D8}" dt="2024-01-11T16:03:51.553" v="302" actId="20577"/>
          <ac:spMkLst>
            <pc:docMk/>
            <pc:sldMk cId="1769625664" sldId="4220"/>
            <ac:spMk id="12" creationId="{36492090-DDEF-40FC-BCE6-8DC048D8E8F5}"/>
          </ac:spMkLst>
        </pc:spChg>
      </pc:sldChg>
    </pc:docChg>
  </pc:docChgLst>
  <pc:docChgLst>
    <pc:chgData name="Lena Dunham" userId="7a8e6d5e-cb96-47cf-aa9f-438249cb2abd" providerId="ADAL" clId="{BF87C713-C17B-413C-889B-A80714A7F1C9}"/>
    <pc:docChg chg="custSel modSld">
      <pc:chgData name="Lena Dunham" userId="7a8e6d5e-cb96-47cf-aa9f-438249cb2abd" providerId="ADAL" clId="{BF87C713-C17B-413C-889B-A80714A7F1C9}" dt="2023-11-09T13:53:56.509" v="192" actId="20577"/>
      <pc:docMkLst>
        <pc:docMk/>
      </pc:docMkLst>
      <pc:sldChg chg="modSp mod">
        <pc:chgData name="Lena Dunham" userId="7a8e6d5e-cb96-47cf-aa9f-438249cb2abd" providerId="ADAL" clId="{BF87C713-C17B-413C-889B-A80714A7F1C9}" dt="2023-11-09T13:53:56.509" v="192" actId="20577"/>
        <pc:sldMkLst>
          <pc:docMk/>
          <pc:sldMk cId="1769625664" sldId="4220"/>
        </pc:sldMkLst>
        <pc:spChg chg="mod">
          <ac:chgData name="Lena Dunham" userId="7a8e6d5e-cb96-47cf-aa9f-438249cb2abd" providerId="ADAL" clId="{BF87C713-C17B-413C-889B-A80714A7F1C9}" dt="2023-11-09T13:53:46.153" v="176" actId="20577"/>
          <ac:spMkLst>
            <pc:docMk/>
            <pc:sldMk cId="1769625664" sldId="4220"/>
            <ac:spMk id="6" creationId="{00000000-0000-0000-0000-000000000000}"/>
          </ac:spMkLst>
        </pc:spChg>
        <pc:spChg chg="mod">
          <ac:chgData name="Lena Dunham" userId="7a8e6d5e-cb96-47cf-aa9f-438249cb2abd" providerId="ADAL" clId="{BF87C713-C17B-413C-889B-A80714A7F1C9}" dt="2023-11-09T13:53:56.509" v="192" actId="20577"/>
          <ac:spMkLst>
            <pc:docMk/>
            <pc:sldMk cId="1769625664" sldId="4220"/>
            <ac:spMk id="9" creationId="{00000000-0000-0000-0000-000000000000}"/>
          </ac:spMkLst>
        </pc:spChg>
        <pc:spChg chg="mod">
          <ac:chgData name="Lena Dunham" userId="7a8e6d5e-cb96-47cf-aa9f-438249cb2abd" providerId="ADAL" clId="{BF87C713-C17B-413C-889B-A80714A7F1C9}" dt="2023-11-09T13:53:41.427" v="166" actId="20577"/>
          <ac:spMkLst>
            <pc:docMk/>
            <pc:sldMk cId="1769625664" sldId="4220"/>
            <ac:spMk id="12" creationId="{36492090-DDEF-40FC-BCE6-8DC048D8E8F5}"/>
          </ac:spMkLst>
        </pc:spChg>
      </pc:sldChg>
    </pc:docChg>
  </pc:docChgLst>
  <pc:docChgLst>
    <pc:chgData name="Justine Allen" userId="74a19456-9297-4ccb-83db-a0ad0cec6ea4" providerId="ADAL" clId="{147592CF-B9AD-44F8-A1B4-43B073AE25A1}"/>
    <pc:docChg chg="delSld delMainMaster">
      <pc:chgData name="Justine Allen" userId="74a19456-9297-4ccb-83db-a0ad0cec6ea4" providerId="ADAL" clId="{147592CF-B9AD-44F8-A1B4-43B073AE25A1}" dt="2024-02-08T19:44:20.973" v="4" actId="47"/>
      <pc:docMkLst>
        <pc:docMk/>
      </pc:docMkLst>
      <pc:sldChg chg="del">
        <pc:chgData name="Justine Allen" userId="74a19456-9297-4ccb-83db-a0ad0cec6ea4" providerId="ADAL" clId="{147592CF-B9AD-44F8-A1B4-43B073AE25A1}" dt="2024-02-08T19:44:18.258" v="0" actId="47"/>
        <pc:sldMkLst>
          <pc:docMk/>
          <pc:sldMk cId="3013068127" sldId="258"/>
        </pc:sldMkLst>
      </pc:sldChg>
      <pc:sldChg chg="del">
        <pc:chgData name="Justine Allen" userId="74a19456-9297-4ccb-83db-a0ad0cec6ea4" providerId="ADAL" clId="{147592CF-B9AD-44F8-A1B4-43B073AE25A1}" dt="2024-02-08T19:44:20.973" v="4" actId="47"/>
        <pc:sldMkLst>
          <pc:docMk/>
          <pc:sldMk cId="643801695" sldId="292"/>
        </pc:sldMkLst>
      </pc:sldChg>
      <pc:sldChg chg="del">
        <pc:chgData name="Justine Allen" userId="74a19456-9297-4ccb-83db-a0ad0cec6ea4" providerId="ADAL" clId="{147592CF-B9AD-44F8-A1B4-43B073AE25A1}" dt="2024-02-08T19:44:18.258" v="0" actId="47"/>
        <pc:sldMkLst>
          <pc:docMk/>
          <pc:sldMk cId="89204853" sldId="294"/>
        </pc:sldMkLst>
      </pc:sldChg>
      <pc:sldChg chg="del">
        <pc:chgData name="Justine Allen" userId="74a19456-9297-4ccb-83db-a0ad0cec6ea4" providerId="ADAL" clId="{147592CF-B9AD-44F8-A1B4-43B073AE25A1}" dt="2024-02-08T19:44:19.536" v="1" actId="47"/>
        <pc:sldMkLst>
          <pc:docMk/>
          <pc:sldMk cId="1413202731" sldId="299"/>
        </pc:sldMkLst>
      </pc:sldChg>
      <pc:sldChg chg="del">
        <pc:chgData name="Justine Allen" userId="74a19456-9297-4ccb-83db-a0ad0cec6ea4" providerId="ADAL" clId="{147592CF-B9AD-44F8-A1B4-43B073AE25A1}" dt="2024-02-08T19:44:19.831" v="2" actId="47"/>
        <pc:sldMkLst>
          <pc:docMk/>
          <pc:sldMk cId="517680780" sldId="302"/>
        </pc:sldMkLst>
      </pc:sldChg>
      <pc:sldChg chg="del">
        <pc:chgData name="Justine Allen" userId="74a19456-9297-4ccb-83db-a0ad0cec6ea4" providerId="ADAL" clId="{147592CF-B9AD-44F8-A1B4-43B073AE25A1}" dt="2024-02-08T19:44:20.318" v="3" actId="47"/>
        <pc:sldMkLst>
          <pc:docMk/>
          <pc:sldMk cId="2689780903" sldId="304"/>
        </pc:sldMkLst>
      </pc:sldChg>
      <pc:sldMasterChg chg="del delSldLayout">
        <pc:chgData name="Justine Allen" userId="74a19456-9297-4ccb-83db-a0ad0cec6ea4" providerId="ADAL" clId="{147592CF-B9AD-44F8-A1B4-43B073AE25A1}" dt="2024-02-08T19:44:20.973" v="4" actId="47"/>
        <pc:sldMasterMkLst>
          <pc:docMk/>
          <pc:sldMasterMk cId="2640570097" sldId="2147483708"/>
        </pc:sldMasterMkLst>
        <pc:sldLayoutChg chg="del">
          <pc:chgData name="Justine Allen" userId="74a19456-9297-4ccb-83db-a0ad0cec6ea4" providerId="ADAL" clId="{147592CF-B9AD-44F8-A1B4-43B073AE25A1}" dt="2024-02-08T19:44:20.973" v="4" actId="47"/>
          <pc:sldLayoutMkLst>
            <pc:docMk/>
            <pc:sldMasterMk cId="2640570097" sldId="2147483708"/>
            <pc:sldLayoutMk cId="1587609612" sldId="2147483709"/>
          </pc:sldLayoutMkLst>
        </pc:sldLayoutChg>
        <pc:sldLayoutChg chg="del">
          <pc:chgData name="Justine Allen" userId="74a19456-9297-4ccb-83db-a0ad0cec6ea4" providerId="ADAL" clId="{147592CF-B9AD-44F8-A1B4-43B073AE25A1}" dt="2024-02-08T19:44:20.973" v="4" actId="47"/>
          <pc:sldLayoutMkLst>
            <pc:docMk/>
            <pc:sldMasterMk cId="2640570097" sldId="2147483708"/>
            <pc:sldLayoutMk cId="4213476284" sldId="2147483710"/>
          </pc:sldLayoutMkLst>
        </pc:sldLayoutChg>
        <pc:sldLayoutChg chg="del">
          <pc:chgData name="Justine Allen" userId="74a19456-9297-4ccb-83db-a0ad0cec6ea4" providerId="ADAL" clId="{147592CF-B9AD-44F8-A1B4-43B073AE25A1}" dt="2024-02-08T19:44:20.973" v="4" actId="47"/>
          <pc:sldLayoutMkLst>
            <pc:docMk/>
            <pc:sldMasterMk cId="2640570097" sldId="2147483708"/>
            <pc:sldLayoutMk cId="2370771119" sldId="2147483711"/>
          </pc:sldLayoutMkLst>
        </pc:sldLayoutChg>
        <pc:sldLayoutChg chg="del">
          <pc:chgData name="Justine Allen" userId="74a19456-9297-4ccb-83db-a0ad0cec6ea4" providerId="ADAL" clId="{147592CF-B9AD-44F8-A1B4-43B073AE25A1}" dt="2024-02-08T19:44:20.973" v="4" actId="47"/>
          <pc:sldLayoutMkLst>
            <pc:docMk/>
            <pc:sldMasterMk cId="2640570097" sldId="2147483708"/>
            <pc:sldLayoutMk cId="3912695964" sldId="2147483712"/>
          </pc:sldLayoutMkLst>
        </pc:sldLayoutChg>
        <pc:sldLayoutChg chg="del">
          <pc:chgData name="Justine Allen" userId="74a19456-9297-4ccb-83db-a0ad0cec6ea4" providerId="ADAL" clId="{147592CF-B9AD-44F8-A1B4-43B073AE25A1}" dt="2024-02-08T19:44:20.973" v="4" actId="47"/>
          <pc:sldLayoutMkLst>
            <pc:docMk/>
            <pc:sldMasterMk cId="2640570097" sldId="2147483708"/>
            <pc:sldLayoutMk cId="2854220922" sldId="2147483713"/>
          </pc:sldLayoutMkLst>
        </pc:sldLayoutChg>
        <pc:sldLayoutChg chg="del">
          <pc:chgData name="Justine Allen" userId="74a19456-9297-4ccb-83db-a0ad0cec6ea4" providerId="ADAL" clId="{147592CF-B9AD-44F8-A1B4-43B073AE25A1}" dt="2024-02-08T19:44:20.973" v="4" actId="47"/>
          <pc:sldLayoutMkLst>
            <pc:docMk/>
            <pc:sldMasterMk cId="2640570097" sldId="2147483708"/>
            <pc:sldLayoutMk cId="163684714" sldId="2147483714"/>
          </pc:sldLayoutMkLst>
        </pc:sldLayoutChg>
        <pc:sldLayoutChg chg="del">
          <pc:chgData name="Justine Allen" userId="74a19456-9297-4ccb-83db-a0ad0cec6ea4" providerId="ADAL" clId="{147592CF-B9AD-44F8-A1B4-43B073AE25A1}" dt="2024-02-08T19:44:20.973" v="4" actId="47"/>
          <pc:sldLayoutMkLst>
            <pc:docMk/>
            <pc:sldMasterMk cId="2640570097" sldId="2147483708"/>
            <pc:sldLayoutMk cId="976626914" sldId="2147483715"/>
          </pc:sldLayoutMkLst>
        </pc:sldLayoutChg>
        <pc:sldLayoutChg chg="del">
          <pc:chgData name="Justine Allen" userId="74a19456-9297-4ccb-83db-a0ad0cec6ea4" providerId="ADAL" clId="{147592CF-B9AD-44F8-A1B4-43B073AE25A1}" dt="2024-02-08T19:44:20.973" v="4" actId="47"/>
          <pc:sldLayoutMkLst>
            <pc:docMk/>
            <pc:sldMasterMk cId="2640570097" sldId="2147483708"/>
            <pc:sldLayoutMk cId="1779028465" sldId="2147483716"/>
          </pc:sldLayoutMkLst>
        </pc:sldLayoutChg>
        <pc:sldLayoutChg chg="del">
          <pc:chgData name="Justine Allen" userId="74a19456-9297-4ccb-83db-a0ad0cec6ea4" providerId="ADAL" clId="{147592CF-B9AD-44F8-A1B4-43B073AE25A1}" dt="2024-02-08T19:44:20.973" v="4" actId="47"/>
          <pc:sldLayoutMkLst>
            <pc:docMk/>
            <pc:sldMasterMk cId="2640570097" sldId="2147483708"/>
            <pc:sldLayoutMk cId="372555876" sldId="2147483717"/>
          </pc:sldLayoutMkLst>
        </pc:sldLayoutChg>
        <pc:sldLayoutChg chg="del">
          <pc:chgData name="Justine Allen" userId="74a19456-9297-4ccb-83db-a0ad0cec6ea4" providerId="ADAL" clId="{147592CF-B9AD-44F8-A1B4-43B073AE25A1}" dt="2024-02-08T19:44:20.973" v="4" actId="47"/>
          <pc:sldLayoutMkLst>
            <pc:docMk/>
            <pc:sldMasterMk cId="2640570097" sldId="2147483708"/>
            <pc:sldLayoutMk cId="859728168" sldId="2147483718"/>
          </pc:sldLayoutMkLst>
        </pc:sldLayoutChg>
        <pc:sldLayoutChg chg="del">
          <pc:chgData name="Justine Allen" userId="74a19456-9297-4ccb-83db-a0ad0cec6ea4" providerId="ADAL" clId="{147592CF-B9AD-44F8-A1B4-43B073AE25A1}" dt="2024-02-08T19:44:20.973" v="4" actId="47"/>
          <pc:sldLayoutMkLst>
            <pc:docMk/>
            <pc:sldMasterMk cId="2640570097" sldId="2147483708"/>
            <pc:sldLayoutMk cId="895896286" sldId="2147483719"/>
          </pc:sldLayoutMkLst>
        </pc:sldLayoutChg>
        <pc:sldLayoutChg chg="del">
          <pc:chgData name="Justine Allen" userId="74a19456-9297-4ccb-83db-a0ad0cec6ea4" providerId="ADAL" clId="{147592CF-B9AD-44F8-A1B4-43B073AE25A1}" dt="2024-02-08T19:44:20.973" v="4" actId="47"/>
          <pc:sldLayoutMkLst>
            <pc:docMk/>
            <pc:sldMasterMk cId="2640570097" sldId="2147483708"/>
            <pc:sldLayoutMk cId="2594952574" sldId="2147483720"/>
          </pc:sldLayoutMkLst>
        </pc:sldLayoutChg>
        <pc:sldLayoutChg chg="del">
          <pc:chgData name="Justine Allen" userId="74a19456-9297-4ccb-83db-a0ad0cec6ea4" providerId="ADAL" clId="{147592CF-B9AD-44F8-A1B4-43B073AE25A1}" dt="2024-02-08T19:44:20.973" v="4" actId="47"/>
          <pc:sldLayoutMkLst>
            <pc:docMk/>
            <pc:sldMasterMk cId="2640570097" sldId="2147483708"/>
            <pc:sldLayoutMk cId="475285020" sldId="2147483721"/>
          </pc:sldLayoutMkLst>
        </pc:sldLayoutChg>
        <pc:sldLayoutChg chg="del">
          <pc:chgData name="Justine Allen" userId="74a19456-9297-4ccb-83db-a0ad0cec6ea4" providerId="ADAL" clId="{147592CF-B9AD-44F8-A1B4-43B073AE25A1}" dt="2024-02-08T19:44:20.973" v="4" actId="47"/>
          <pc:sldLayoutMkLst>
            <pc:docMk/>
            <pc:sldMasterMk cId="2640570097" sldId="2147483708"/>
            <pc:sldLayoutMk cId="2811535075" sldId="2147483722"/>
          </pc:sldLayoutMkLst>
        </pc:sldLayoutChg>
        <pc:sldLayoutChg chg="del">
          <pc:chgData name="Justine Allen" userId="74a19456-9297-4ccb-83db-a0ad0cec6ea4" providerId="ADAL" clId="{147592CF-B9AD-44F8-A1B4-43B073AE25A1}" dt="2024-02-08T19:44:20.973" v="4" actId="47"/>
          <pc:sldLayoutMkLst>
            <pc:docMk/>
            <pc:sldMasterMk cId="2640570097" sldId="2147483708"/>
            <pc:sldLayoutMk cId="2878895368" sldId="2147483723"/>
          </pc:sldLayoutMkLst>
        </pc:sldLayoutChg>
        <pc:sldLayoutChg chg="del">
          <pc:chgData name="Justine Allen" userId="74a19456-9297-4ccb-83db-a0ad0cec6ea4" providerId="ADAL" clId="{147592CF-B9AD-44F8-A1B4-43B073AE25A1}" dt="2024-02-08T19:44:20.973" v="4" actId="47"/>
          <pc:sldLayoutMkLst>
            <pc:docMk/>
            <pc:sldMasterMk cId="2640570097" sldId="2147483708"/>
            <pc:sldLayoutMk cId="3699309781" sldId="2147483724"/>
          </pc:sldLayoutMkLst>
        </pc:sldLayoutChg>
        <pc:sldLayoutChg chg="del">
          <pc:chgData name="Justine Allen" userId="74a19456-9297-4ccb-83db-a0ad0cec6ea4" providerId="ADAL" clId="{147592CF-B9AD-44F8-A1B4-43B073AE25A1}" dt="2024-02-08T19:44:20.973" v="4" actId="47"/>
          <pc:sldLayoutMkLst>
            <pc:docMk/>
            <pc:sldMasterMk cId="2640570097" sldId="2147483708"/>
            <pc:sldLayoutMk cId="168394617" sldId="2147483725"/>
          </pc:sldLayoutMkLst>
        </pc:sldLayoutChg>
        <pc:sldLayoutChg chg="del">
          <pc:chgData name="Justine Allen" userId="74a19456-9297-4ccb-83db-a0ad0cec6ea4" providerId="ADAL" clId="{147592CF-B9AD-44F8-A1B4-43B073AE25A1}" dt="2024-02-08T19:44:20.973" v="4" actId="47"/>
          <pc:sldLayoutMkLst>
            <pc:docMk/>
            <pc:sldMasterMk cId="2640570097" sldId="2147483708"/>
            <pc:sldLayoutMk cId="3365130352" sldId="2147483726"/>
          </pc:sldLayoutMkLst>
        </pc:sldLayoutChg>
        <pc:sldLayoutChg chg="del">
          <pc:chgData name="Justine Allen" userId="74a19456-9297-4ccb-83db-a0ad0cec6ea4" providerId="ADAL" clId="{147592CF-B9AD-44F8-A1B4-43B073AE25A1}" dt="2024-02-08T19:44:20.973" v="4" actId="47"/>
          <pc:sldLayoutMkLst>
            <pc:docMk/>
            <pc:sldMasterMk cId="2640570097" sldId="2147483708"/>
            <pc:sldLayoutMk cId="384235762" sldId="2147483727"/>
          </pc:sldLayoutMkLst>
        </pc:sldLayoutChg>
        <pc:sldLayoutChg chg="del">
          <pc:chgData name="Justine Allen" userId="74a19456-9297-4ccb-83db-a0ad0cec6ea4" providerId="ADAL" clId="{147592CF-B9AD-44F8-A1B4-43B073AE25A1}" dt="2024-02-08T19:44:20.973" v="4" actId="47"/>
          <pc:sldLayoutMkLst>
            <pc:docMk/>
            <pc:sldMasterMk cId="2640570097" sldId="2147483708"/>
            <pc:sldLayoutMk cId="1648441687" sldId="2147483728"/>
          </pc:sldLayoutMkLst>
        </pc:sldLayoutChg>
        <pc:sldLayoutChg chg="del">
          <pc:chgData name="Justine Allen" userId="74a19456-9297-4ccb-83db-a0ad0cec6ea4" providerId="ADAL" clId="{147592CF-B9AD-44F8-A1B4-43B073AE25A1}" dt="2024-02-08T19:44:20.973" v="4" actId="47"/>
          <pc:sldLayoutMkLst>
            <pc:docMk/>
            <pc:sldMasterMk cId="2640570097" sldId="2147483708"/>
            <pc:sldLayoutMk cId="744852043" sldId="2147483729"/>
          </pc:sldLayoutMkLst>
        </pc:sldLayoutChg>
        <pc:sldLayoutChg chg="del">
          <pc:chgData name="Justine Allen" userId="74a19456-9297-4ccb-83db-a0ad0cec6ea4" providerId="ADAL" clId="{147592CF-B9AD-44F8-A1B4-43B073AE25A1}" dt="2024-02-08T19:44:20.973" v="4" actId="47"/>
          <pc:sldLayoutMkLst>
            <pc:docMk/>
            <pc:sldMasterMk cId="2640570097" sldId="2147483708"/>
            <pc:sldLayoutMk cId="1747862554" sldId="2147483730"/>
          </pc:sldLayoutMkLst>
        </pc:sldLayoutChg>
        <pc:sldLayoutChg chg="del">
          <pc:chgData name="Justine Allen" userId="74a19456-9297-4ccb-83db-a0ad0cec6ea4" providerId="ADAL" clId="{147592CF-B9AD-44F8-A1B4-43B073AE25A1}" dt="2024-02-08T19:44:20.973" v="4" actId="47"/>
          <pc:sldLayoutMkLst>
            <pc:docMk/>
            <pc:sldMasterMk cId="2640570097" sldId="2147483708"/>
            <pc:sldLayoutMk cId="3160605480" sldId="2147483731"/>
          </pc:sldLayoutMkLst>
        </pc:sldLayoutChg>
        <pc:sldLayoutChg chg="del">
          <pc:chgData name="Justine Allen" userId="74a19456-9297-4ccb-83db-a0ad0cec6ea4" providerId="ADAL" clId="{147592CF-B9AD-44F8-A1B4-43B073AE25A1}" dt="2024-02-08T19:44:20.973" v="4" actId="47"/>
          <pc:sldLayoutMkLst>
            <pc:docMk/>
            <pc:sldMasterMk cId="2640570097" sldId="2147483708"/>
            <pc:sldLayoutMk cId="2785826344" sldId="2147483732"/>
          </pc:sldLayoutMkLst>
        </pc:sldLayoutChg>
        <pc:sldLayoutChg chg="del">
          <pc:chgData name="Justine Allen" userId="74a19456-9297-4ccb-83db-a0ad0cec6ea4" providerId="ADAL" clId="{147592CF-B9AD-44F8-A1B4-43B073AE25A1}" dt="2024-02-08T19:44:20.973" v="4" actId="47"/>
          <pc:sldLayoutMkLst>
            <pc:docMk/>
            <pc:sldMasterMk cId="2640570097" sldId="2147483708"/>
            <pc:sldLayoutMk cId="2659227277" sldId="2147483733"/>
          </pc:sldLayoutMkLst>
        </pc:sldLayoutChg>
        <pc:sldLayoutChg chg="del">
          <pc:chgData name="Justine Allen" userId="74a19456-9297-4ccb-83db-a0ad0cec6ea4" providerId="ADAL" clId="{147592CF-B9AD-44F8-A1B4-43B073AE25A1}" dt="2024-02-08T19:44:20.973" v="4" actId="47"/>
          <pc:sldLayoutMkLst>
            <pc:docMk/>
            <pc:sldMasterMk cId="2640570097" sldId="2147483708"/>
            <pc:sldLayoutMk cId="3175890452" sldId="2147483734"/>
          </pc:sldLayoutMkLst>
        </pc:sldLayoutChg>
        <pc:sldLayoutChg chg="del">
          <pc:chgData name="Justine Allen" userId="74a19456-9297-4ccb-83db-a0ad0cec6ea4" providerId="ADAL" clId="{147592CF-B9AD-44F8-A1B4-43B073AE25A1}" dt="2024-02-08T19:44:20.973" v="4" actId="47"/>
          <pc:sldLayoutMkLst>
            <pc:docMk/>
            <pc:sldMasterMk cId="2640570097" sldId="2147483708"/>
            <pc:sldLayoutMk cId="453063101" sldId="2147483735"/>
          </pc:sldLayoutMkLst>
        </pc:sldLayoutChg>
        <pc:sldLayoutChg chg="del">
          <pc:chgData name="Justine Allen" userId="74a19456-9297-4ccb-83db-a0ad0cec6ea4" providerId="ADAL" clId="{147592CF-B9AD-44F8-A1B4-43B073AE25A1}" dt="2024-02-08T19:44:20.973" v="4" actId="47"/>
          <pc:sldLayoutMkLst>
            <pc:docMk/>
            <pc:sldMasterMk cId="2640570097" sldId="2147483708"/>
            <pc:sldLayoutMk cId="1292755960" sldId="2147483736"/>
          </pc:sldLayoutMkLst>
        </pc:sldLayoutChg>
        <pc:sldLayoutChg chg="del">
          <pc:chgData name="Justine Allen" userId="74a19456-9297-4ccb-83db-a0ad0cec6ea4" providerId="ADAL" clId="{147592CF-B9AD-44F8-A1B4-43B073AE25A1}" dt="2024-02-08T19:44:20.973" v="4" actId="47"/>
          <pc:sldLayoutMkLst>
            <pc:docMk/>
            <pc:sldMasterMk cId="2640570097" sldId="2147483708"/>
            <pc:sldLayoutMk cId="878478397" sldId="2147483737"/>
          </pc:sldLayoutMkLst>
        </pc:sldLayoutChg>
        <pc:sldLayoutChg chg="del">
          <pc:chgData name="Justine Allen" userId="74a19456-9297-4ccb-83db-a0ad0cec6ea4" providerId="ADAL" clId="{147592CF-B9AD-44F8-A1B4-43B073AE25A1}" dt="2024-02-08T19:44:20.973" v="4" actId="47"/>
          <pc:sldLayoutMkLst>
            <pc:docMk/>
            <pc:sldMasterMk cId="2640570097" sldId="2147483708"/>
            <pc:sldLayoutMk cId="448791662" sldId="2147483738"/>
          </pc:sldLayoutMkLst>
        </pc:sldLayoutChg>
        <pc:sldLayoutChg chg="del">
          <pc:chgData name="Justine Allen" userId="74a19456-9297-4ccb-83db-a0ad0cec6ea4" providerId="ADAL" clId="{147592CF-B9AD-44F8-A1B4-43B073AE25A1}" dt="2024-02-08T19:44:20.973" v="4" actId="47"/>
          <pc:sldLayoutMkLst>
            <pc:docMk/>
            <pc:sldMasterMk cId="2640570097" sldId="2147483708"/>
            <pc:sldLayoutMk cId="2214726813" sldId="2147483739"/>
          </pc:sldLayoutMkLst>
        </pc:sldLayoutChg>
        <pc:sldLayoutChg chg="del">
          <pc:chgData name="Justine Allen" userId="74a19456-9297-4ccb-83db-a0ad0cec6ea4" providerId="ADAL" clId="{147592CF-B9AD-44F8-A1B4-43B073AE25A1}" dt="2024-02-08T19:44:20.973" v="4" actId="47"/>
          <pc:sldLayoutMkLst>
            <pc:docMk/>
            <pc:sldMasterMk cId="2640570097" sldId="2147483708"/>
            <pc:sldLayoutMk cId="907512535" sldId="2147483740"/>
          </pc:sldLayoutMkLst>
        </pc:sldLayoutChg>
        <pc:sldLayoutChg chg="del">
          <pc:chgData name="Justine Allen" userId="74a19456-9297-4ccb-83db-a0ad0cec6ea4" providerId="ADAL" clId="{147592CF-B9AD-44F8-A1B4-43B073AE25A1}" dt="2024-02-08T19:44:20.973" v="4" actId="47"/>
          <pc:sldLayoutMkLst>
            <pc:docMk/>
            <pc:sldMasterMk cId="2640570097" sldId="2147483708"/>
            <pc:sldLayoutMk cId="114975576" sldId="2147483741"/>
          </pc:sldLayoutMkLst>
        </pc:sldLayoutChg>
        <pc:sldLayoutChg chg="del">
          <pc:chgData name="Justine Allen" userId="74a19456-9297-4ccb-83db-a0ad0cec6ea4" providerId="ADAL" clId="{147592CF-B9AD-44F8-A1B4-43B073AE25A1}" dt="2024-02-08T19:44:20.973" v="4" actId="47"/>
          <pc:sldLayoutMkLst>
            <pc:docMk/>
            <pc:sldMasterMk cId="2640570097" sldId="2147483708"/>
            <pc:sldLayoutMk cId="2008941853" sldId="2147483742"/>
          </pc:sldLayoutMkLst>
        </pc:sldLayoutChg>
        <pc:sldLayoutChg chg="del">
          <pc:chgData name="Justine Allen" userId="74a19456-9297-4ccb-83db-a0ad0cec6ea4" providerId="ADAL" clId="{147592CF-B9AD-44F8-A1B4-43B073AE25A1}" dt="2024-02-08T19:44:20.973" v="4" actId="47"/>
          <pc:sldLayoutMkLst>
            <pc:docMk/>
            <pc:sldMasterMk cId="2640570097" sldId="2147483708"/>
            <pc:sldLayoutMk cId="2512315012" sldId="2147483743"/>
          </pc:sldLayoutMkLst>
        </pc:sldLayoutChg>
        <pc:sldLayoutChg chg="del">
          <pc:chgData name="Justine Allen" userId="74a19456-9297-4ccb-83db-a0ad0cec6ea4" providerId="ADAL" clId="{147592CF-B9AD-44F8-A1B4-43B073AE25A1}" dt="2024-02-08T19:44:20.973" v="4" actId="47"/>
          <pc:sldLayoutMkLst>
            <pc:docMk/>
            <pc:sldMasterMk cId="2640570097" sldId="2147483708"/>
            <pc:sldLayoutMk cId="2464060224" sldId="2147483744"/>
          </pc:sldLayoutMkLst>
        </pc:sldLayoutChg>
        <pc:sldLayoutChg chg="del">
          <pc:chgData name="Justine Allen" userId="74a19456-9297-4ccb-83db-a0ad0cec6ea4" providerId="ADAL" clId="{147592CF-B9AD-44F8-A1B4-43B073AE25A1}" dt="2024-02-08T19:44:20.973" v="4" actId="47"/>
          <pc:sldLayoutMkLst>
            <pc:docMk/>
            <pc:sldMasterMk cId="2640570097" sldId="2147483708"/>
            <pc:sldLayoutMk cId="2724300882" sldId="2147483745"/>
          </pc:sldLayoutMkLst>
        </pc:sldLayoutChg>
        <pc:sldLayoutChg chg="del">
          <pc:chgData name="Justine Allen" userId="74a19456-9297-4ccb-83db-a0ad0cec6ea4" providerId="ADAL" clId="{147592CF-B9AD-44F8-A1B4-43B073AE25A1}" dt="2024-02-08T19:44:20.973" v="4" actId="47"/>
          <pc:sldLayoutMkLst>
            <pc:docMk/>
            <pc:sldMasterMk cId="2640570097" sldId="2147483708"/>
            <pc:sldLayoutMk cId="326584164" sldId="2147483746"/>
          </pc:sldLayoutMkLst>
        </pc:sldLayoutChg>
        <pc:sldLayoutChg chg="del">
          <pc:chgData name="Justine Allen" userId="74a19456-9297-4ccb-83db-a0ad0cec6ea4" providerId="ADAL" clId="{147592CF-B9AD-44F8-A1B4-43B073AE25A1}" dt="2024-02-08T19:44:20.973" v="4" actId="47"/>
          <pc:sldLayoutMkLst>
            <pc:docMk/>
            <pc:sldMasterMk cId="2640570097" sldId="2147483708"/>
            <pc:sldLayoutMk cId="4239675682" sldId="2147483747"/>
          </pc:sldLayoutMkLst>
        </pc:sldLayoutChg>
        <pc:sldLayoutChg chg="del">
          <pc:chgData name="Justine Allen" userId="74a19456-9297-4ccb-83db-a0ad0cec6ea4" providerId="ADAL" clId="{147592CF-B9AD-44F8-A1B4-43B073AE25A1}" dt="2024-02-08T19:44:20.973" v="4" actId="47"/>
          <pc:sldLayoutMkLst>
            <pc:docMk/>
            <pc:sldMasterMk cId="2640570097" sldId="2147483708"/>
            <pc:sldLayoutMk cId="908284383" sldId="2147483748"/>
          </pc:sldLayoutMkLst>
        </pc:sldLayoutChg>
        <pc:sldLayoutChg chg="del">
          <pc:chgData name="Justine Allen" userId="74a19456-9297-4ccb-83db-a0ad0cec6ea4" providerId="ADAL" clId="{147592CF-B9AD-44F8-A1B4-43B073AE25A1}" dt="2024-02-08T19:44:20.973" v="4" actId="47"/>
          <pc:sldLayoutMkLst>
            <pc:docMk/>
            <pc:sldMasterMk cId="2640570097" sldId="2147483708"/>
            <pc:sldLayoutMk cId="3874747939" sldId="2147483749"/>
          </pc:sldLayoutMkLst>
        </pc:sldLayoutChg>
        <pc:sldLayoutChg chg="del">
          <pc:chgData name="Justine Allen" userId="74a19456-9297-4ccb-83db-a0ad0cec6ea4" providerId="ADAL" clId="{147592CF-B9AD-44F8-A1B4-43B073AE25A1}" dt="2024-02-08T19:44:20.973" v="4" actId="47"/>
          <pc:sldLayoutMkLst>
            <pc:docMk/>
            <pc:sldMasterMk cId="2640570097" sldId="2147483708"/>
            <pc:sldLayoutMk cId="1570095063" sldId="2147483750"/>
          </pc:sldLayoutMkLst>
        </pc:sldLayoutChg>
        <pc:sldLayoutChg chg="del">
          <pc:chgData name="Justine Allen" userId="74a19456-9297-4ccb-83db-a0ad0cec6ea4" providerId="ADAL" clId="{147592CF-B9AD-44F8-A1B4-43B073AE25A1}" dt="2024-02-08T19:44:20.973" v="4" actId="47"/>
          <pc:sldLayoutMkLst>
            <pc:docMk/>
            <pc:sldMasterMk cId="2640570097" sldId="2147483708"/>
            <pc:sldLayoutMk cId="2939495241" sldId="2147483751"/>
          </pc:sldLayoutMkLst>
        </pc:sldLayoutChg>
        <pc:sldLayoutChg chg="del">
          <pc:chgData name="Justine Allen" userId="74a19456-9297-4ccb-83db-a0ad0cec6ea4" providerId="ADAL" clId="{147592CF-B9AD-44F8-A1B4-43B073AE25A1}" dt="2024-02-08T19:44:20.973" v="4" actId="47"/>
          <pc:sldLayoutMkLst>
            <pc:docMk/>
            <pc:sldMasterMk cId="2640570097" sldId="2147483708"/>
            <pc:sldLayoutMk cId="3864332597" sldId="2147483752"/>
          </pc:sldLayoutMkLst>
        </pc:sldLayoutChg>
        <pc:sldLayoutChg chg="del">
          <pc:chgData name="Justine Allen" userId="74a19456-9297-4ccb-83db-a0ad0cec6ea4" providerId="ADAL" clId="{147592CF-B9AD-44F8-A1B4-43B073AE25A1}" dt="2024-02-08T19:44:20.973" v="4" actId="47"/>
          <pc:sldLayoutMkLst>
            <pc:docMk/>
            <pc:sldMasterMk cId="2640570097" sldId="2147483708"/>
            <pc:sldLayoutMk cId="126799269" sldId="2147483753"/>
          </pc:sldLayoutMkLst>
        </pc:sldLayoutChg>
        <pc:sldLayoutChg chg="del">
          <pc:chgData name="Justine Allen" userId="74a19456-9297-4ccb-83db-a0ad0cec6ea4" providerId="ADAL" clId="{147592CF-B9AD-44F8-A1B4-43B073AE25A1}" dt="2024-02-08T19:44:20.973" v="4" actId="47"/>
          <pc:sldLayoutMkLst>
            <pc:docMk/>
            <pc:sldMasterMk cId="2640570097" sldId="2147483708"/>
            <pc:sldLayoutMk cId="2788079391" sldId="2147483754"/>
          </pc:sldLayoutMkLst>
        </pc:sldLayoutChg>
        <pc:sldLayoutChg chg="del">
          <pc:chgData name="Justine Allen" userId="74a19456-9297-4ccb-83db-a0ad0cec6ea4" providerId="ADAL" clId="{147592CF-B9AD-44F8-A1B4-43B073AE25A1}" dt="2024-02-08T19:44:20.973" v="4" actId="47"/>
          <pc:sldLayoutMkLst>
            <pc:docMk/>
            <pc:sldMasterMk cId="2640570097" sldId="2147483708"/>
            <pc:sldLayoutMk cId="2669222289" sldId="2147483755"/>
          </pc:sldLayoutMkLst>
        </pc:sldLayoutChg>
      </pc:sldMasterChg>
    </pc:docChg>
  </pc:docChgLst>
  <pc:docChgLst>
    <pc:chgData name="Justine Allen" userId="74a19456-9297-4ccb-83db-a0ad0cec6ea4" providerId="ADAL" clId="{962B5B12-534C-4845-A26C-F57BA332FBB8}"/>
    <pc:docChg chg="modSld">
      <pc:chgData name="Justine Allen" userId="74a19456-9297-4ccb-83db-a0ad0cec6ea4" providerId="ADAL" clId="{962B5B12-534C-4845-A26C-F57BA332FBB8}" dt="2023-11-09T19:41:17.594" v="1" actId="1076"/>
      <pc:docMkLst>
        <pc:docMk/>
      </pc:docMkLst>
      <pc:sldChg chg="modSp mod">
        <pc:chgData name="Justine Allen" userId="74a19456-9297-4ccb-83db-a0ad0cec6ea4" providerId="ADAL" clId="{962B5B12-534C-4845-A26C-F57BA332FBB8}" dt="2023-11-09T19:41:17.594" v="1" actId="1076"/>
        <pc:sldMkLst>
          <pc:docMk/>
          <pc:sldMk cId="1769625664" sldId="4220"/>
        </pc:sldMkLst>
        <pc:spChg chg="mod">
          <ac:chgData name="Justine Allen" userId="74a19456-9297-4ccb-83db-a0ad0cec6ea4" providerId="ADAL" clId="{962B5B12-534C-4845-A26C-F57BA332FBB8}" dt="2023-11-09T19:41:17.594" v="1" actId="1076"/>
          <ac:spMkLst>
            <pc:docMk/>
            <pc:sldMk cId="1769625664" sldId="4220"/>
            <ac:spMk id="12" creationId="{36492090-DDEF-40FC-BCE6-8DC048D8E8F5}"/>
          </ac:spMkLst>
        </pc:spChg>
      </pc:sldChg>
    </pc:docChg>
  </pc:docChgLst>
  <pc:docChgLst>
    <pc:chgData name="Lena Dunham" userId="7a8e6d5e-cb96-47cf-aa9f-438249cb2abd" providerId="ADAL" clId="{8626FE95-E7F2-4084-A04D-98B51CD95677}"/>
    <pc:docChg chg="undo custSel addSld delSld modSld delMainMaster">
      <pc:chgData name="Lena Dunham" userId="7a8e6d5e-cb96-47cf-aa9f-438249cb2abd" providerId="ADAL" clId="{8626FE95-E7F2-4084-A04D-98B51CD95677}" dt="2024-02-08T16:09:47.049" v="193" actId="27636"/>
      <pc:docMkLst>
        <pc:docMk/>
      </pc:docMkLst>
      <pc:sldChg chg="modSp add del mod">
        <pc:chgData name="Lena Dunham" userId="7a8e6d5e-cb96-47cf-aa9f-438249cb2abd" providerId="ADAL" clId="{8626FE95-E7F2-4084-A04D-98B51CD95677}" dt="2024-02-08T16:09:42.632" v="189"/>
        <pc:sldMkLst>
          <pc:docMk/>
          <pc:sldMk cId="3013068127" sldId="258"/>
        </pc:sldMkLst>
        <pc:spChg chg="mod">
          <ac:chgData name="Lena Dunham" userId="7a8e6d5e-cb96-47cf-aa9f-438249cb2abd" providerId="ADAL" clId="{8626FE95-E7F2-4084-A04D-98B51CD95677}" dt="2024-02-08T16:09:42.632" v="189"/>
          <ac:spMkLst>
            <pc:docMk/>
            <pc:sldMk cId="3013068127" sldId="258"/>
            <ac:spMk id="4" creationId="{42484CCC-9AB9-41BA-BF31-C9CA5A121895}"/>
          </ac:spMkLst>
        </pc:spChg>
      </pc:sldChg>
      <pc:sldChg chg="modSp add del mod modNotes">
        <pc:chgData name="Lena Dunham" userId="7a8e6d5e-cb96-47cf-aa9f-438249cb2abd" providerId="ADAL" clId="{8626FE95-E7F2-4084-A04D-98B51CD95677}" dt="2024-02-08T16:09:47.020" v="191" actId="27636"/>
        <pc:sldMkLst>
          <pc:docMk/>
          <pc:sldMk cId="643801695" sldId="292"/>
        </pc:sldMkLst>
        <pc:spChg chg="mod">
          <ac:chgData name="Lena Dunham" userId="7a8e6d5e-cb96-47cf-aa9f-438249cb2abd" providerId="ADAL" clId="{8626FE95-E7F2-4084-A04D-98B51CD95677}" dt="2024-02-08T16:09:42.632" v="189"/>
          <ac:spMkLst>
            <pc:docMk/>
            <pc:sldMk cId="643801695" sldId="292"/>
            <ac:spMk id="7" creationId="{109BBFAA-ECE3-46DC-A227-38CCA1EED110}"/>
          </ac:spMkLst>
        </pc:spChg>
        <pc:spChg chg="mod">
          <ac:chgData name="Lena Dunham" userId="7a8e6d5e-cb96-47cf-aa9f-438249cb2abd" providerId="ADAL" clId="{8626FE95-E7F2-4084-A04D-98B51CD95677}" dt="2024-02-08T16:09:42.632" v="189"/>
          <ac:spMkLst>
            <pc:docMk/>
            <pc:sldMk cId="643801695" sldId="292"/>
            <ac:spMk id="29" creationId="{5BD9075D-1F42-4726-8EC6-EE8B416392BD}"/>
          </ac:spMkLst>
        </pc:spChg>
        <pc:spChg chg="mod">
          <ac:chgData name="Lena Dunham" userId="7a8e6d5e-cb96-47cf-aa9f-438249cb2abd" providerId="ADAL" clId="{8626FE95-E7F2-4084-A04D-98B51CD95677}" dt="2024-02-08T16:09:42.632" v="189"/>
          <ac:spMkLst>
            <pc:docMk/>
            <pc:sldMk cId="643801695" sldId="292"/>
            <ac:spMk id="30" creationId="{0AC0E371-764C-41CA-9680-267350C7EE1C}"/>
          </ac:spMkLst>
        </pc:spChg>
        <pc:spChg chg="mod">
          <ac:chgData name="Lena Dunham" userId="7a8e6d5e-cb96-47cf-aa9f-438249cb2abd" providerId="ADAL" clId="{8626FE95-E7F2-4084-A04D-98B51CD95677}" dt="2024-02-08T16:09:42.632" v="189"/>
          <ac:spMkLst>
            <pc:docMk/>
            <pc:sldMk cId="643801695" sldId="292"/>
            <ac:spMk id="31" creationId="{95712C8D-157C-4EF1-B565-889F5684F1BA}"/>
          </ac:spMkLst>
        </pc:spChg>
        <pc:spChg chg="mod">
          <ac:chgData name="Lena Dunham" userId="7a8e6d5e-cb96-47cf-aa9f-438249cb2abd" providerId="ADAL" clId="{8626FE95-E7F2-4084-A04D-98B51CD95677}" dt="2024-02-08T16:09:42.632" v="189"/>
          <ac:spMkLst>
            <pc:docMk/>
            <pc:sldMk cId="643801695" sldId="292"/>
            <ac:spMk id="32" creationId="{188B3941-E817-44DE-8D5A-DCA0DAB61823}"/>
          </ac:spMkLst>
        </pc:spChg>
        <pc:spChg chg="mod">
          <ac:chgData name="Lena Dunham" userId="7a8e6d5e-cb96-47cf-aa9f-438249cb2abd" providerId="ADAL" clId="{8626FE95-E7F2-4084-A04D-98B51CD95677}" dt="2024-02-08T16:09:42.632" v="189"/>
          <ac:spMkLst>
            <pc:docMk/>
            <pc:sldMk cId="643801695" sldId="292"/>
            <ac:spMk id="33" creationId="{20613223-43E0-4B37-AFB8-C0C5F47750A5}"/>
          </ac:spMkLst>
        </pc:spChg>
        <pc:spChg chg="mod">
          <ac:chgData name="Lena Dunham" userId="7a8e6d5e-cb96-47cf-aa9f-438249cb2abd" providerId="ADAL" clId="{8626FE95-E7F2-4084-A04D-98B51CD95677}" dt="2024-02-08T16:09:42.632" v="189"/>
          <ac:spMkLst>
            <pc:docMk/>
            <pc:sldMk cId="643801695" sldId="292"/>
            <ac:spMk id="34" creationId="{3C4E060E-0CFB-411A-B226-CDA349703288}"/>
          </ac:spMkLst>
        </pc:spChg>
        <pc:spChg chg="mod">
          <ac:chgData name="Lena Dunham" userId="7a8e6d5e-cb96-47cf-aa9f-438249cb2abd" providerId="ADAL" clId="{8626FE95-E7F2-4084-A04D-98B51CD95677}" dt="2024-02-08T16:09:42.632" v="189"/>
          <ac:spMkLst>
            <pc:docMk/>
            <pc:sldMk cId="643801695" sldId="292"/>
            <ac:spMk id="36" creationId="{69F05205-BC24-4284-BB47-960282D011ED}"/>
          </ac:spMkLst>
        </pc:spChg>
        <pc:spChg chg="mod">
          <ac:chgData name="Lena Dunham" userId="7a8e6d5e-cb96-47cf-aa9f-438249cb2abd" providerId="ADAL" clId="{8626FE95-E7F2-4084-A04D-98B51CD95677}" dt="2024-02-08T16:09:42.632" v="189"/>
          <ac:spMkLst>
            <pc:docMk/>
            <pc:sldMk cId="643801695" sldId="292"/>
            <ac:spMk id="37" creationId="{D78092F6-F4AA-40B6-B5DE-CEA37AB1A9D2}"/>
          </ac:spMkLst>
        </pc:spChg>
        <pc:spChg chg="mod">
          <ac:chgData name="Lena Dunham" userId="7a8e6d5e-cb96-47cf-aa9f-438249cb2abd" providerId="ADAL" clId="{8626FE95-E7F2-4084-A04D-98B51CD95677}" dt="2024-02-08T16:09:47.017" v="190" actId="27636"/>
          <ac:spMkLst>
            <pc:docMk/>
            <pc:sldMk cId="643801695" sldId="292"/>
            <ac:spMk id="38" creationId="{4EC928A2-6A4A-452E-8823-81F26EA40C9C}"/>
          </ac:spMkLst>
        </pc:spChg>
        <pc:spChg chg="mod">
          <ac:chgData name="Lena Dunham" userId="7a8e6d5e-cb96-47cf-aa9f-438249cb2abd" providerId="ADAL" clId="{8626FE95-E7F2-4084-A04D-98B51CD95677}" dt="2024-02-08T16:09:47.020" v="191" actId="27636"/>
          <ac:spMkLst>
            <pc:docMk/>
            <pc:sldMk cId="643801695" sldId="292"/>
            <ac:spMk id="39" creationId="{0388AEE0-2630-4EEB-80E0-53D74792BE97}"/>
          </ac:spMkLst>
        </pc:spChg>
      </pc:sldChg>
      <pc:sldChg chg="modSp add del mod">
        <pc:chgData name="Lena Dunham" userId="7a8e6d5e-cb96-47cf-aa9f-438249cb2abd" providerId="ADAL" clId="{8626FE95-E7F2-4084-A04D-98B51CD95677}" dt="2024-02-08T16:09:42.632" v="189"/>
        <pc:sldMkLst>
          <pc:docMk/>
          <pc:sldMk cId="89204853" sldId="294"/>
        </pc:sldMkLst>
        <pc:spChg chg="mod">
          <ac:chgData name="Lena Dunham" userId="7a8e6d5e-cb96-47cf-aa9f-438249cb2abd" providerId="ADAL" clId="{8626FE95-E7F2-4084-A04D-98B51CD95677}" dt="2024-02-08T16:09:42.632" v="189"/>
          <ac:spMkLst>
            <pc:docMk/>
            <pc:sldMk cId="89204853" sldId="294"/>
            <ac:spMk id="7" creationId="{804CE77D-1299-4572-8723-DEF99833C784}"/>
          </ac:spMkLst>
        </pc:spChg>
      </pc:sldChg>
      <pc:sldChg chg="modSp add del mod">
        <pc:chgData name="Lena Dunham" userId="7a8e6d5e-cb96-47cf-aa9f-438249cb2abd" providerId="ADAL" clId="{8626FE95-E7F2-4084-A04D-98B51CD95677}" dt="2024-02-08T16:09:42.632" v="189"/>
        <pc:sldMkLst>
          <pc:docMk/>
          <pc:sldMk cId="1413202731" sldId="299"/>
        </pc:sldMkLst>
        <pc:spChg chg="mod">
          <ac:chgData name="Lena Dunham" userId="7a8e6d5e-cb96-47cf-aa9f-438249cb2abd" providerId="ADAL" clId="{8626FE95-E7F2-4084-A04D-98B51CD95677}" dt="2024-02-08T16:09:42.632" v="189"/>
          <ac:spMkLst>
            <pc:docMk/>
            <pc:sldMk cId="1413202731" sldId="299"/>
            <ac:spMk id="8" creationId="{1FBF0C73-5F2A-43A1-8833-BA6EB08A6DAD}"/>
          </ac:spMkLst>
        </pc:spChg>
        <pc:spChg chg="mod">
          <ac:chgData name="Lena Dunham" userId="7a8e6d5e-cb96-47cf-aa9f-438249cb2abd" providerId="ADAL" clId="{8626FE95-E7F2-4084-A04D-98B51CD95677}" dt="2024-02-08T16:09:42.632" v="189"/>
          <ac:spMkLst>
            <pc:docMk/>
            <pc:sldMk cId="1413202731" sldId="299"/>
            <ac:spMk id="10" creationId="{9E0DB122-AE16-41BB-8223-A943F524BFE8}"/>
          </ac:spMkLst>
        </pc:spChg>
      </pc:sldChg>
      <pc:sldChg chg="modSp add del mod">
        <pc:chgData name="Lena Dunham" userId="7a8e6d5e-cb96-47cf-aa9f-438249cb2abd" providerId="ADAL" clId="{8626FE95-E7F2-4084-A04D-98B51CD95677}" dt="2024-02-08T16:09:47.049" v="193" actId="27636"/>
        <pc:sldMkLst>
          <pc:docMk/>
          <pc:sldMk cId="517680780" sldId="302"/>
        </pc:sldMkLst>
        <pc:spChg chg="mod">
          <ac:chgData name="Lena Dunham" userId="7a8e6d5e-cb96-47cf-aa9f-438249cb2abd" providerId="ADAL" clId="{8626FE95-E7F2-4084-A04D-98B51CD95677}" dt="2024-02-08T16:09:42.632" v="189"/>
          <ac:spMkLst>
            <pc:docMk/>
            <pc:sldMk cId="517680780" sldId="302"/>
            <ac:spMk id="7" creationId="{F45E89FF-99DD-4E7F-972C-4C255D63567B}"/>
          </ac:spMkLst>
        </pc:spChg>
        <pc:spChg chg="mod">
          <ac:chgData name="Lena Dunham" userId="7a8e6d5e-cb96-47cf-aa9f-438249cb2abd" providerId="ADAL" clId="{8626FE95-E7F2-4084-A04D-98B51CD95677}" dt="2024-02-08T16:09:47.049" v="193" actId="27636"/>
          <ac:spMkLst>
            <pc:docMk/>
            <pc:sldMk cId="517680780" sldId="302"/>
            <ac:spMk id="13" creationId="{0EE00605-1846-D0AC-1E1F-F218D1FF1E42}"/>
          </ac:spMkLst>
        </pc:spChg>
      </pc:sldChg>
      <pc:sldChg chg="modSp add del mod">
        <pc:chgData name="Lena Dunham" userId="7a8e6d5e-cb96-47cf-aa9f-438249cb2abd" providerId="ADAL" clId="{8626FE95-E7F2-4084-A04D-98B51CD95677}" dt="2024-02-08T16:09:47.036" v="192" actId="27636"/>
        <pc:sldMkLst>
          <pc:docMk/>
          <pc:sldMk cId="2689780903" sldId="304"/>
        </pc:sldMkLst>
        <pc:spChg chg="mod">
          <ac:chgData name="Lena Dunham" userId="7a8e6d5e-cb96-47cf-aa9f-438249cb2abd" providerId="ADAL" clId="{8626FE95-E7F2-4084-A04D-98B51CD95677}" dt="2024-02-08T16:09:42.632" v="189"/>
          <ac:spMkLst>
            <pc:docMk/>
            <pc:sldMk cId="2689780903" sldId="304"/>
            <ac:spMk id="5" creationId="{A8B52AA4-2DB7-4C7A-99AA-093B615C386A}"/>
          </ac:spMkLst>
        </pc:spChg>
        <pc:spChg chg="mod">
          <ac:chgData name="Lena Dunham" userId="7a8e6d5e-cb96-47cf-aa9f-438249cb2abd" providerId="ADAL" clId="{8626FE95-E7F2-4084-A04D-98B51CD95677}" dt="2024-02-08T16:09:42.632" v="189"/>
          <ac:spMkLst>
            <pc:docMk/>
            <pc:sldMk cId="2689780903" sldId="304"/>
            <ac:spMk id="7" creationId="{A0AB54C4-EC05-4411-89AE-C93A257E2449}"/>
          </ac:spMkLst>
        </pc:spChg>
        <pc:spChg chg="mod">
          <ac:chgData name="Lena Dunham" userId="7a8e6d5e-cb96-47cf-aa9f-438249cb2abd" providerId="ADAL" clId="{8626FE95-E7F2-4084-A04D-98B51CD95677}" dt="2024-02-08T16:09:42.632" v="189"/>
          <ac:spMkLst>
            <pc:docMk/>
            <pc:sldMk cId="2689780903" sldId="304"/>
            <ac:spMk id="8" creationId="{012D1360-1788-4AF9-9BCE-E83D34A14A8B}"/>
          </ac:spMkLst>
        </pc:spChg>
        <pc:spChg chg="mod">
          <ac:chgData name="Lena Dunham" userId="7a8e6d5e-cb96-47cf-aa9f-438249cb2abd" providerId="ADAL" clId="{8626FE95-E7F2-4084-A04D-98B51CD95677}" dt="2024-02-08T16:09:42.632" v="189"/>
          <ac:spMkLst>
            <pc:docMk/>
            <pc:sldMk cId="2689780903" sldId="304"/>
            <ac:spMk id="9" creationId="{2CC79059-C535-4122-AA80-8D550BB43135}"/>
          </ac:spMkLst>
        </pc:spChg>
        <pc:spChg chg="mod">
          <ac:chgData name="Lena Dunham" userId="7a8e6d5e-cb96-47cf-aa9f-438249cb2abd" providerId="ADAL" clId="{8626FE95-E7F2-4084-A04D-98B51CD95677}" dt="2024-02-08T16:09:42.632" v="189"/>
          <ac:spMkLst>
            <pc:docMk/>
            <pc:sldMk cId="2689780903" sldId="304"/>
            <ac:spMk id="10" creationId="{4C9B2C2F-56C0-471F-84D7-E389B1D1BDE3}"/>
          </ac:spMkLst>
        </pc:spChg>
        <pc:spChg chg="mod">
          <ac:chgData name="Lena Dunham" userId="7a8e6d5e-cb96-47cf-aa9f-438249cb2abd" providerId="ADAL" clId="{8626FE95-E7F2-4084-A04D-98B51CD95677}" dt="2024-02-08T16:09:42.632" v="189"/>
          <ac:spMkLst>
            <pc:docMk/>
            <pc:sldMk cId="2689780903" sldId="304"/>
            <ac:spMk id="11" creationId="{CB722E8B-09F3-45B3-940D-4A3ADC0B209F}"/>
          </ac:spMkLst>
        </pc:spChg>
        <pc:spChg chg="mod">
          <ac:chgData name="Lena Dunham" userId="7a8e6d5e-cb96-47cf-aa9f-438249cb2abd" providerId="ADAL" clId="{8626FE95-E7F2-4084-A04D-98B51CD95677}" dt="2024-02-08T16:09:42.632" v="189"/>
          <ac:spMkLst>
            <pc:docMk/>
            <pc:sldMk cId="2689780903" sldId="304"/>
            <ac:spMk id="13" creationId="{4510FECE-91EC-4738-A516-B9C5869993BD}"/>
          </ac:spMkLst>
        </pc:spChg>
        <pc:spChg chg="mod">
          <ac:chgData name="Lena Dunham" userId="7a8e6d5e-cb96-47cf-aa9f-438249cb2abd" providerId="ADAL" clId="{8626FE95-E7F2-4084-A04D-98B51CD95677}" dt="2024-02-08T16:09:42.632" v="189"/>
          <ac:spMkLst>
            <pc:docMk/>
            <pc:sldMk cId="2689780903" sldId="304"/>
            <ac:spMk id="14" creationId="{029D3077-AA91-442E-BF21-8658F8B14989}"/>
          </ac:spMkLst>
        </pc:spChg>
        <pc:spChg chg="mod">
          <ac:chgData name="Lena Dunham" userId="7a8e6d5e-cb96-47cf-aa9f-438249cb2abd" providerId="ADAL" clId="{8626FE95-E7F2-4084-A04D-98B51CD95677}" dt="2024-02-08T16:09:42.632" v="189"/>
          <ac:spMkLst>
            <pc:docMk/>
            <pc:sldMk cId="2689780903" sldId="304"/>
            <ac:spMk id="15" creationId="{6910B6F4-8816-48E6-A47B-A3634E669B0F}"/>
          </ac:spMkLst>
        </pc:spChg>
        <pc:spChg chg="mod">
          <ac:chgData name="Lena Dunham" userId="7a8e6d5e-cb96-47cf-aa9f-438249cb2abd" providerId="ADAL" clId="{8626FE95-E7F2-4084-A04D-98B51CD95677}" dt="2024-02-08T16:09:42.632" v="189"/>
          <ac:spMkLst>
            <pc:docMk/>
            <pc:sldMk cId="2689780903" sldId="304"/>
            <ac:spMk id="16" creationId="{904204FD-FA14-481F-B3A7-4534FB953C6D}"/>
          </ac:spMkLst>
        </pc:spChg>
        <pc:spChg chg="mod">
          <ac:chgData name="Lena Dunham" userId="7a8e6d5e-cb96-47cf-aa9f-438249cb2abd" providerId="ADAL" clId="{8626FE95-E7F2-4084-A04D-98B51CD95677}" dt="2024-02-08T16:09:47.036" v="192" actId="27636"/>
          <ac:spMkLst>
            <pc:docMk/>
            <pc:sldMk cId="2689780903" sldId="304"/>
            <ac:spMk id="17" creationId="{CBAE4116-3E8E-4A2F-9970-EADA4BE42616}"/>
          </ac:spMkLst>
        </pc:spChg>
        <pc:spChg chg="mod">
          <ac:chgData name="Lena Dunham" userId="7a8e6d5e-cb96-47cf-aa9f-438249cb2abd" providerId="ADAL" clId="{8626FE95-E7F2-4084-A04D-98B51CD95677}" dt="2024-02-08T16:09:42.632" v="189"/>
          <ac:spMkLst>
            <pc:docMk/>
            <pc:sldMk cId="2689780903" sldId="304"/>
            <ac:spMk id="18" creationId="{FB404C85-738E-4A8C-9C10-AC364571EBBC}"/>
          </ac:spMkLst>
        </pc:spChg>
        <pc:spChg chg="mod">
          <ac:chgData name="Lena Dunham" userId="7a8e6d5e-cb96-47cf-aa9f-438249cb2abd" providerId="ADAL" clId="{8626FE95-E7F2-4084-A04D-98B51CD95677}" dt="2024-02-08T16:09:42.632" v="189"/>
          <ac:spMkLst>
            <pc:docMk/>
            <pc:sldMk cId="2689780903" sldId="304"/>
            <ac:spMk id="32" creationId="{03D4A463-FDEF-491B-8A05-64D5A4BFBB4F}"/>
          </ac:spMkLst>
        </pc:spChg>
      </pc:sldChg>
      <pc:sldChg chg="modSp mod">
        <pc:chgData name="Lena Dunham" userId="7a8e6d5e-cb96-47cf-aa9f-438249cb2abd" providerId="ADAL" clId="{8626FE95-E7F2-4084-A04D-98B51CD95677}" dt="2024-01-31T15:35:15.868" v="156" actId="33524"/>
        <pc:sldMkLst>
          <pc:docMk/>
          <pc:sldMk cId="1769625664" sldId="4220"/>
        </pc:sldMkLst>
        <pc:spChg chg="mod">
          <ac:chgData name="Lena Dunham" userId="7a8e6d5e-cb96-47cf-aa9f-438249cb2abd" providerId="ADAL" clId="{8626FE95-E7F2-4084-A04D-98B51CD95677}" dt="2024-01-31T15:35:15.868" v="156" actId="33524"/>
          <ac:spMkLst>
            <pc:docMk/>
            <pc:sldMk cId="1769625664" sldId="4220"/>
            <ac:spMk id="6" creationId="{00000000-0000-0000-0000-000000000000}"/>
          </ac:spMkLst>
        </pc:spChg>
        <pc:spChg chg="mod">
          <ac:chgData name="Lena Dunham" userId="7a8e6d5e-cb96-47cf-aa9f-438249cb2abd" providerId="ADAL" clId="{8626FE95-E7F2-4084-A04D-98B51CD95677}" dt="2024-01-31T15:35:11.073" v="155" actId="20577"/>
          <ac:spMkLst>
            <pc:docMk/>
            <pc:sldMk cId="1769625664" sldId="4220"/>
            <ac:spMk id="9" creationId="{00000000-0000-0000-0000-000000000000}"/>
          </ac:spMkLst>
        </pc:spChg>
        <pc:spChg chg="mod">
          <ac:chgData name="Lena Dunham" userId="7a8e6d5e-cb96-47cf-aa9f-438249cb2abd" providerId="ADAL" clId="{8626FE95-E7F2-4084-A04D-98B51CD95677}" dt="2024-01-31T15:35:01.650" v="147" actId="20577"/>
          <ac:spMkLst>
            <pc:docMk/>
            <pc:sldMk cId="1769625664" sldId="4220"/>
            <ac:spMk id="12" creationId="{36492090-DDEF-40FC-BCE6-8DC048D8E8F5}"/>
          </ac:spMkLst>
        </pc:spChg>
      </pc:sldChg>
      <pc:sldChg chg="del">
        <pc:chgData name="Lena Dunham" userId="7a8e6d5e-cb96-47cf-aa9f-438249cb2abd" providerId="ADAL" clId="{8626FE95-E7F2-4084-A04D-98B51CD95677}" dt="2024-01-31T15:30:12.792" v="0" actId="47"/>
        <pc:sldMkLst>
          <pc:docMk/>
          <pc:sldMk cId="3866095581" sldId="4221"/>
        </pc:sldMkLst>
      </pc:sldChg>
      <pc:sldChg chg="del">
        <pc:chgData name="Lena Dunham" userId="7a8e6d5e-cb96-47cf-aa9f-438249cb2abd" providerId="ADAL" clId="{8626FE95-E7F2-4084-A04D-98B51CD95677}" dt="2024-01-31T15:30:13.280" v="1" actId="47"/>
        <pc:sldMkLst>
          <pc:docMk/>
          <pc:sldMk cId="1600830773" sldId="4222"/>
        </pc:sldMkLst>
      </pc:sldChg>
      <pc:sldChg chg="del">
        <pc:chgData name="Lena Dunham" userId="7a8e6d5e-cb96-47cf-aa9f-438249cb2abd" providerId="ADAL" clId="{8626FE95-E7F2-4084-A04D-98B51CD95677}" dt="2024-01-31T15:30:13.880" v="2" actId="47"/>
        <pc:sldMkLst>
          <pc:docMk/>
          <pc:sldMk cId="726697141" sldId="4223"/>
        </pc:sldMkLst>
      </pc:sldChg>
      <pc:sldChg chg="del">
        <pc:chgData name="Lena Dunham" userId="7a8e6d5e-cb96-47cf-aa9f-438249cb2abd" providerId="ADAL" clId="{8626FE95-E7F2-4084-A04D-98B51CD95677}" dt="2024-01-31T15:30:14.364" v="3" actId="47"/>
        <pc:sldMkLst>
          <pc:docMk/>
          <pc:sldMk cId="19853871" sldId="4224"/>
        </pc:sldMkLst>
      </pc:sldChg>
      <pc:sldChg chg="del">
        <pc:chgData name="Lena Dunham" userId="7a8e6d5e-cb96-47cf-aa9f-438249cb2abd" providerId="ADAL" clId="{8626FE95-E7F2-4084-A04D-98B51CD95677}" dt="2024-01-31T15:30:18.976" v="4" actId="47"/>
        <pc:sldMkLst>
          <pc:docMk/>
          <pc:sldMk cId="1965677880" sldId="4225"/>
        </pc:sldMkLst>
      </pc:sldChg>
      <pc:sldChg chg="del">
        <pc:chgData name="Lena Dunham" userId="7a8e6d5e-cb96-47cf-aa9f-438249cb2abd" providerId="ADAL" clId="{8626FE95-E7F2-4084-A04D-98B51CD95677}" dt="2024-01-31T15:30:18.993" v="5" actId="47"/>
        <pc:sldMkLst>
          <pc:docMk/>
          <pc:sldMk cId="3484176933" sldId="4226"/>
        </pc:sldMkLst>
      </pc:sldChg>
      <pc:sldChg chg="del">
        <pc:chgData name="Lena Dunham" userId="7a8e6d5e-cb96-47cf-aa9f-438249cb2abd" providerId="ADAL" clId="{8626FE95-E7F2-4084-A04D-98B51CD95677}" dt="2024-01-31T15:30:23.258" v="6" actId="47"/>
        <pc:sldMkLst>
          <pc:docMk/>
          <pc:sldMk cId="311624893" sldId="4227"/>
        </pc:sldMkLst>
      </pc:sldChg>
      <pc:sldChg chg="del">
        <pc:chgData name="Lena Dunham" userId="7a8e6d5e-cb96-47cf-aa9f-438249cb2abd" providerId="ADAL" clId="{8626FE95-E7F2-4084-A04D-98B51CD95677}" dt="2024-01-31T15:30:23.258" v="6" actId="47"/>
        <pc:sldMkLst>
          <pc:docMk/>
          <pc:sldMk cId="1923972843" sldId="4228"/>
        </pc:sldMkLst>
      </pc:sldChg>
      <pc:sldChg chg="del">
        <pc:chgData name="Lena Dunham" userId="7a8e6d5e-cb96-47cf-aa9f-438249cb2abd" providerId="ADAL" clId="{8626FE95-E7F2-4084-A04D-98B51CD95677}" dt="2024-01-31T15:30:23.258" v="6" actId="47"/>
        <pc:sldMkLst>
          <pc:docMk/>
          <pc:sldMk cId="3239904474" sldId="4229"/>
        </pc:sldMkLst>
      </pc:sldChg>
      <pc:sldChg chg="del">
        <pc:chgData name="Lena Dunham" userId="7a8e6d5e-cb96-47cf-aa9f-438249cb2abd" providerId="ADAL" clId="{8626FE95-E7F2-4084-A04D-98B51CD95677}" dt="2024-01-31T15:30:23.258" v="6" actId="47"/>
        <pc:sldMkLst>
          <pc:docMk/>
          <pc:sldMk cId="367146197" sldId="4230"/>
        </pc:sldMkLst>
      </pc:sldChg>
      <pc:sldChg chg="del">
        <pc:chgData name="Lena Dunham" userId="7a8e6d5e-cb96-47cf-aa9f-438249cb2abd" providerId="ADAL" clId="{8626FE95-E7F2-4084-A04D-98B51CD95677}" dt="2024-01-31T15:30:23.258" v="6" actId="47"/>
        <pc:sldMkLst>
          <pc:docMk/>
          <pc:sldMk cId="2775932387" sldId="4231"/>
        </pc:sldMkLst>
      </pc:sldChg>
      <pc:sldChg chg="del">
        <pc:chgData name="Lena Dunham" userId="7a8e6d5e-cb96-47cf-aa9f-438249cb2abd" providerId="ADAL" clId="{8626FE95-E7F2-4084-A04D-98B51CD95677}" dt="2024-01-31T15:30:27.617" v="7" actId="47"/>
        <pc:sldMkLst>
          <pc:docMk/>
          <pc:sldMk cId="3563848057" sldId="4232"/>
        </pc:sldMkLst>
      </pc:sldChg>
      <pc:sldChg chg="del">
        <pc:chgData name="Lena Dunham" userId="7a8e6d5e-cb96-47cf-aa9f-438249cb2abd" providerId="ADAL" clId="{8626FE95-E7F2-4084-A04D-98B51CD95677}" dt="2024-01-31T15:30:27.617" v="7" actId="47"/>
        <pc:sldMkLst>
          <pc:docMk/>
          <pc:sldMk cId="1193202797" sldId="4233"/>
        </pc:sldMkLst>
      </pc:sldChg>
      <pc:sldChg chg="del">
        <pc:chgData name="Lena Dunham" userId="7a8e6d5e-cb96-47cf-aa9f-438249cb2abd" providerId="ADAL" clId="{8626FE95-E7F2-4084-A04D-98B51CD95677}" dt="2024-01-31T15:30:27.617" v="7" actId="47"/>
        <pc:sldMkLst>
          <pc:docMk/>
          <pc:sldMk cId="3039780012" sldId="4234"/>
        </pc:sldMkLst>
      </pc:sldChg>
      <pc:sldChg chg="del">
        <pc:chgData name="Lena Dunham" userId="7a8e6d5e-cb96-47cf-aa9f-438249cb2abd" providerId="ADAL" clId="{8626FE95-E7F2-4084-A04D-98B51CD95677}" dt="2024-01-31T15:30:27.617" v="7" actId="47"/>
        <pc:sldMkLst>
          <pc:docMk/>
          <pc:sldMk cId="456196114" sldId="4235"/>
        </pc:sldMkLst>
      </pc:sldChg>
      <pc:sldChg chg="del">
        <pc:chgData name="Lena Dunham" userId="7a8e6d5e-cb96-47cf-aa9f-438249cb2abd" providerId="ADAL" clId="{8626FE95-E7F2-4084-A04D-98B51CD95677}" dt="2024-01-31T15:30:27.617" v="7" actId="47"/>
        <pc:sldMkLst>
          <pc:docMk/>
          <pc:sldMk cId="1060894498" sldId="4236"/>
        </pc:sldMkLst>
      </pc:sldChg>
      <pc:sldChg chg="del">
        <pc:chgData name="Lena Dunham" userId="7a8e6d5e-cb96-47cf-aa9f-438249cb2abd" providerId="ADAL" clId="{8626FE95-E7F2-4084-A04D-98B51CD95677}" dt="2024-01-31T15:30:29.911" v="8" actId="47"/>
        <pc:sldMkLst>
          <pc:docMk/>
          <pc:sldMk cId="1717339720" sldId="4237"/>
        </pc:sldMkLst>
      </pc:sldChg>
      <pc:sldChg chg="del">
        <pc:chgData name="Lena Dunham" userId="7a8e6d5e-cb96-47cf-aa9f-438249cb2abd" providerId="ADAL" clId="{8626FE95-E7F2-4084-A04D-98B51CD95677}" dt="2024-01-31T15:30:29.911" v="8" actId="47"/>
        <pc:sldMkLst>
          <pc:docMk/>
          <pc:sldMk cId="787047079" sldId="4238"/>
        </pc:sldMkLst>
      </pc:sldChg>
      <pc:sldChg chg="del">
        <pc:chgData name="Lena Dunham" userId="7a8e6d5e-cb96-47cf-aa9f-438249cb2abd" providerId="ADAL" clId="{8626FE95-E7F2-4084-A04D-98B51CD95677}" dt="2024-01-31T15:30:29.911" v="8" actId="47"/>
        <pc:sldMkLst>
          <pc:docMk/>
          <pc:sldMk cId="4060638716" sldId="4239"/>
        </pc:sldMkLst>
      </pc:sldChg>
      <pc:sldChg chg="del">
        <pc:chgData name="Lena Dunham" userId="7a8e6d5e-cb96-47cf-aa9f-438249cb2abd" providerId="ADAL" clId="{8626FE95-E7F2-4084-A04D-98B51CD95677}" dt="2024-01-31T15:30:29.911" v="8" actId="47"/>
        <pc:sldMkLst>
          <pc:docMk/>
          <pc:sldMk cId="4187602665" sldId="4240"/>
        </pc:sldMkLst>
      </pc:sldChg>
      <pc:sldChg chg="del">
        <pc:chgData name="Lena Dunham" userId="7a8e6d5e-cb96-47cf-aa9f-438249cb2abd" providerId="ADAL" clId="{8626FE95-E7F2-4084-A04D-98B51CD95677}" dt="2024-01-31T15:30:29.911" v="8" actId="47"/>
        <pc:sldMkLst>
          <pc:docMk/>
          <pc:sldMk cId="3262282621" sldId="4241"/>
        </pc:sldMkLst>
      </pc:sldChg>
      <pc:sldChg chg="del">
        <pc:chgData name="Lena Dunham" userId="7a8e6d5e-cb96-47cf-aa9f-438249cb2abd" providerId="ADAL" clId="{8626FE95-E7F2-4084-A04D-98B51CD95677}" dt="2024-01-31T15:30:32.104" v="9" actId="47"/>
        <pc:sldMkLst>
          <pc:docMk/>
          <pc:sldMk cId="3806065037" sldId="4242"/>
        </pc:sldMkLst>
      </pc:sldChg>
      <pc:sldChg chg="del">
        <pc:chgData name="Lena Dunham" userId="7a8e6d5e-cb96-47cf-aa9f-438249cb2abd" providerId="ADAL" clId="{8626FE95-E7F2-4084-A04D-98B51CD95677}" dt="2024-01-31T15:30:32.104" v="9" actId="47"/>
        <pc:sldMkLst>
          <pc:docMk/>
          <pc:sldMk cId="3142360472" sldId="4243"/>
        </pc:sldMkLst>
      </pc:sldChg>
      <pc:sldChg chg="del">
        <pc:chgData name="Lena Dunham" userId="7a8e6d5e-cb96-47cf-aa9f-438249cb2abd" providerId="ADAL" clId="{8626FE95-E7F2-4084-A04D-98B51CD95677}" dt="2024-01-31T15:30:32.104" v="9" actId="47"/>
        <pc:sldMkLst>
          <pc:docMk/>
          <pc:sldMk cId="1780365158" sldId="4244"/>
        </pc:sldMkLst>
      </pc:sldChg>
      <pc:sldChg chg="del">
        <pc:chgData name="Lena Dunham" userId="7a8e6d5e-cb96-47cf-aa9f-438249cb2abd" providerId="ADAL" clId="{8626FE95-E7F2-4084-A04D-98B51CD95677}" dt="2024-01-31T15:30:32.104" v="9" actId="47"/>
        <pc:sldMkLst>
          <pc:docMk/>
          <pc:sldMk cId="3759736138" sldId="4245"/>
        </pc:sldMkLst>
      </pc:sldChg>
      <pc:sldChg chg="del">
        <pc:chgData name="Lena Dunham" userId="7a8e6d5e-cb96-47cf-aa9f-438249cb2abd" providerId="ADAL" clId="{8626FE95-E7F2-4084-A04D-98B51CD95677}" dt="2024-01-31T15:30:32.104" v="9" actId="47"/>
        <pc:sldMkLst>
          <pc:docMk/>
          <pc:sldMk cId="455275591" sldId="4246"/>
        </pc:sldMkLst>
      </pc:sldChg>
      <pc:sldChg chg="del">
        <pc:chgData name="Lena Dunham" userId="7a8e6d5e-cb96-47cf-aa9f-438249cb2abd" providerId="ADAL" clId="{8626FE95-E7F2-4084-A04D-98B51CD95677}" dt="2024-01-31T15:30:34.313" v="10" actId="47"/>
        <pc:sldMkLst>
          <pc:docMk/>
          <pc:sldMk cId="1748378733" sldId="4247"/>
        </pc:sldMkLst>
      </pc:sldChg>
      <pc:sldChg chg="del">
        <pc:chgData name="Lena Dunham" userId="7a8e6d5e-cb96-47cf-aa9f-438249cb2abd" providerId="ADAL" clId="{8626FE95-E7F2-4084-A04D-98B51CD95677}" dt="2024-01-31T15:30:34.313" v="10" actId="47"/>
        <pc:sldMkLst>
          <pc:docMk/>
          <pc:sldMk cId="1842277837" sldId="4248"/>
        </pc:sldMkLst>
      </pc:sldChg>
      <pc:sldChg chg="del">
        <pc:chgData name="Lena Dunham" userId="7a8e6d5e-cb96-47cf-aa9f-438249cb2abd" providerId="ADAL" clId="{8626FE95-E7F2-4084-A04D-98B51CD95677}" dt="2024-01-31T15:30:34.313" v="10" actId="47"/>
        <pc:sldMkLst>
          <pc:docMk/>
          <pc:sldMk cId="40132413" sldId="4249"/>
        </pc:sldMkLst>
      </pc:sldChg>
      <pc:sldChg chg="del">
        <pc:chgData name="Lena Dunham" userId="7a8e6d5e-cb96-47cf-aa9f-438249cb2abd" providerId="ADAL" clId="{8626FE95-E7F2-4084-A04D-98B51CD95677}" dt="2024-01-31T15:30:34.313" v="10" actId="47"/>
        <pc:sldMkLst>
          <pc:docMk/>
          <pc:sldMk cId="3798544814" sldId="4250"/>
        </pc:sldMkLst>
      </pc:sldChg>
      <pc:sldChg chg="del">
        <pc:chgData name="Lena Dunham" userId="7a8e6d5e-cb96-47cf-aa9f-438249cb2abd" providerId="ADAL" clId="{8626FE95-E7F2-4084-A04D-98B51CD95677}" dt="2024-01-31T15:30:34.313" v="10" actId="47"/>
        <pc:sldMkLst>
          <pc:docMk/>
          <pc:sldMk cId="1344209951" sldId="4251"/>
        </pc:sldMkLst>
      </pc:sldChg>
      <pc:sldChg chg="del">
        <pc:chgData name="Lena Dunham" userId="7a8e6d5e-cb96-47cf-aa9f-438249cb2abd" providerId="ADAL" clId="{8626FE95-E7F2-4084-A04D-98B51CD95677}" dt="2024-01-31T15:30:36.474" v="11" actId="47"/>
        <pc:sldMkLst>
          <pc:docMk/>
          <pc:sldMk cId="2733197088" sldId="4252"/>
        </pc:sldMkLst>
      </pc:sldChg>
      <pc:sldChg chg="del">
        <pc:chgData name="Lena Dunham" userId="7a8e6d5e-cb96-47cf-aa9f-438249cb2abd" providerId="ADAL" clId="{8626FE95-E7F2-4084-A04D-98B51CD95677}" dt="2024-01-31T15:30:36.474" v="11" actId="47"/>
        <pc:sldMkLst>
          <pc:docMk/>
          <pc:sldMk cId="3424748658" sldId="4253"/>
        </pc:sldMkLst>
      </pc:sldChg>
      <pc:sldChg chg="del">
        <pc:chgData name="Lena Dunham" userId="7a8e6d5e-cb96-47cf-aa9f-438249cb2abd" providerId="ADAL" clId="{8626FE95-E7F2-4084-A04D-98B51CD95677}" dt="2024-01-31T15:30:36.474" v="11" actId="47"/>
        <pc:sldMkLst>
          <pc:docMk/>
          <pc:sldMk cId="2979273197" sldId="4254"/>
        </pc:sldMkLst>
      </pc:sldChg>
      <pc:sldChg chg="del">
        <pc:chgData name="Lena Dunham" userId="7a8e6d5e-cb96-47cf-aa9f-438249cb2abd" providerId="ADAL" clId="{8626FE95-E7F2-4084-A04D-98B51CD95677}" dt="2024-01-31T15:30:36.474" v="11" actId="47"/>
        <pc:sldMkLst>
          <pc:docMk/>
          <pc:sldMk cId="2476028308" sldId="4255"/>
        </pc:sldMkLst>
      </pc:sldChg>
      <pc:sldChg chg="del">
        <pc:chgData name="Lena Dunham" userId="7a8e6d5e-cb96-47cf-aa9f-438249cb2abd" providerId="ADAL" clId="{8626FE95-E7F2-4084-A04D-98B51CD95677}" dt="2024-01-31T15:30:36.474" v="11" actId="47"/>
        <pc:sldMkLst>
          <pc:docMk/>
          <pc:sldMk cId="2505281419" sldId="4256"/>
        </pc:sldMkLst>
      </pc:sldChg>
      <pc:sldChg chg="del">
        <pc:chgData name="Lena Dunham" userId="7a8e6d5e-cb96-47cf-aa9f-438249cb2abd" providerId="ADAL" clId="{8626FE95-E7F2-4084-A04D-98B51CD95677}" dt="2024-01-31T15:30:38.402" v="12" actId="47"/>
        <pc:sldMkLst>
          <pc:docMk/>
          <pc:sldMk cId="1597968246" sldId="4257"/>
        </pc:sldMkLst>
      </pc:sldChg>
      <pc:sldChg chg="del">
        <pc:chgData name="Lena Dunham" userId="7a8e6d5e-cb96-47cf-aa9f-438249cb2abd" providerId="ADAL" clId="{8626FE95-E7F2-4084-A04D-98B51CD95677}" dt="2024-01-31T15:30:38.402" v="12" actId="47"/>
        <pc:sldMkLst>
          <pc:docMk/>
          <pc:sldMk cId="3043080043" sldId="4258"/>
        </pc:sldMkLst>
      </pc:sldChg>
      <pc:sldChg chg="del">
        <pc:chgData name="Lena Dunham" userId="7a8e6d5e-cb96-47cf-aa9f-438249cb2abd" providerId="ADAL" clId="{8626FE95-E7F2-4084-A04D-98B51CD95677}" dt="2024-01-31T15:30:38.402" v="12" actId="47"/>
        <pc:sldMkLst>
          <pc:docMk/>
          <pc:sldMk cId="3301490626" sldId="4259"/>
        </pc:sldMkLst>
      </pc:sldChg>
      <pc:sldChg chg="del">
        <pc:chgData name="Lena Dunham" userId="7a8e6d5e-cb96-47cf-aa9f-438249cb2abd" providerId="ADAL" clId="{8626FE95-E7F2-4084-A04D-98B51CD95677}" dt="2024-01-31T15:30:38.402" v="12" actId="47"/>
        <pc:sldMkLst>
          <pc:docMk/>
          <pc:sldMk cId="1512458826" sldId="4260"/>
        </pc:sldMkLst>
      </pc:sldChg>
      <pc:sldChg chg="del">
        <pc:chgData name="Lena Dunham" userId="7a8e6d5e-cb96-47cf-aa9f-438249cb2abd" providerId="ADAL" clId="{8626FE95-E7F2-4084-A04D-98B51CD95677}" dt="2024-01-31T15:30:38.402" v="12" actId="47"/>
        <pc:sldMkLst>
          <pc:docMk/>
          <pc:sldMk cId="2817630871" sldId="4261"/>
        </pc:sldMkLst>
      </pc:sldChg>
      <pc:sldChg chg="del">
        <pc:chgData name="Lena Dunham" userId="7a8e6d5e-cb96-47cf-aa9f-438249cb2abd" providerId="ADAL" clId="{8626FE95-E7F2-4084-A04D-98B51CD95677}" dt="2024-01-31T15:30:40.410" v="13" actId="47"/>
        <pc:sldMkLst>
          <pc:docMk/>
          <pc:sldMk cId="3720158061" sldId="4262"/>
        </pc:sldMkLst>
      </pc:sldChg>
      <pc:sldChg chg="del">
        <pc:chgData name="Lena Dunham" userId="7a8e6d5e-cb96-47cf-aa9f-438249cb2abd" providerId="ADAL" clId="{8626FE95-E7F2-4084-A04D-98B51CD95677}" dt="2024-01-31T15:30:40.410" v="13" actId="47"/>
        <pc:sldMkLst>
          <pc:docMk/>
          <pc:sldMk cId="1120782326" sldId="4263"/>
        </pc:sldMkLst>
      </pc:sldChg>
      <pc:sldChg chg="del">
        <pc:chgData name="Lena Dunham" userId="7a8e6d5e-cb96-47cf-aa9f-438249cb2abd" providerId="ADAL" clId="{8626FE95-E7F2-4084-A04D-98B51CD95677}" dt="2024-01-31T15:30:40.410" v="13" actId="47"/>
        <pc:sldMkLst>
          <pc:docMk/>
          <pc:sldMk cId="198859485" sldId="4264"/>
        </pc:sldMkLst>
      </pc:sldChg>
      <pc:sldChg chg="del">
        <pc:chgData name="Lena Dunham" userId="7a8e6d5e-cb96-47cf-aa9f-438249cb2abd" providerId="ADAL" clId="{8626FE95-E7F2-4084-A04D-98B51CD95677}" dt="2024-01-31T15:30:40.410" v="13" actId="47"/>
        <pc:sldMkLst>
          <pc:docMk/>
          <pc:sldMk cId="3827684134" sldId="4265"/>
        </pc:sldMkLst>
      </pc:sldChg>
      <pc:sldChg chg="del">
        <pc:chgData name="Lena Dunham" userId="7a8e6d5e-cb96-47cf-aa9f-438249cb2abd" providerId="ADAL" clId="{8626FE95-E7F2-4084-A04D-98B51CD95677}" dt="2024-01-31T15:30:40.410" v="13" actId="47"/>
        <pc:sldMkLst>
          <pc:docMk/>
          <pc:sldMk cId="2966483258" sldId="4266"/>
        </pc:sldMkLst>
      </pc:sldChg>
      <pc:sldChg chg="del">
        <pc:chgData name="Lena Dunham" userId="7a8e6d5e-cb96-47cf-aa9f-438249cb2abd" providerId="ADAL" clId="{8626FE95-E7F2-4084-A04D-98B51CD95677}" dt="2024-01-31T15:30:42.263" v="14" actId="47"/>
        <pc:sldMkLst>
          <pc:docMk/>
          <pc:sldMk cId="1374951095" sldId="4267"/>
        </pc:sldMkLst>
      </pc:sldChg>
      <pc:sldChg chg="del">
        <pc:chgData name="Lena Dunham" userId="7a8e6d5e-cb96-47cf-aa9f-438249cb2abd" providerId="ADAL" clId="{8626FE95-E7F2-4084-A04D-98B51CD95677}" dt="2024-01-31T15:30:42.263" v="14" actId="47"/>
        <pc:sldMkLst>
          <pc:docMk/>
          <pc:sldMk cId="520824307" sldId="4268"/>
        </pc:sldMkLst>
      </pc:sldChg>
      <pc:sldChg chg="del">
        <pc:chgData name="Lena Dunham" userId="7a8e6d5e-cb96-47cf-aa9f-438249cb2abd" providerId="ADAL" clId="{8626FE95-E7F2-4084-A04D-98B51CD95677}" dt="2024-01-31T15:30:42.263" v="14" actId="47"/>
        <pc:sldMkLst>
          <pc:docMk/>
          <pc:sldMk cId="94525795" sldId="4269"/>
        </pc:sldMkLst>
      </pc:sldChg>
      <pc:sldChg chg="del">
        <pc:chgData name="Lena Dunham" userId="7a8e6d5e-cb96-47cf-aa9f-438249cb2abd" providerId="ADAL" clId="{8626FE95-E7F2-4084-A04D-98B51CD95677}" dt="2024-01-31T15:30:42.263" v="14" actId="47"/>
        <pc:sldMkLst>
          <pc:docMk/>
          <pc:sldMk cId="1262192021" sldId="4270"/>
        </pc:sldMkLst>
      </pc:sldChg>
      <pc:sldChg chg="del">
        <pc:chgData name="Lena Dunham" userId="7a8e6d5e-cb96-47cf-aa9f-438249cb2abd" providerId="ADAL" clId="{8626FE95-E7F2-4084-A04D-98B51CD95677}" dt="2024-01-31T15:30:42.263" v="14" actId="47"/>
        <pc:sldMkLst>
          <pc:docMk/>
          <pc:sldMk cId="302320606" sldId="4271"/>
        </pc:sldMkLst>
      </pc:sldChg>
      <pc:sldChg chg="del">
        <pc:chgData name="Lena Dunham" userId="7a8e6d5e-cb96-47cf-aa9f-438249cb2abd" providerId="ADAL" clId="{8626FE95-E7F2-4084-A04D-98B51CD95677}" dt="2024-01-31T15:30:44.375" v="15" actId="47"/>
        <pc:sldMkLst>
          <pc:docMk/>
          <pc:sldMk cId="4079807514" sldId="4272"/>
        </pc:sldMkLst>
      </pc:sldChg>
      <pc:sldChg chg="del">
        <pc:chgData name="Lena Dunham" userId="7a8e6d5e-cb96-47cf-aa9f-438249cb2abd" providerId="ADAL" clId="{8626FE95-E7F2-4084-A04D-98B51CD95677}" dt="2024-01-31T15:30:44.375" v="15" actId="47"/>
        <pc:sldMkLst>
          <pc:docMk/>
          <pc:sldMk cId="1332059713" sldId="4273"/>
        </pc:sldMkLst>
      </pc:sldChg>
      <pc:sldChg chg="del">
        <pc:chgData name="Lena Dunham" userId="7a8e6d5e-cb96-47cf-aa9f-438249cb2abd" providerId="ADAL" clId="{8626FE95-E7F2-4084-A04D-98B51CD95677}" dt="2024-01-31T15:30:44.375" v="15" actId="47"/>
        <pc:sldMkLst>
          <pc:docMk/>
          <pc:sldMk cId="3708263826" sldId="4274"/>
        </pc:sldMkLst>
      </pc:sldChg>
      <pc:sldChg chg="del">
        <pc:chgData name="Lena Dunham" userId="7a8e6d5e-cb96-47cf-aa9f-438249cb2abd" providerId="ADAL" clId="{8626FE95-E7F2-4084-A04D-98B51CD95677}" dt="2024-01-31T15:30:44.375" v="15" actId="47"/>
        <pc:sldMkLst>
          <pc:docMk/>
          <pc:sldMk cId="2666303691" sldId="4275"/>
        </pc:sldMkLst>
      </pc:sldChg>
      <pc:sldChg chg="del">
        <pc:chgData name="Lena Dunham" userId="7a8e6d5e-cb96-47cf-aa9f-438249cb2abd" providerId="ADAL" clId="{8626FE95-E7F2-4084-A04D-98B51CD95677}" dt="2024-01-31T15:30:44.375" v="15" actId="47"/>
        <pc:sldMkLst>
          <pc:docMk/>
          <pc:sldMk cId="2721061585" sldId="4276"/>
        </pc:sldMkLst>
      </pc:sldChg>
      <pc:sldChg chg="del">
        <pc:chgData name="Lena Dunham" userId="7a8e6d5e-cb96-47cf-aa9f-438249cb2abd" providerId="ADAL" clId="{8626FE95-E7F2-4084-A04D-98B51CD95677}" dt="2024-01-31T15:30:46.674" v="16" actId="47"/>
        <pc:sldMkLst>
          <pc:docMk/>
          <pc:sldMk cId="3716491544" sldId="4277"/>
        </pc:sldMkLst>
      </pc:sldChg>
      <pc:sldChg chg="del">
        <pc:chgData name="Lena Dunham" userId="7a8e6d5e-cb96-47cf-aa9f-438249cb2abd" providerId="ADAL" clId="{8626FE95-E7F2-4084-A04D-98B51CD95677}" dt="2024-01-31T15:30:46.674" v="16" actId="47"/>
        <pc:sldMkLst>
          <pc:docMk/>
          <pc:sldMk cId="306715214" sldId="4278"/>
        </pc:sldMkLst>
      </pc:sldChg>
      <pc:sldChg chg="del">
        <pc:chgData name="Lena Dunham" userId="7a8e6d5e-cb96-47cf-aa9f-438249cb2abd" providerId="ADAL" clId="{8626FE95-E7F2-4084-A04D-98B51CD95677}" dt="2024-01-31T15:30:46.674" v="16" actId="47"/>
        <pc:sldMkLst>
          <pc:docMk/>
          <pc:sldMk cId="2523244440" sldId="4279"/>
        </pc:sldMkLst>
      </pc:sldChg>
      <pc:sldChg chg="del">
        <pc:chgData name="Lena Dunham" userId="7a8e6d5e-cb96-47cf-aa9f-438249cb2abd" providerId="ADAL" clId="{8626FE95-E7F2-4084-A04D-98B51CD95677}" dt="2024-01-31T15:30:46.674" v="16" actId="47"/>
        <pc:sldMkLst>
          <pc:docMk/>
          <pc:sldMk cId="1037783027" sldId="4280"/>
        </pc:sldMkLst>
      </pc:sldChg>
      <pc:sldChg chg="del">
        <pc:chgData name="Lena Dunham" userId="7a8e6d5e-cb96-47cf-aa9f-438249cb2abd" providerId="ADAL" clId="{8626FE95-E7F2-4084-A04D-98B51CD95677}" dt="2024-01-31T15:30:46.674" v="16" actId="47"/>
        <pc:sldMkLst>
          <pc:docMk/>
          <pc:sldMk cId="864205231" sldId="4281"/>
        </pc:sldMkLst>
      </pc:sldChg>
      <pc:sldChg chg="del">
        <pc:chgData name="Lena Dunham" userId="7a8e6d5e-cb96-47cf-aa9f-438249cb2abd" providerId="ADAL" clId="{8626FE95-E7F2-4084-A04D-98B51CD95677}" dt="2024-01-31T15:30:49.693" v="17" actId="47"/>
        <pc:sldMkLst>
          <pc:docMk/>
          <pc:sldMk cId="1391532828" sldId="4282"/>
        </pc:sldMkLst>
      </pc:sldChg>
      <pc:sldChg chg="del">
        <pc:chgData name="Lena Dunham" userId="7a8e6d5e-cb96-47cf-aa9f-438249cb2abd" providerId="ADAL" clId="{8626FE95-E7F2-4084-A04D-98B51CD95677}" dt="2024-01-31T15:30:49.693" v="17" actId="47"/>
        <pc:sldMkLst>
          <pc:docMk/>
          <pc:sldMk cId="1962453186" sldId="4283"/>
        </pc:sldMkLst>
      </pc:sldChg>
      <pc:sldChg chg="del">
        <pc:chgData name="Lena Dunham" userId="7a8e6d5e-cb96-47cf-aa9f-438249cb2abd" providerId="ADAL" clId="{8626FE95-E7F2-4084-A04D-98B51CD95677}" dt="2024-01-31T15:30:49.693" v="17" actId="47"/>
        <pc:sldMkLst>
          <pc:docMk/>
          <pc:sldMk cId="1112952706" sldId="4284"/>
        </pc:sldMkLst>
      </pc:sldChg>
      <pc:sldChg chg="del">
        <pc:chgData name="Lena Dunham" userId="7a8e6d5e-cb96-47cf-aa9f-438249cb2abd" providerId="ADAL" clId="{8626FE95-E7F2-4084-A04D-98B51CD95677}" dt="2024-01-31T15:30:49.693" v="17" actId="47"/>
        <pc:sldMkLst>
          <pc:docMk/>
          <pc:sldMk cId="269026150" sldId="4285"/>
        </pc:sldMkLst>
      </pc:sldChg>
      <pc:sldMasterChg chg="del delSldLayout">
        <pc:chgData name="Lena Dunham" userId="7a8e6d5e-cb96-47cf-aa9f-438249cb2abd" providerId="ADAL" clId="{8626FE95-E7F2-4084-A04D-98B51CD95677}" dt="2024-01-31T15:30:49.693" v="17" actId="47"/>
        <pc:sldMasterMkLst>
          <pc:docMk/>
          <pc:sldMasterMk cId="2109947927" sldId="2147483648"/>
        </pc:sldMasterMkLst>
        <pc:sldLayoutChg chg="del">
          <pc:chgData name="Lena Dunham" userId="7a8e6d5e-cb96-47cf-aa9f-438249cb2abd" providerId="ADAL" clId="{8626FE95-E7F2-4084-A04D-98B51CD95677}" dt="2024-01-31T15:30:49.693" v="17" actId="47"/>
          <pc:sldLayoutMkLst>
            <pc:docMk/>
            <pc:sldMasterMk cId="2109947927" sldId="2147483648"/>
            <pc:sldLayoutMk cId="3794030590" sldId="2147483649"/>
          </pc:sldLayoutMkLst>
        </pc:sldLayoutChg>
        <pc:sldLayoutChg chg="del">
          <pc:chgData name="Lena Dunham" userId="7a8e6d5e-cb96-47cf-aa9f-438249cb2abd" providerId="ADAL" clId="{8626FE95-E7F2-4084-A04D-98B51CD95677}" dt="2024-01-31T15:30:49.693" v="17" actId="47"/>
          <pc:sldLayoutMkLst>
            <pc:docMk/>
            <pc:sldMasterMk cId="2109947927" sldId="2147483648"/>
            <pc:sldLayoutMk cId="3938914057" sldId="2147483650"/>
          </pc:sldLayoutMkLst>
        </pc:sldLayoutChg>
        <pc:sldLayoutChg chg="del">
          <pc:chgData name="Lena Dunham" userId="7a8e6d5e-cb96-47cf-aa9f-438249cb2abd" providerId="ADAL" clId="{8626FE95-E7F2-4084-A04D-98B51CD95677}" dt="2024-01-31T15:30:49.693" v="17" actId="47"/>
          <pc:sldLayoutMkLst>
            <pc:docMk/>
            <pc:sldMasterMk cId="2109947927" sldId="2147483648"/>
            <pc:sldLayoutMk cId="2837323496" sldId="2147483651"/>
          </pc:sldLayoutMkLst>
        </pc:sldLayoutChg>
        <pc:sldLayoutChg chg="del">
          <pc:chgData name="Lena Dunham" userId="7a8e6d5e-cb96-47cf-aa9f-438249cb2abd" providerId="ADAL" clId="{8626FE95-E7F2-4084-A04D-98B51CD95677}" dt="2024-01-31T15:30:49.693" v="17" actId="47"/>
          <pc:sldLayoutMkLst>
            <pc:docMk/>
            <pc:sldMasterMk cId="2109947927" sldId="2147483648"/>
            <pc:sldLayoutMk cId="4124255931" sldId="2147483652"/>
          </pc:sldLayoutMkLst>
        </pc:sldLayoutChg>
        <pc:sldLayoutChg chg="del">
          <pc:chgData name="Lena Dunham" userId="7a8e6d5e-cb96-47cf-aa9f-438249cb2abd" providerId="ADAL" clId="{8626FE95-E7F2-4084-A04D-98B51CD95677}" dt="2024-01-31T15:30:49.693" v="17" actId="47"/>
          <pc:sldLayoutMkLst>
            <pc:docMk/>
            <pc:sldMasterMk cId="2109947927" sldId="2147483648"/>
            <pc:sldLayoutMk cId="3467482967" sldId="2147483653"/>
          </pc:sldLayoutMkLst>
        </pc:sldLayoutChg>
        <pc:sldLayoutChg chg="del">
          <pc:chgData name="Lena Dunham" userId="7a8e6d5e-cb96-47cf-aa9f-438249cb2abd" providerId="ADAL" clId="{8626FE95-E7F2-4084-A04D-98B51CD95677}" dt="2024-01-31T15:30:49.693" v="17" actId="47"/>
          <pc:sldLayoutMkLst>
            <pc:docMk/>
            <pc:sldMasterMk cId="2109947927" sldId="2147483648"/>
            <pc:sldLayoutMk cId="3920416657" sldId="2147483654"/>
          </pc:sldLayoutMkLst>
        </pc:sldLayoutChg>
        <pc:sldLayoutChg chg="del">
          <pc:chgData name="Lena Dunham" userId="7a8e6d5e-cb96-47cf-aa9f-438249cb2abd" providerId="ADAL" clId="{8626FE95-E7F2-4084-A04D-98B51CD95677}" dt="2024-01-31T15:30:49.693" v="17" actId="47"/>
          <pc:sldLayoutMkLst>
            <pc:docMk/>
            <pc:sldMasterMk cId="2109947927" sldId="2147483648"/>
            <pc:sldLayoutMk cId="551721959" sldId="2147483655"/>
          </pc:sldLayoutMkLst>
        </pc:sldLayoutChg>
        <pc:sldLayoutChg chg="del">
          <pc:chgData name="Lena Dunham" userId="7a8e6d5e-cb96-47cf-aa9f-438249cb2abd" providerId="ADAL" clId="{8626FE95-E7F2-4084-A04D-98B51CD95677}" dt="2024-01-31T15:30:49.693" v="17" actId="47"/>
          <pc:sldLayoutMkLst>
            <pc:docMk/>
            <pc:sldMasterMk cId="2109947927" sldId="2147483648"/>
            <pc:sldLayoutMk cId="2546627886" sldId="2147483656"/>
          </pc:sldLayoutMkLst>
        </pc:sldLayoutChg>
        <pc:sldLayoutChg chg="del">
          <pc:chgData name="Lena Dunham" userId="7a8e6d5e-cb96-47cf-aa9f-438249cb2abd" providerId="ADAL" clId="{8626FE95-E7F2-4084-A04D-98B51CD95677}" dt="2024-01-31T15:30:49.693" v="17" actId="47"/>
          <pc:sldLayoutMkLst>
            <pc:docMk/>
            <pc:sldMasterMk cId="2109947927" sldId="2147483648"/>
            <pc:sldLayoutMk cId="3929090260" sldId="2147483657"/>
          </pc:sldLayoutMkLst>
        </pc:sldLayoutChg>
        <pc:sldLayoutChg chg="del">
          <pc:chgData name="Lena Dunham" userId="7a8e6d5e-cb96-47cf-aa9f-438249cb2abd" providerId="ADAL" clId="{8626FE95-E7F2-4084-A04D-98B51CD95677}" dt="2024-01-31T15:30:49.693" v="17" actId="47"/>
          <pc:sldLayoutMkLst>
            <pc:docMk/>
            <pc:sldMasterMk cId="2109947927" sldId="2147483648"/>
            <pc:sldLayoutMk cId="677934258" sldId="2147483658"/>
          </pc:sldLayoutMkLst>
        </pc:sldLayoutChg>
        <pc:sldLayoutChg chg="del">
          <pc:chgData name="Lena Dunham" userId="7a8e6d5e-cb96-47cf-aa9f-438249cb2abd" providerId="ADAL" clId="{8626FE95-E7F2-4084-A04D-98B51CD95677}" dt="2024-01-31T15:30:49.693" v="17" actId="47"/>
          <pc:sldLayoutMkLst>
            <pc:docMk/>
            <pc:sldMasterMk cId="2109947927" sldId="2147483648"/>
            <pc:sldLayoutMk cId="1412637199" sldId="2147483659"/>
          </pc:sldLayoutMkLst>
        </pc:sldLayoutChg>
      </pc:sldMasterChg>
    </pc:docChg>
  </pc:docChgLst>
  <pc:docChgLst>
    <pc:chgData name="Justine Allen" userId="74a19456-9297-4ccb-83db-a0ad0cec6ea4" providerId="ADAL" clId="{5FE52AD7-72C0-4C99-AA38-7B8DC96AE8A5}"/>
    <pc:docChg chg="undo custSel addSld modSld">
      <pc:chgData name="Justine Allen" userId="74a19456-9297-4ccb-83db-a0ad0cec6ea4" providerId="ADAL" clId="{5FE52AD7-72C0-4C99-AA38-7B8DC96AE8A5}" dt="2024-03-14T14:08:44.542" v="123"/>
      <pc:docMkLst>
        <pc:docMk/>
      </pc:docMkLst>
      <pc:sldChg chg="addSp delSp modSp new mod">
        <pc:chgData name="Justine Allen" userId="74a19456-9297-4ccb-83db-a0ad0cec6ea4" providerId="ADAL" clId="{5FE52AD7-72C0-4C99-AA38-7B8DC96AE8A5}" dt="2024-03-14T13:55:01.446" v="116" actId="1076"/>
        <pc:sldMkLst>
          <pc:docMk/>
          <pc:sldMk cId="1872215288" sldId="4221"/>
        </pc:sldMkLst>
        <pc:spChg chg="del">
          <ac:chgData name="Justine Allen" userId="74a19456-9297-4ccb-83db-a0ad0cec6ea4" providerId="ADAL" clId="{5FE52AD7-72C0-4C99-AA38-7B8DC96AE8A5}" dt="2024-03-14T13:43:05.521" v="5" actId="478"/>
          <ac:spMkLst>
            <pc:docMk/>
            <pc:sldMk cId="1872215288" sldId="4221"/>
            <ac:spMk id="2" creationId="{FD2301F3-AF0E-260E-5180-90657A805C6A}"/>
          </ac:spMkLst>
        </pc:spChg>
        <pc:spChg chg="del mod">
          <ac:chgData name="Justine Allen" userId="74a19456-9297-4ccb-83db-a0ad0cec6ea4" providerId="ADAL" clId="{5FE52AD7-72C0-4C99-AA38-7B8DC96AE8A5}" dt="2024-03-14T13:42:55.310" v="4" actId="22"/>
          <ac:spMkLst>
            <pc:docMk/>
            <pc:sldMk cId="1872215288" sldId="4221"/>
            <ac:spMk id="3" creationId="{C9E69924-764E-CC9D-C380-E7C9736F55CF}"/>
          </ac:spMkLst>
        </pc:spChg>
        <pc:spChg chg="add del mod">
          <ac:chgData name="Justine Allen" userId="74a19456-9297-4ccb-83db-a0ad0cec6ea4" providerId="ADAL" clId="{5FE52AD7-72C0-4C99-AA38-7B8DC96AE8A5}" dt="2024-03-14T13:43:52.565" v="48" actId="478"/>
          <ac:spMkLst>
            <pc:docMk/>
            <pc:sldMk cId="1872215288" sldId="4221"/>
            <ac:spMk id="7" creationId="{C23429A9-884E-8816-2CC4-678ED7DECEBC}"/>
          </ac:spMkLst>
        </pc:spChg>
        <pc:spChg chg="add mod">
          <ac:chgData name="Justine Allen" userId="74a19456-9297-4ccb-83db-a0ad0cec6ea4" providerId="ADAL" clId="{5FE52AD7-72C0-4C99-AA38-7B8DC96AE8A5}" dt="2024-03-14T13:54:41.375" v="113" actId="1076"/>
          <ac:spMkLst>
            <pc:docMk/>
            <pc:sldMk cId="1872215288" sldId="4221"/>
            <ac:spMk id="10" creationId="{E336C8C1-B51E-6540-D694-88683328869D}"/>
          </ac:spMkLst>
        </pc:spChg>
        <pc:picChg chg="add mod ord">
          <ac:chgData name="Justine Allen" userId="74a19456-9297-4ccb-83db-a0ad0cec6ea4" providerId="ADAL" clId="{5FE52AD7-72C0-4C99-AA38-7B8DC96AE8A5}" dt="2024-03-14T13:53:50.421" v="107" actId="1076"/>
          <ac:picMkLst>
            <pc:docMk/>
            <pc:sldMk cId="1872215288" sldId="4221"/>
            <ac:picMk id="6" creationId="{63DEF140-8A0E-B292-335F-2E4549502947}"/>
          </ac:picMkLst>
        </pc:picChg>
        <pc:picChg chg="add mod">
          <ac:chgData name="Justine Allen" userId="74a19456-9297-4ccb-83db-a0ad0cec6ea4" providerId="ADAL" clId="{5FE52AD7-72C0-4C99-AA38-7B8DC96AE8A5}" dt="2024-03-14T13:55:01.446" v="116" actId="1076"/>
          <ac:picMkLst>
            <pc:docMk/>
            <pc:sldMk cId="1872215288" sldId="4221"/>
            <ac:picMk id="9" creationId="{B35A354D-023A-C0B4-37D7-D8AFA45AF68C}"/>
          </ac:picMkLst>
        </pc:picChg>
      </pc:sldChg>
      <pc:sldChg chg="addSp delSp modSp new mod">
        <pc:chgData name="Justine Allen" userId="74a19456-9297-4ccb-83db-a0ad0cec6ea4" providerId="ADAL" clId="{5FE52AD7-72C0-4C99-AA38-7B8DC96AE8A5}" dt="2024-03-14T14:08:44.542" v="123"/>
        <pc:sldMkLst>
          <pc:docMk/>
          <pc:sldMk cId="3918729670" sldId="4222"/>
        </pc:sldMkLst>
        <pc:spChg chg="del">
          <ac:chgData name="Justine Allen" userId="74a19456-9297-4ccb-83db-a0ad0cec6ea4" providerId="ADAL" clId="{5FE52AD7-72C0-4C99-AA38-7B8DC96AE8A5}" dt="2024-03-14T13:53:16.635" v="99" actId="478"/>
          <ac:spMkLst>
            <pc:docMk/>
            <pc:sldMk cId="3918729670" sldId="4222"/>
            <ac:spMk id="2" creationId="{2D756702-CE0B-DC8A-E844-D94AFF4A2C70}"/>
          </ac:spMkLst>
        </pc:spChg>
        <pc:spChg chg="del">
          <ac:chgData name="Justine Allen" userId="74a19456-9297-4ccb-83db-a0ad0cec6ea4" providerId="ADAL" clId="{5FE52AD7-72C0-4C99-AA38-7B8DC96AE8A5}" dt="2024-03-14T13:52:44.658" v="98" actId="22"/>
          <ac:spMkLst>
            <pc:docMk/>
            <pc:sldMk cId="3918729670" sldId="4222"/>
            <ac:spMk id="3" creationId="{2DE2E223-18B7-50B8-9EE2-9420CD425858}"/>
          </ac:spMkLst>
        </pc:spChg>
        <pc:spChg chg="add mod">
          <ac:chgData name="Justine Allen" userId="74a19456-9297-4ccb-83db-a0ad0cec6ea4" providerId="ADAL" clId="{5FE52AD7-72C0-4C99-AA38-7B8DC96AE8A5}" dt="2024-03-14T14:08:08.433" v="122" actId="1076"/>
          <ac:spMkLst>
            <pc:docMk/>
            <pc:sldMk cId="3918729670" sldId="4222"/>
            <ac:spMk id="9" creationId="{23CAE132-19DC-04A8-8AA0-7F8923468196}"/>
          </ac:spMkLst>
        </pc:spChg>
        <pc:picChg chg="add mod ord">
          <ac:chgData name="Justine Allen" userId="74a19456-9297-4ccb-83db-a0ad0cec6ea4" providerId="ADAL" clId="{5FE52AD7-72C0-4C99-AA38-7B8DC96AE8A5}" dt="2024-03-14T14:08:44.542" v="123"/>
          <ac:picMkLst>
            <pc:docMk/>
            <pc:sldMk cId="3918729670" sldId="4222"/>
            <ac:picMk id="6" creationId="{2DFDD3DC-9D99-7E7F-FAED-73EB8898EAD2}"/>
          </ac:picMkLst>
        </pc:picChg>
        <pc:picChg chg="add">
          <ac:chgData name="Justine Allen" userId="74a19456-9297-4ccb-83db-a0ad0cec6ea4" providerId="ADAL" clId="{5FE52AD7-72C0-4C99-AA38-7B8DC96AE8A5}" dt="2024-03-14T13:54:51.946" v="115"/>
          <ac:picMkLst>
            <pc:docMk/>
            <pc:sldMk cId="3918729670" sldId="4222"/>
            <ac:picMk id="7" creationId="{BDA60A76-1B0F-5D59-5F15-116A7F9AC255}"/>
          </ac:picMkLst>
        </pc:picChg>
        <pc:picChg chg="add mod">
          <ac:chgData name="Justine Allen" userId="74a19456-9297-4ccb-83db-a0ad0cec6ea4" providerId="ADAL" clId="{5FE52AD7-72C0-4C99-AA38-7B8DC96AE8A5}" dt="2024-03-14T14:08:06.069" v="121" actId="1076"/>
          <ac:picMkLst>
            <pc:docMk/>
            <pc:sldMk cId="3918729670" sldId="4222"/>
            <ac:picMk id="8" creationId="{F33ABDD2-E482-995D-E5B5-F7D716EA94C0}"/>
          </ac:picMkLst>
        </pc:picChg>
      </pc:sldChg>
    </pc:docChg>
  </pc:docChgLst>
  <pc:docChgLst>
    <pc:chgData name="Lena Dunham" userId="7a8e6d5e-cb96-47cf-aa9f-438249cb2abd" providerId="ADAL" clId="{0DB03246-F096-49DD-AC12-88E88F1F1EB0}"/>
    <pc:docChg chg="undo custSel modSld">
      <pc:chgData name="Lena Dunham" userId="7a8e6d5e-cb96-47cf-aa9f-438249cb2abd" providerId="ADAL" clId="{0DB03246-F096-49DD-AC12-88E88F1F1EB0}" dt="2024-03-12T13:40:23.969" v="45" actId="20577"/>
      <pc:docMkLst>
        <pc:docMk/>
      </pc:docMkLst>
      <pc:sldChg chg="modSp mod">
        <pc:chgData name="Lena Dunham" userId="7a8e6d5e-cb96-47cf-aa9f-438249cb2abd" providerId="ADAL" clId="{0DB03246-F096-49DD-AC12-88E88F1F1EB0}" dt="2024-03-12T13:40:23.969" v="45" actId="20577"/>
        <pc:sldMkLst>
          <pc:docMk/>
          <pc:sldMk cId="1769625664" sldId="4220"/>
        </pc:sldMkLst>
        <pc:spChg chg="mod">
          <ac:chgData name="Lena Dunham" userId="7a8e6d5e-cb96-47cf-aa9f-438249cb2abd" providerId="ADAL" clId="{0DB03246-F096-49DD-AC12-88E88F1F1EB0}" dt="2024-03-12T13:38:52.989" v="13" actId="20577"/>
          <ac:spMkLst>
            <pc:docMk/>
            <pc:sldMk cId="1769625664" sldId="4220"/>
            <ac:spMk id="6" creationId="{00000000-0000-0000-0000-000000000000}"/>
          </ac:spMkLst>
        </pc:spChg>
        <pc:spChg chg="mod">
          <ac:chgData name="Lena Dunham" userId="7a8e6d5e-cb96-47cf-aa9f-438249cb2abd" providerId="ADAL" clId="{0DB03246-F096-49DD-AC12-88E88F1F1EB0}" dt="2024-03-12T13:38:57.284" v="22" actId="20577"/>
          <ac:spMkLst>
            <pc:docMk/>
            <pc:sldMk cId="1769625664" sldId="4220"/>
            <ac:spMk id="9" creationId="{00000000-0000-0000-0000-000000000000}"/>
          </ac:spMkLst>
        </pc:spChg>
        <pc:spChg chg="mod">
          <ac:chgData name="Lena Dunham" userId="7a8e6d5e-cb96-47cf-aa9f-438249cb2abd" providerId="ADAL" clId="{0DB03246-F096-49DD-AC12-88E88F1F1EB0}" dt="2024-03-12T13:40:23.969" v="45" actId="20577"/>
          <ac:spMkLst>
            <pc:docMk/>
            <pc:sldMk cId="1769625664" sldId="4220"/>
            <ac:spMk id="12" creationId="{36492090-DDEF-40FC-BCE6-8DC048D8E8F5}"/>
          </ac:spMkLst>
        </pc:spChg>
      </pc:sldChg>
    </pc:docChg>
  </pc:docChgLst>
  <pc:docChgLst>
    <pc:chgData name="Lena Dunham" userId="7a8e6d5e-cb96-47cf-aa9f-438249cb2abd" providerId="ADAL" clId="{F3F09206-165E-4825-9BA1-353705293EFE}"/>
    <pc:docChg chg="undo custSel addSld delSld modSld">
      <pc:chgData name="Lena Dunham" userId="7a8e6d5e-cb96-47cf-aa9f-438249cb2abd" providerId="ADAL" clId="{F3F09206-165E-4825-9BA1-353705293EFE}" dt="2024-04-11T13:51:43.996" v="217"/>
      <pc:docMkLst>
        <pc:docMk/>
      </pc:docMkLst>
      <pc:sldChg chg="addSp delSp add del setBg delDesignElem modNotes">
        <pc:chgData name="Lena Dunham" userId="7a8e6d5e-cb96-47cf-aa9f-438249cb2abd" providerId="ADAL" clId="{F3F09206-165E-4825-9BA1-353705293EFE}" dt="2024-04-11T13:51:43.996" v="217"/>
        <pc:sldMkLst>
          <pc:docMk/>
          <pc:sldMk cId="570633641" sldId="256"/>
        </pc:sldMkLst>
        <pc:spChg chg="add del">
          <ac:chgData name="Lena Dunham" userId="7a8e6d5e-cb96-47cf-aa9f-438249cb2abd" providerId="ADAL" clId="{F3F09206-165E-4825-9BA1-353705293EFE}" dt="2024-04-11T13:51:43.996" v="217"/>
          <ac:spMkLst>
            <pc:docMk/>
            <pc:sldMk cId="570633641" sldId="256"/>
            <ac:spMk id="71" creationId="{9F4872A9-B8AB-4468-A644-63D8946D6294}"/>
          </ac:spMkLst>
        </pc:spChg>
        <pc:spChg chg="add del">
          <ac:chgData name="Lena Dunham" userId="7a8e6d5e-cb96-47cf-aa9f-438249cb2abd" providerId="ADAL" clId="{F3F09206-165E-4825-9BA1-353705293EFE}" dt="2024-04-11T13:51:43.996" v="217"/>
          <ac:spMkLst>
            <pc:docMk/>
            <pc:sldMk cId="570633641" sldId="256"/>
            <ac:spMk id="73" creationId="{F0C09AB9-049D-4CCE-84FB-B46523237AE9}"/>
          </ac:spMkLst>
        </pc:spChg>
        <pc:spChg chg="add del">
          <ac:chgData name="Lena Dunham" userId="7a8e6d5e-cb96-47cf-aa9f-438249cb2abd" providerId="ADAL" clId="{F3F09206-165E-4825-9BA1-353705293EFE}" dt="2024-04-11T13:51:43.996" v="217"/>
          <ac:spMkLst>
            <pc:docMk/>
            <pc:sldMk cId="570633641" sldId="256"/>
            <ac:spMk id="75" creationId="{1955AA43-884C-4A56-A86B-FAF15EB56CC1}"/>
          </ac:spMkLst>
        </pc:spChg>
        <pc:spChg chg="add del">
          <ac:chgData name="Lena Dunham" userId="7a8e6d5e-cb96-47cf-aa9f-438249cb2abd" providerId="ADAL" clId="{F3F09206-165E-4825-9BA1-353705293EFE}" dt="2024-04-11T13:51:43.996" v="217"/>
          <ac:spMkLst>
            <pc:docMk/>
            <pc:sldMk cId="570633641" sldId="256"/>
            <ac:spMk id="77" creationId="{8398466B-CED3-4787-ACF2-13E617B757C7}"/>
          </ac:spMkLst>
        </pc:spChg>
      </pc:sldChg>
      <pc:sldChg chg="modSp add del mod">
        <pc:chgData name="Lena Dunham" userId="7a8e6d5e-cb96-47cf-aa9f-438249cb2abd" providerId="ADAL" clId="{F3F09206-165E-4825-9BA1-353705293EFE}" dt="2024-04-11T13:51:43.996" v="217"/>
        <pc:sldMkLst>
          <pc:docMk/>
          <pc:sldMk cId="1146841728" sldId="283"/>
        </pc:sldMkLst>
        <pc:spChg chg="mod">
          <ac:chgData name="Lena Dunham" userId="7a8e6d5e-cb96-47cf-aa9f-438249cb2abd" providerId="ADAL" clId="{F3F09206-165E-4825-9BA1-353705293EFE}" dt="2024-04-11T13:51:43.996" v="217"/>
          <ac:spMkLst>
            <pc:docMk/>
            <pc:sldMk cId="1146841728" sldId="283"/>
            <ac:spMk id="3" creationId="{85BAFA34-63A3-4C11-B6D2-D335FBC24603}"/>
          </ac:spMkLst>
        </pc:spChg>
      </pc:sldChg>
      <pc:sldChg chg="add del">
        <pc:chgData name="Lena Dunham" userId="7a8e6d5e-cb96-47cf-aa9f-438249cb2abd" providerId="ADAL" clId="{F3F09206-165E-4825-9BA1-353705293EFE}" dt="2024-04-11T13:51:43.996" v="217"/>
        <pc:sldMkLst>
          <pc:docMk/>
          <pc:sldMk cId="3890354313" sldId="293"/>
        </pc:sldMkLst>
      </pc:sldChg>
      <pc:sldChg chg="addSp delSp add del setBg delDesignElem modNotes">
        <pc:chgData name="Lena Dunham" userId="7a8e6d5e-cb96-47cf-aa9f-438249cb2abd" providerId="ADAL" clId="{F3F09206-165E-4825-9BA1-353705293EFE}" dt="2024-04-11T13:51:43.996" v="217"/>
        <pc:sldMkLst>
          <pc:docMk/>
          <pc:sldMk cId="1306867712" sldId="297"/>
        </pc:sldMkLst>
        <pc:spChg chg="add del">
          <ac:chgData name="Lena Dunham" userId="7a8e6d5e-cb96-47cf-aa9f-438249cb2abd" providerId="ADAL" clId="{F3F09206-165E-4825-9BA1-353705293EFE}" dt="2024-04-11T13:51:43.996" v="217"/>
          <ac:spMkLst>
            <pc:docMk/>
            <pc:sldMk cId="1306867712" sldId="297"/>
            <ac:spMk id="48" creationId="{7A08E557-10DB-421A-876E-1AE58F8E07C4}"/>
          </ac:spMkLst>
        </pc:spChg>
        <pc:spChg chg="add del">
          <ac:chgData name="Lena Dunham" userId="7a8e6d5e-cb96-47cf-aa9f-438249cb2abd" providerId="ADAL" clId="{F3F09206-165E-4825-9BA1-353705293EFE}" dt="2024-04-11T13:51:43.996" v="217"/>
          <ac:spMkLst>
            <pc:docMk/>
            <pc:sldMk cId="1306867712" sldId="297"/>
            <ac:spMk id="49" creationId="{ED2D0E93-2666-4683-AF99-5A07ABCF4492}"/>
          </ac:spMkLst>
        </pc:spChg>
        <pc:spChg chg="add del">
          <ac:chgData name="Lena Dunham" userId="7a8e6d5e-cb96-47cf-aa9f-438249cb2abd" providerId="ADAL" clId="{F3F09206-165E-4825-9BA1-353705293EFE}" dt="2024-04-11T13:51:43.996" v="217"/>
          <ac:spMkLst>
            <pc:docMk/>
            <pc:sldMk cId="1306867712" sldId="297"/>
            <ac:spMk id="50" creationId="{86AB017B-1DE4-4083-A7AC-D42A852419E1}"/>
          </ac:spMkLst>
        </pc:spChg>
        <pc:spChg chg="add del">
          <ac:chgData name="Lena Dunham" userId="7a8e6d5e-cb96-47cf-aa9f-438249cb2abd" providerId="ADAL" clId="{F3F09206-165E-4825-9BA1-353705293EFE}" dt="2024-04-11T13:51:43.996" v="217"/>
          <ac:spMkLst>
            <pc:docMk/>
            <pc:sldMk cId="1306867712" sldId="297"/>
            <ac:spMk id="51" creationId="{10494BB2-D29A-43CB-9DF3-0A27F0E99A39}"/>
          </ac:spMkLst>
        </pc:spChg>
      </pc:sldChg>
      <pc:sldChg chg="addSp delSp add del setBg delDesignElem modNotes">
        <pc:chgData name="Lena Dunham" userId="7a8e6d5e-cb96-47cf-aa9f-438249cb2abd" providerId="ADAL" clId="{F3F09206-165E-4825-9BA1-353705293EFE}" dt="2024-04-11T13:51:43.996" v="217"/>
        <pc:sldMkLst>
          <pc:docMk/>
          <pc:sldMk cId="1997788640" sldId="313"/>
        </pc:sldMkLst>
        <pc:spChg chg="add del">
          <ac:chgData name="Lena Dunham" userId="7a8e6d5e-cb96-47cf-aa9f-438249cb2abd" providerId="ADAL" clId="{F3F09206-165E-4825-9BA1-353705293EFE}" dt="2024-04-11T13:51:43.996" v="217"/>
          <ac:spMkLst>
            <pc:docMk/>
            <pc:sldMk cId="1997788640" sldId="313"/>
            <ac:spMk id="38" creationId="{266A3FE7-60D1-46EB-85C0-DA73D11FB884}"/>
          </ac:spMkLst>
        </pc:spChg>
        <pc:spChg chg="add del">
          <ac:chgData name="Lena Dunham" userId="7a8e6d5e-cb96-47cf-aa9f-438249cb2abd" providerId="ADAL" clId="{F3F09206-165E-4825-9BA1-353705293EFE}" dt="2024-04-11T13:51:43.996" v="217"/>
          <ac:spMkLst>
            <pc:docMk/>
            <pc:sldMk cId="1997788640" sldId="313"/>
            <ac:spMk id="39" creationId="{7C294D02-7B12-44A2-ADE7-D17811CC1683}"/>
          </ac:spMkLst>
        </pc:spChg>
        <pc:spChg chg="add del">
          <ac:chgData name="Lena Dunham" userId="7a8e6d5e-cb96-47cf-aa9f-438249cb2abd" providerId="ADAL" clId="{F3F09206-165E-4825-9BA1-353705293EFE}" dt="2024-04-11T13:51:43.996" v="217"/>
          <ac:spMkLst>
            <pc:docMk/>
            <pc:sldMk cId="1997788640" sldId="313"/>
            <ac:spMk id="40" creationId="{0F743AA9-AD4A-4C7C-A2F8-D376FD29CCBA}"/>
          </ac:spMkLst>
        </pc:spChg>
        <pc:spChg chg="add del">
          <ac:chgData name="Lena Dunham" userId="7a8e6d5e-cb96-47cf-aa9f-438249cb2abd" providerId="ADAL" clId="{F3F09206-165E-4825-9BA1-353705293EFE}" dt="2024-04-11T13:51:43.996" v="217"/>
          <ac:spMkLst>
            <pc:docMk/>
            <pc:sldMk cId="1997788640" sldId="313"/>
            <ac:spMk id="41" creationId="{AE959701-876A-4201-8EE6-E65DF338A8AC}"/>
          </ac:spMkLst>
        </pc:spChg>
      </pc:sldChg>
      <pc:sldChg chg="modSp mod">
        <pc:chgData name="Lena Dunham" userId="7a8e6d5e-cb96-47cf-aa9f-438249cb2abd" providerId="ADAL" clId="{F3F09206-165E-4825-9BA1-353705293EFE}" dt="2024-04-11T13:51:30.928" v="210" actId="20577"/>
        <pc:sldMkLst>
          <pc:docMk/>
          <pc:sldMk cId="1769625664" sldId="4220"/>
        </pc:sldMkLst>
        <pc:spChg chg="mod">
          <ac:chgData name="Lena Dunham" userId="7a8e6d5e-cb96-47cf-aa9f-438249cb2abd" providerId="ADAL" clId="{F3F09206-165E-4825-9BA1-353705293EFE}" dt="2024-04-11T13:48:14.497" v="7" actId="20577"/>
          <ac:spMkLst>
            <pc:docMk/>
            <pc:sldMk cId="1769625664" sldId="4220"/>
            <ac:spMk id="6" creationId="{00000000-0000-0000-0000-000000000000}"/>
          </ac:spMkLst>
        </pc:spChg>
        <pc:spChg chg="mod">
          <ac:chgData name="Lena Dunham" userId="7a8e6d5e-cb96-47cf-aa9f-438249cb2abd" providerId="ADAL" clId="{F3F09206-165E-4825-9BA1-353705293EFE}" dt="2024-04-11T13:49:44.391" v="182" actId="20577"/>
          <ac:spMkLst>
            <pc:docMk/>
            <pc:sldMk cId="1769625664" sldId="4220"/>
            <ac:spMk id="9" creationId="{00000000-0000-0000-0000-000000000000}"/>
          </ac:spMkLst>
        </pc:spChg>
        <pc:spChg chg="mod">
          <ac:chgData name="Lena Dunham" userId="7a8e6d5e-cb96-47cf-aa9f-438249cb2abd" providerId="ADAL" clId="{F3F09206-165E-4825-9BA1-353705293EFE}" dt="2024-04-11T13:51:30.928" v="210" actId="20577"/>
          <ac:spMkLst>
            <pc:docMk/>
            <pc:sldMk cId="1769625664" sldId="4220"/>
            <ac:spMk id="12" creationId="{36492090-DDEF-40FC-BCE6-8DC048D8E8F5}"/>
          </ac:spMkLst>
        </pc:spChg>
      </pc:sldChg>
      <pc:sldChg chg="del">
        <pc:chgData name="Lena Dunham" userId="7a8e6d5e-cb96-47cf-aa9f-438249cb2abd" providerId="ADAL" clId="{F3F09206-165E-4825-9BA1-353705293EFE}" dt="2024-04-11T13:49:50.994" v="183" actId="47"/>
        <pc:sldMkLst>
          <pc:docMk/>
          <pc:sldMk cId="1872215288" sldId="4221"/>
        </pc:sldMkLst>
      </pc:sldChg>
      <pc:sldChg chg="del">
        <pc:chgData name="Lena Dunham" userId="7a8e6d5e-cb96-47cf-aa9f-438249cb2abd" providerId="ADAL" clId="{F3F09206-165E-4825-9BA1-353705293EFE}" dt="2024-04-11T13:49:52.214" v="184" actId="47"/>
        <pc:sldMkLst>
          <pc:docMk/>
          <pc:sldMk cId="3918729670" sldId="4222"/>
        </pc:sldMkLst>
      </pc:sldChg>
    </pc:docChg>
  </pc:docChgLst>
  <pc:docChgLst>
    <pc:chgData name="Justine Allen" userId="74a19456-9297-4ccb-83db-a0ad0cec6ea4" providerId="ADAL" clId="{23CB5449-B9A6-4A2A-95BA-2C1C6BA94914}"/>
    <pc:docChg chg="custSel addSld modSld addMainMaster">
      <pc:chgData name="Justine Allen" userId="74a19456-9297-4ccb-83db-a0ad0cec6ea4" providerId="ADAL" clId="{23CB5449-B9A6-4A2A-95BA-2C1C6BA94914}" dt="2024-04-11T17:09:53.518" v="2" actId="27636"/>
      <pc:docMkLst>
        <pc:docMk/>
      </pc:docMkLst>
      <pc:sldChg chg="add modNotes">
        <pc:chgData name="Justine Allen" userId="74a19456-9297-4ccb-83db-a0ad0cec6ea4" providerId="ADAL" clId="{23CB5449-B9A6-4A2A-95BA-2C1C6BA94914}" dt="2024-04-11T17:09:53.456" v="1"/>
        <pc:sldMkLst>
          <pc:docMk/>
          <pc:sldMk cId="476897053" sldId="4221"/>
        </pc:sldMkLst>
      </pc:sldChg>
      <pc:sldChg chg="add modNotes">
        <pc:chgData name="Justine Allen" userId="74a19456-9297-4ccb-83db-a0ad0cec6ea4" providerId="ADAL" clId="{23CB5449-B9A6-4A2A-95BA-2C1C6BA94914}" dt="2024-04-11T17:09:53.456" v="1"/>
        <pc:sldMkLst>
          <pc:docMk/>
          <pc:sldMk cId="3955463388" sldId="4222"/>
        </pc:sldMkLst>
      </pc:sldChg>
      <pc:sldChg chg="add modNotes">
        <pc:chgData name="Justine Allen" userId="74a19456-9297-4ccb-83db-a0ad0cec6ea4" providerId="ADAL" clId="{23CB5449-B9A6-4A2A-95BA-2C1C6BA94914}" dt="2024-04-11T17:09:53.456" v="1"/>
        <pc:sldMkLst>
          <pc:docMk/>
          <pc:sldMk cId="4284448516" sldId="4223"/>
        </pc:sldMkLst>
      </pc:sldChg>
      <pc:sldChg chg="add">
        <pc:chgData name="Justine Allen" userId="74a19456-9297-4ccb-83db-a0ad0cec6ea4" providerId="ADAL" clId="{23CB5449-B9A6-4A2A-95BA-2C1C6BA94914}" dt="2024-04-11T17:09:53.456" v="1"/>
        <pc:sldMkLst>
          <pc:docMk/>
          <pc:sldMk cId="1124996383" sldId="4224"/>
        </pc:sldMkLst>
      </pc:sldChg>
      <pc:sldChg chg="add">
        <pc:chgData name="Justine Allen" userId="74a19456-9297-4ccb-83db-a0ad0cec6ea4" providerId="ADAL" clId="{23CB5449-B9A6-4A2A-95BA-2C1C6BA94914}" dt="2024-04-11T17:09:53.456" v="1"/>
        <pc:sldMkLst>
          <pc:docMk/>
          <pc:sldMk cId="806695628" sldId="4225"/>
        </pc:sldMkLst>
      </pc:sldChg>
      <pc:sldChg chg="add modNotes">
        <pc:chgData name="Justine Allen" userId="74a19456-9297-4ccb-83db-a0ad0cec6ea4" providerId="ADAL" clId="{23CB5449-B9A6-4A2A-95BA-2C1C6BA94914}" dt="2024-04-11T17:09:53.456" v="1"/>
        <pc:sldMkLst>
          <pc:docMk/>
          <pc:sldMk cId="380906647" sldId="4226"/>
        </pc:sldMkLst>
      </pc:sldChg>
      <pc:sldChg chg="add modNotes">
        <pc:chgData name="Justine Allen" userId="74a19456-9297-4ccb-83db-a0ad0cec6ea4" providerId="ADAL" clId="{23CB5449-B9A6-4A2A-95BA-2C1C6BA94914}" dt="2024-04-11T17:09:53.456" v="1"/>
        <pc:sldMkLst>
          <pc:docMk/>
          <pc:sldMk cId="3745719768" sldId="4227"/>
        </pc:sldMkLst>
      </pc:sldChg>
      <pc:sldChg chg="add modNotes">
        <pc:chgData name="Justine Allen" userId="74a19456-9297-4ccb-83db-a0ad0cec6ea4" providerId="ADAL" clId="{23CB5449-B9A6-4A2A-95BA-2C1C6BA94914}" dt="2024-04-11T17:09:53.456" v="1"/>
        <pc:sldMkLst>
          <pc:docMk/>
          <pc:sldMk cId="1176083013" sldId="4228"/>
        </pc:sldMkLst>
      </pc:sldChg>
      <pc:sldChg chg="add">
        <pc:chgData name="Justine Allen" userId="74a19456-9297-4ccb-83db-a0ad0cec6ea4" providerId="ADAL" clId="{23CB5449-B9A6-4A2A-95BA-2C1C6BA94914}" dt="2024-04-11T17:09:53.456" v="1"/>
        <pc:sldMkLst>
          <pc:docMk/>
          <pc:sldMk cId="583964932" sldId="4229"/>
        </pc:sldMkLst>
      </pc:sldChg>
      <pc:sldChg chg="add modNotes">
        <pc:chgData name="Justine Allen" userId="74a19456-9297-4ccb-83db-a0ad0cec6ea4" providerId="ADAL" clId="{23CB5449-B9A6-4A2A-95BA-2C1C6BA94914}" dt="2024-04-11T17:09:53.456" v="1"/>
        <pc:sldMkLst>
          <pc:docMk/>
          <pc:sldMk cId="138290639" sldId="4230"/>
        </pc:sldMkLst>
      </pc:sldChg>
      <pc:sldChg chg="modSp add mod modNotes">
        <pc:chgData name="Justine Allen" userId="74a19456-9297-4ccb-83db-a0ad0cec6ea4" providerId="ADAL" clId="{23CB5449-B9A6-4A2A-95BA-2C1C6BA94914}" dt="2024-04-11T17:09:53.518" v="2" actId="27636"/>
        <pc:sldMkLst>
          <pc:docMk/>
          <pc:sldMk cId="3573339218" sldId="4231"/>
        </pc:sldMkLst>
        <pc:spChg chg="mod">
          <ac:chgData name="Justine Allen" userId="74a19456-9297-4ccb-83db-a0ad0cec6ea4" providerId="ADAL" clId="{23CB5449-B9A6-4A2A-95BA-2C1C6BA94914}" dt="2024-04-11T17:09:53.518" v="2" actId="27636"/>
          <ac:spMkLst>
            <pc:docMk/>
            <pc:sldMk cId="3573339218" sldId="4231"/>
            <ac:spMk id="24" creationId="{4786F3F8-4063-8576-208A-CBD63A0F6B8F}"/>
          </ac:spMkLst>
        </pc:spChg>
      </pc:sldChg>
      <pc:sldChg chg="add modNotes">
        <pc:chgData name="Justine Allen" userId="74a19456-9297-4ccb-83db-a0ad0cec6ea4" providerId="ADAL" clId="{23CB5449-B9A6-4A2A-95BA-2C1C6BA94914}" dt="2024-04-11T17:09:53.456" v="1"/>
        <pc:sldMkLst>
          <pc:docMk/>
          <pc:sldMk cId="1132738951" sldId="4232"/>
        </pc:sldMkLst>
      </pc:sldChg>
      <pc:sldChg chg="add">
        <pc:chgData name="Justine Allen" userId="74a19456-9297-4ccb-83db-a0ad0cec6ea4" providerId="ADAL" clId="{23CB5449-B9A6-4A2A-95BA-2C1C6BA94914}" dt="2024-04-11T17:09:53.456" v="1"/>
        <pc:sldMkLst>
          <pc:docMk/>
          <pc:sldMk cId="3026790322" sldId="4233"/>
        </pc:sldMkLst>
      </pc:sldChg>
      <pc:sldMasterChg chg="add addSldLayout">
        <pc:chgData name="Justine Allen" userId="74a19456-9297-4ccb-83db-a0ad0cec6ea4" providerId="ADAL" clId="{23CB5449-B9A6-4A2A-95BA-2C1C6BA94914}" dt="2024-04-11T17:09:53.455" v="0" actId="27028"/>
        <pc:sldMasterMkLst>
          <pc:docMk/>
          <pc:sldMasterMk cId="3656854997" sldId="2147483980"/>
        </pc:sldMasterMkLst>
        <pc:sldLayoutChg chg="add">
          <pc:chgData name="Justine Allen" userId="74a19456-9297-4ccb-83db-a0ad0cec6ea4" providerId="ADAL" clId="{23CB5449-B9A6-4A2A-95BA-2C1C6BA94914}" dt="2024-04-11T17:09:53.455" v="0" actId="27028"/>
          <pc:sldLayoutMkLst>
            <pc:docMk/>
            <pc:sldMasterMk cId="3656854997" sldId="2147483980"/>
            <pc:sldLayoutMk cId="774193058" sldId="2147483981"/>
          </pc:sldLayoutMkLst>
        </pc:sldLayoutChg>
        <pc:sldLayoutChg chg="add">
          <pc:chgData name="Justine Allen" userId="74a19456-9297-4ccb-83db-a0ad0cec6ea4" providerId="ADAL" clId="{23CB5449-B9A6-4A2A-95BA-2C1C6BA94914}" dt="2024-04-11T17:09:53.455" v="0" actId="27028"/>
          <pc:sldLayoutMkLst>
            <pc:docMk/>
            <pc:sldMasterMk cId="3656854997" sldId="2147483980"/>
            <pc:sldLayoutMk cId="3747841960" sldId="2147483982"/>
          </pc:sldLayoutMkLst>
        </pc:sldLayoutChg>
        <pc:sldLayoutChg chg="add">
          <pc:chgData name="Justine Allen" userId="74a19456-9297-4ccb-83db-a0ad0cec6ea4" providerId="ADAL" clId="{23CB5449-B9A6-4A2A-95BA-2C1C6BA94914}" dt="2024-04-11T17:09:53.455" v="0" actId="27028"/>
          <pc:sldLayoutMkLst>
            <pc:docMk/>
            <pc:sldMasterMk cId="3656854997" sldId="2147483980"/>
            <pc:sldLayoutMk cId="3826225779" sldId="2147483983"/>
          </pc:sldLayoutMkLst>
        </pc:sldLayoutChg>
        <pc:sldLayoutChg chg="add">
          <pc:chgData name="Justine Allen" userId="74a19456-9297-4ccb-83db-a0ad0cec6ea4" providerId="ADAL" clId="{23CB5449-B9A6-4A2A-95BA-2C1C6BA94914}" dt="2024-04-11T17:09:53.455" v="0" actId="27028"/>
          <pc:sldLayoutMkLst>
            <pc:docMk/>
            <pc:sldMasterMk cId="3656854997" sldId="2147483980"/>
            <pc:sldLayoutMk cId="236691027" sldId="2147483984"/>
          </pc:sldLayoutMkLst>
        </pc:sldLayoutChg>
        <pc:sldLayoutChg chg="add">
          <pc:chgData name="Justine Allen" userId="74a19456-9297-4ccb-83db-a0ad0cec6ea4" providerId="ADAL" clId="{23CB5449-B9A6-4A2A-95BA-2C1C6BA94914}" dt="2024-04-11T17:09:53.455" v="0" actId="27028"/>
          <pc:sldLayoutMkLst>
            <pc:docMk/>
            <pc:sldMasterMk cId="3656854997" sldId="2147483980"/>
            <pc:sldLayoutMk cId="2917984245" sldId="2147483985"/>
          </pc:sldLayoutMkLst>
        </pc:sldLayoutChg>
        <pc:sldLayoutChg chg="add">
          <pc:chgData name="Justine Allen" userId="74a19456-9297-4ccb-83db-a0ad0cec6ea4" providerId="ADAL" clId="{23CB5449-B9A6-4A2A-95BA-2C1C6BA94914}" dt="2024-04-11T17:09:53.455" v="0" actId="27028"/>
          <pc:sldLayoutMkLst>
            <pc:docMk/>
            <pc:sldMasterMk cId="3656854997" sldId="2147483980"/>
            <pc:sldLayoutMk cId="3335166633" sldId="2147483986"/>
          </pc:sldLayoutMkLst>
        </pc:sldLayoutChg>
        <pc:sldLayoutChg chg="add">
          <pc:chgData name="Justine Allen" userId="74a19456-9297-4ccb-83db-a0ad0cec6ea4" providerId="ADAL" clId="{23CB5449-B9A6-4A2A-95BA-2C1C6BA94914}" dt="2024-04-11T17:09:53.455" v="0" actId="27028"/>
          <pc:sldLayoutMkLst>
            <pc:docMk/>
            <pc:sldMasterMk cId="3656854997" sldId="2147483980"/>
            <pc:sldLayoutMk cId="1458864577" sldId="2147483987"/>
          </pc:sldLayoutMkLst>
        </pc:sldLayoutChg>
        <pc:sldLayoutChg chg="add">
          <pc:chgData name="Justine Allen" userId="74a19456-9297-4ccb-83db-a0ad0cec6ea4" providerId="ADAL" clId="{23CB5449-B9A6-4A2A-95BA-2C1C6BA94914}" dt="2024-04-11T17:09:53.455" v="0" actId="27028"/>
          <pc:sldLayoutMkLst>
            <pc:docMk/>
            <pc:sldMasterMk cId="3656854997" sldId="2147483980"/>
            <pc:sldLayoutMk cId="182172595" sldId="2147483988"/>
          </pc:sldLayoutMkLst>
        </pc:sldLayoutChg>
        <pc:sldLayoutChg chg="add">
          <pc:chgData name="Justine Allen" userId="74a19456-9297-4ccb-83db-a0ad0cec6ea4" providerId="ADAL" clId="{23CB5449-B9A6-4A2A-95BA-2C1C6BA94914}" dt="2024-04-11T17:09:53.455" v="0" actId="27028"/>
          <pc:sldLayoutMkLst>
            <pc:docMk/>
            <pc:sldMasterMk cId="3656854997" sldId="2147483980"/>
            <pc:sldLayoutMk cId="3186888971" sldId="2147483989"/>
          </pc:sldLayoutMkLst>
        </pc:sldLayoutChg>
        <pc:sldLayoutChg chg="add">
          <pc:chgData name="Justine Allen" userId="74a19456-9297-4ccb-83db-a0ad0cec6ea4" providerId="ADAL" clId="{23CB5449-B9A6-4A2A-95BA-2C1C6BA94914}" dt="2024-04-11T17:09:53.455" v="0" actId="27028"/>
          <pc:sldLayoutMkLst>
            <pc:docMk/>
            <pc:sldMasterMk cId="3656854997" sldId="2147483980"/>
            <pc:sldLayoutMk cId="317369734" sldId="2147483990"/>
          </pc:sldLayoutMkLst>
        </pc:sldLayoutChg>
        <pc:sldLayoutChg chg="add">
          <pc:chgData name="Justine Allen" userId="74a19456-9297-4ccb-83db-a0ad0cec6ea4" providerId="ADAL" clId="{23CB5449-B9A6-4A2A-95BA-2C1C6BA94914}" dt="2024-04-11T17:09:53.455" v="0" actId="27028"/>
          <pc:sldLayoutMkLst>
            <pc:docMk/>
            <pc:sldMasterMk cId="3656854997" sldId="2147483980"/>
            <pc:sldLayoutMk cId="2956713692" sldId="2147483991"/>
          </pc:sldLayoutMkLst>
        </pc:sldLayoutChg>
        <pc:sldLayoutChg chg="add">
          <pc:chgData name="Justine Allen" userId="74a19456-9297-4ccb-83db-a0ad0cec6ea4" providerId="ADAL" clId="{23CB5449-B9A6-4A2A-95BA-2C1C6BA94914}" dt="2024-04-11T17:09:53.455" v="0" actId="27028"/>
          <pc:sldLayoutMkLst>
            <pc:docMk/>
            <pc:sldMasterMk cId="3656854997" sldId="2147483980"/>
            <pc:sldLayoutMk cId="319641460" sldId="2147483992"/>
          </pc:sldLayoutMkLst>
        </pc:sldLayoutChg>
        <pc:sldLayoutChg chg="add">
          <pc:chgData name="Justine Allen" userId="74a19456-9297-4ccb-83db-a0ad0cec6ea4" providerId="ADAL" clId="{23CB5449-B9A6-4A2A-95BA-2C1C6BA94914}" dt="2024-04-11T17:09:53.455" v="0" actId="27028"/>
          <pc:sldLayoutMkLst>
            <pc:docMk/>
            <pc:sldMasterMk cId="3656854997" sldId="2147483980"/>
            <pc:sldLayoutMk cId="2352974098" sldId="2147483993"/>
          </pc:sldLayoutMkLst>
        </pc:sldLayoutChg>
        <pc:sldLayoutChg chg="add">
          <pc:chgData name="Justine Allen" userId="74a19456-9297-4ccb-83db-a0ad0cec6ea4" providerId="ADAL" clId="{23CB5449-B9A6-4A2A-95BA-2C1C6BA94914}" dt="2024-04-11T17:09:53.455" v="0" actId="27028"/>
          <pc:sldLayoutMkLst>
            <pc:docMk/>
            <pc:sldMasterMk cId="3656854997" sldId="2147483980"/>
            <pc:sldLayoutMk cId="1274226977" sldId="2147483994"/>
          </pc:sldLayoutMkLst>
        </pc:sldLayoutChg>
        <pc:sldLayoutChg chg="add">
          <pc:chgData name="Justine Allen" userId="74a19456-9297-4ccb-83db-a0ad0cec6ea4" providerId="ADAL" clId="{23CB5449-B9A6-4A2A-95BA-2C1C6BA94914}" dt="2024-04-11T17:09:53.455" v="0" actId="27028"/>
          <pc:sldLayoutMkLst>
            <pc:docMk/>
            <pc:sldMasterMk cId="3656854997" sldId="2147483980"/>
            <pc:sldLayoutMk cId="3395504270" sldId="2147484011"/>
          </pc:sldLayoutMkLst>
        </pc:sldLayoutChg>
        <pc:sldLayoutChg chg="add">
          <pc:chgData name="Justine Allen" userId="74a19456-9297-4ccb-83db-a0ad0cec6ea4" providerId="ADAL" clId="{23CB5449-B9A6-4A2A-95BA-2C1C6BA94914}" dt="2024-04-11T17:09:53.455" v="0" actId="27028"/>
          <pc:sldLayoutMkLst>
            <pc:docMk/>
            <pc:sldMasterMk cId="3656854997" sldId="2147483980"/>
            <pc:sldLayoutMk cId="1602413058" sldId="2147484012"/>
          </pc:sldLayoutMkLst>
        </pc:sldLayoutChg>
      </pc:sldMasterChg>
    </pc:docChg>
  </pc:docChgLst>
  <pc:docChgLst>
    <pc:chgData name="Lena Dunham" userId="7a8e6d5e-cb96-47cf-aa9f-438249cb2abd" providerId="ADAL" clId="{C660BEC5-CD54-4AC4-A3BB-5520642CA1A0}"/>
    <pc:docChg chg="custSel modSld">
      <pc:chgData name="Lena Dunham" userId="7a8e6d5e-cb96-47cf-aa9f-438249cb2abd" providerId="ADAL" clId="{C660BEC5-CD54-4AC4-A3BB-5520642CA1A0}" dt="2023-12-12T15:06:27.494" v="160" actId="20577"/>
      <pc:docMkLst>
        <pc:docMk/>
      </pc:docMkLst>
      <pc:sldChg chg="modSp mod">
        <pc:chgData name="Lena Dunham" userId="7a8e6d5e-cb96-47cf-aa9f-438249cb2abd" providerId="ADAL" clId="{C660BEC5-CD54-4AC4-A3BB-5520642CA1A0}" dt="2023-12-12T15:06:27.494" v="160" actId="20577"/>
        <pc:sldMkLst>
          <pc:docMk/>
          <pc:sldMk cId="1769625664" sldId="4220"/>
        </pc:sldMkLst>
        <pc:spChg chg="mod">
          <ac:chgData name="Lena Dunham" userId="7a8e6d5e-cb96-47cf-aa9f-438249cb2abd" providerId="ADAL" clId="{C660BEC5-CD54-4AC4-A3BB-5520642CA1A0}" dt="2023-12-12T15:04:53.067" v="10" actId="20577"/>
          <ac:spMkLst>
            <pc:docMk/>
            <pc:sldMk cId="1769625664" sldId="4220"/>
            <ac:spMk id="6" creationId="{00000000-0000-0000-0000-000000000000}"/>
          </ac:spMkLst>
        </pc:spChg>
        <pc:spChg chg="mod">
          <ac:chgData name="Lena Dunham" userId="7a8e6d5e-cb96-47cf-aa9f-438249cb2abd" providerId="ADAL" clId="{C660BEC5-CD54-4AC4-A3BB-5520642CA1A0}" dt="2023-12-12T15:06:27.494" v="160" actId="20577"/>
          <ac:spMkLst>
            <pc:docMk/>
            <pc:sldMk cId="1769625664" sldId="4220"/>
            <ac:spMk id="9" creationId="{00000000-0000-0000-0000-000000000000}"/>
          </ac:spMkLst>
        </pc:spChg>
        <pc:spChg chg="mod">
          <ac:chgData name="Lena Dunham" userId="7a8e6d5e-cb96-47cf-aa9f-438249cb2abd" providerId="ADAL" clId="{C660BEC5-CD54-4AC4-A3BB-5520642CA1A0}" dt="2023-12-12T15:05:50.274" v="146" actId="20577"/>
          <ac:spMkLst>
            <pc:docMk/>
            <pc:sldMk cId="1769625664" sldId="4220"/>
            <ac:spMk id="12" creationId="{36492090-DDEF-40FC-BCE6-8DC048D8E8F5}"/>
          </ac:spMkLst>
        </pc:spChg>
      </pc:sldChg>
    </pc:docChg>
  </pc:docChgLst>
  <pc:docChgLst>
    <pc:chgData name="Justine Allen" userId="74a19456-9297-4ccb-83db-a0ad0cec6ea4" providerId="ADAL" clId="{2AAD0C90-FC3D-49F6-B340-130A526F4937}"/>
    <pc:docChg chg="undo custSel addSld delSld modSld addMainMaster delMainMaster">
      <pc:chgData name="Justine Allen" userId="74a19456-9297-4ccb-83db-a0ad0cec6ea4" providerId="ADAL" clId="{2AAD0C90-FC3D-49F6-B340-130A526F4937}" dt="2024-01-11T22:13:34.583" v="12" actId="27636"/>
      <pc:docMkLst>
        <pc:docMk/>
      </pc:docMkLst>
      <pc:sldChg chg="add del">
        <pc:chgData name="Justine Allen" userId="74a19456-9297-4ccb-83db-a0ad0cec6ea4" providerId="ADAL" clId="{2AAD0C90-FC3D-49F6-B340-130A526F4937}" dt="2024-01-11T22:13:34.462" v="10"/>
        <pc:sldMkLst>
          <pc:docMk/>
          <pc:sldMk cId="3866095581" sldId="4221"/>
        </pc:sldMkLst>
      </pc:sldChg>
      <pc:sldChg chg="add del">
        <pc:chgData name="Justine Allen" userId="74a19456-9297-4ccb-83db-a0ad0cec6ea4" providerId="ADAL" clId="{2AAD0C90-FC3D-49F6-B340-130A526F4937}" dt="2024-01-11T22:13:34.462" v="10"/>
        <pc:sldMkLst>
          <pc:docMk/>
          <pc:sldMk cId="1600830773" sldId="4222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726697141" sldId="4223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19853871" sldId="4224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1965677880" sldId="4225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3484176933" sldId="4226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311624893" sldId="4227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1923972843" sldId="4228"/>
        </pc:sldMkLst>
      </pc:sldChg>
      <pc:sldChg chg="modSp add mod">
        <pc:chgData name="Justine Allen" userId="74a19456-9297-4ccb-83db-a0ad0cec6ea4" providerId="ADAL" clId="{2AAD0C90-FC3D-49F6-B340-130A526F4937}" dt="2024-01-11T22:13:34.559" v="11" actId="27636"/>
        <pc:sldMkLst>
          <pc:docMk/>
          <pc:sldMk cId="3239904474" sldId="4229"/>
        </pc:sldMkLst>
        <pc:spChg chg="mod">
          <ac:chgData name="Justine Allen" userId="74a19456-9297-4ccb-83db-a0ad0cec6ea4" providerId="ADAL" clId="{2AAD0C90-FC3D-49F6-B340-130A526F4937}" dt="2024-01-11T22:13:34.559" v="11" actId="27636"/>
          <ac:spMkLst>
            <pc:docMk/>
            <pc:sldMk cId="3239904474" sldId="4229"/>
            <ac:spMk id="5" creationId="{08878BCD-688D-249C-1883-CA2DB502EF61}"/>
          </ac:spMkLst>
        </pc:spChg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367146197" sldId="4230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2775932387" sldId="4231"/>
        </pc:sldMkLst>
      </pc:sldChg>
      <pc:sldChg chg="add modNotes">
        <pc:chgData name="Justine Allen" userId="74a19456-9297-4ccb-83db-a0ad0cec6ea4" providerId="ADAL" clId="{2AAD0C90-FC3D-49F6-B340-130A526F4937}" dt="2024-01-11T22:13:34.462" v="10"/>
        <pc:sldMkLst>
          <pc:docMk/>
          <pc:sldMk cId="3563848057" sldId="4232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1193202797" sldId="4233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3039780012" sldId="4234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456196114" sldId="4235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1060894498" sldId="4236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1717339720" sldId="4237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787047079" sldId="4238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4060638716" sldId="4239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4187602665" sldId="4240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3262282621" sldId="4241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3806065037" sldId="4242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3142360472" sldId="4243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1780365158" sldId="4244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3759736138" sldId="4245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455275591" sldId="4246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1748378733" sldId="4247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1842277837" sldId="4248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40132413" sldId="4249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3798544814" sldId="4250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1344209951" sldId="4251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2733197088" sldId="4252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3424748658" sldId="4253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2979273197" sldId="4254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2476028308" sldId="4255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2505281419" sldId="4256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1597968246" sldId="4257"/>
        </pc:sldMkLst>
      </pc:sldChg>
      <pc:sldChg chg="add modNotes">
        <pc:chgData name="Justine Allen" userId="74a19456-9297-4ccb-83db-a0ad0cec6ea4" providerId="ADAL" clId="{2AAD0C90-FC3D-49F6-B340-130A526F4937}" dt="2024-01-11T22:13:34.462" v="10"/>
        <pc:sldMkLst>
          <pc:docMk/>
          <pc:sldMk cId="3043080043" sldId="4258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3301490626" sldId="4259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1512458826" sldId="4260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2817630871" sldId="4261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3720158061" sldId="4262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1120782326" sldId="4263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198859485" sldId="4264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3827684134" sldId="4265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2966483258" sldId="4266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1374951095" sldId="4267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520824307" sldId="4268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94525795" sldId="4269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1262192021" sldId="4270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302320606" sldId="4271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4079807514" sldId="4272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1332059713" sldId="4273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3708263826" sldId="4274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2666303691" sldId="4275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2721061585" sldId="4276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3716491544" sldId="4277"/>
        </pc:sldMkLst>
      </pc:sldChg>
      <pc:sldChg chg="modSp add mod">
        <pc:chgData name="Justine Allen" userId="74a19456-9297-4ccb-83db-a0ad0cec6ea4" providerId="ADAL" clId="{2AAD0C90-FC3D-49F6-B340-130A526F4937}" dt="2024-01-11T22:13:34.583" v="12" actId="27636"/>
        <pc:sldMkLst>
          <pc:docMk/>
          <pc:sldMk cId="306715214" sldId="4278"/>
        </pc:sldMkLst>
        <pc:spChg chg="mod">
          <ac:chgData name="Justine Allen" userId="74a19456-9297-4ccb-83db-a0ad0cec6ea4" providerId="ADAL" clId="{2AAD0C90-FC3D-49F6-B340-130A526F4937}" dt="2024-01-11T22:13:34.583" v="12" actId="27636"/>
          <ac:spMkLst>
            <pc:docMk/>
            <pc:sldMk cId="306715214" sldId="4278"/>
            <ac:spMk id="3" creationId="{8C7A5208-ECC7-ABBD-338D-67099A4F62DB}"/>
          </ac:spMkLst>
        </pc:spChg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2523244440" sldId="4279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1037783027" sldId="4280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864205231" sldId="4281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1391532828" sldId="4282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1962453186" sldId="4283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1112952706" sldId="4284"/>
        </pc:sldMkLst>
      </pc:sldChg>
      <pc:sldChg chg="add">
        <pc:chgData name="Justine Allen" userId="74a19456-9297-4ccb-83db-a0ad0cec6ea4" providerId="ADAL" clId="{2AAD0C90-FC3D-49F6-B340-130A526F4937}" dt="2024-01-11T22:13:34.462" v="10"/>
        <pc:sldMkLst>
          <pc:docMk/>
          <pc:sldMk cId="269026150" sldId="4285"/>
        </pc:sldMkLst>
      </pc:sldChg>
      <pc:sldMasterChg chg="add del addSldLayout delSldLayout">
        <pc:chgData name="Justine Allen" userId="74a19456-9297-4ccb-83db-a0ad0cec6ea4" providerId="ADAL" clId="{2AAD0C90-FC3D-49F6-B340-130A526F4937}" dt="2024-01-11T22:13:34.462" v="9" actId="27028"/>
        <pc:sldMasterMkLst>
          <pc:docMk/>
          <pc:sldMasterMk cId="2109947927" sldId="2147483648"/>
        </pc:sldMasterMkLst>
        <pc:sldLayoutChg chg="add del">
          <pc:chgData name="Justine Allen" userId="74a19456-9297-4ccb-83db-a0ad0cec6ea4" providerId="ADAL" clId="{2AAD0C90-FC3D-49F6-B340-130A526F4937}" dt="2024-01-11T22:13:34.462" v="9" actId="27028"/>
          <pc:sldLayoutMkLst>
            <pc:docMk/>
            <pc:sldMasterMk cId="2109947927" sldId="2147483648"/>
            <pc:sldLayoutMk cId="3794030590" sldId="2147483649"/>
          </pc:sldLayoutMkLst>
        </pc:sldLayoutChg>
        <pc:sldLayoutChg chg="add del">
          <pc:chgData name="Justine Allen" userId="74a19456-9297-4ccb-83db-a0ad0cec6ea4" providerId="ADAL" clId="{2AAD0C90-FC3D-49F6-B340-130A526F4937}" dt="2024-01-11T22:13:34.462" v="9" actId="27028"/>
          <pc:sldLayoutMkLst>
            <pc:docMk/>
            <pc:sldMasterMk cId="2109947927" sldId="2147483648"/>
            <pc:sldLayoutMk cId="3938914057" sldId="2147483650"/>
          </pc:sldLayoutMkLst>
        </pc:sldLayoutChg>
        <pc:sldLayoutChg chg="add">
          <pc:chgData name="Justine Allen" userId="74a19456-9297-4ccb-83db-a0ad0cec6ea4" providerId="ADAL" clId="{2AAD0C90-FC3D-49F6-B340-130A526F4937}" dt="2024-01-11T22:13:34.462" v="9" actId="27028"/>
          <pc:sldLayoutMkLst>
            <pc:docMk/>
            <pc:sldMasterMk cId="2109947927" sldId="2147483648"/>
            <pc:sldLayoutMk cId="2837323496" sldId="2147483651"/>
          </pc:sldLayoutMkLst>
        </pc:sldLayoutChg>
        <pc:sldLayoutChg chg="add">
          <pc:chgData name="Justine Allen" userId="74a19456-9297-4ccb-83db-a0ad0cec6ea4" providerId="ADAL" clId="{2AAD0C90-FC3D-49F6-B340-130A526F4937}" dt="2024-01-11T22:13:34.462" v="9" actId="27028"/>
          <pc:sldLayoutMkLst>
            <pc:docMk/>
            <pc:sldMasterMk cId="2109947927" sldId="2147483648"/>
            <pc:sldLayoutMk cId="4124255931" sldId="2147483652"/>
          </pc:sldLayoutMkLst>
        </pc:sldLayoutChg>
        <pc:sldLayoutChg chg="add">
          <pc:chgData name="Justine Allen" userId="74a19456-9297-4ccb-83db-a0ad0cec6ea4" providerId="ADAL" clId="{2AAD0C90-FC3D-49F6-B340-130A526F4937}" dt="2024-01-11T22:13:34.462" v="9" actId="27028"/>
          <pc:sldLayoutMkLst>
            <pc:docMk/>
            <pc:sldMasterMk cId="2109947927" sldId="2147483648"/>
            <pc:sldLayoutMk cId="3467482967" sldId="2147483653"/>
          </pc:sldLayoutMkLst>
        </pc:sldLayoutChg>
        <pc:sldLayoutChg chg="add">
          <pc:chgData name="Justine Allen" userId="74a19456-9297-4ccb-83db-a0ad0cec6ea4" providerId="ADAL" clId="{2AAD0C90-FC3D-49F6-B340-130A526F4937}" dt="2024-01-11T22:13:34.462" v="9" actId="27028"/>
          <pc:sldLayoutMkLst>
            <pc:docMk/>
            <pc:sldMasterMk cId="2109947927" sldId="2147483648"/>
            <pc:sldLayoutMk cId="3920416657" sldId="2147483654"/>
          </pc:sldLayoutMkLst>
        </pc:sldLayoutChg>
        <pc:sldLayoutChg chg="add">
          <pc:chgData name="Justine Allen" userId="74a19456-9297-4ccb-83db-a0ad0cec6ea4" providerId="ADAL" clId="{2AAD0C90-FC3D-49F6-B340-130A526F4937}" dt="2024-01-11T22:13:34.462" v="9" actId="27028"/>
          <pc:sldLayoutMkLst>
            <pc:docMk/>
            <pc:sldMasterMk cId="2109947927" sldId="2147483648"/>
            <pc:sldLayoutMk cId="551721959" sldId="2147483655"/>
          </pc:sldLayoutMkLst>
        </pc:sldLayoutChg>
        <pc:sldLayoutChg chg="add">
          <pc:chgData name="Justine Allen" userId="74a19456-9297-4ccb-83db-a0ad0cec6ea4" providerId="ADAL" clId="{2AAD0C90-FC3D-49F6-B340-130A526F4937}" dt="2024-01-11T22:13:34.462" v="9" actId="27028"/>
          <pc:sldLayoutMkLst>
            <pc:docMk/>
            <pc:sldMasterMk cId="2109947927" sldId="2147483648"/>
            <pc:sldLayoutMk cId="2546627886" sldId="2147483656"/>
          </pc:sldLayoutMkLst>
        </pc:sldLayoutChg>
        <pc:sldLayoutChg chg="add">
          <pc:chgData name="Justine Allen" userId="74a19456-9297-4ccb-83db-a0ad0cec6ea4" providerId="ADAL" clId="{2AAD0C90-FC3D-49F6-B340-130A526F4937}" dt="2024-01-11T22:13:34.462" v="9" actId="27028"/>
          <pc:sldLayoutMkLst>
            <pc:docMk/>
            <pc:sldMasterMk cId="2109947927" sldId="2147483648"/>
            <pc:sldLayoutMk cId="3929090260" sldId="2147483657"/>
          </pc:sldLayoutMkLst>
        </pc:sldLayoutChg>
        <pc:sldLayoutChg chg="add">
          <pc:chgData name="Justine Allen" userId="74a19456-9297-4ccb-83db-a0ad0cec6ea4" providerId="ADAL" clId="{2AAD0C90-FC3D-49F6-B340-130A526F4937}" dt="2024-01-11T22:13:34.462" v="9" actId="27028"/>
          <pc:sldLayoutMkLst>
            <pc:docMk/>
            <pc:sldMasterMk cId="2109947927" sldId="2147483648"/>
            <pc:sldLayoutMk cId="677934258" sldId="2147483658"/>
          </pc:sldLayoutMkLst>
        </pc:sldLayoutChg>
        <pc:sldLayoutChg chg="add">
          <pc:chgData name="Justine Allen" userId="74a19456-9297-4ccb-83db-a0ad0cec6ea4" providerId="ADAL" clId="{2AAD0C90-FC3D-49F6-B340-130A526F4937}" dt="2024-01-11T22:13:34.462" v="9" actId="27028"/>
          <pc:sldLayoutMkLst>
            <pc:docMk/>
            <pc:sldMasterMk cId="2109947927" sldId="2147483648"/>
            <pc:sldLayoutMk cId="1412637199" sldId="2147483659"/>
          </pc:sldLayoutMkLst>
        </pc:sldLayoutChg>
      </pc:sldMasterChg>
    </pc:docChg>
  </pc:docChgLst>
  <pc:docChgLst>
    <pc:chgData name="Justine Allen" userId="74a19456-9297-4ccb-83db-a0ad0cec6ea4" providerId="ADAL" clId="{1E8FE075-6A8D-466A-9967-E552B414D324}"/>
    <pc:docChg chg="custSel addSld delSld modSld addMainMaster delMainMaster modMainMaster">
      <pc:chgData name="Justine Allen" userId="74a19456-9297-4ccb-83db-a0ad0cec6ea4" providerId="ADAL" clId="{1E8FE075-6A8D-466A-9967-E552B414D324}" dt="2023-08-10T19:57:16.671" v="112"/>
      <pc:docMkLst>
        <pc:docMk/>
      </pc:docMkLst>
      <pc:sldChg chg="del">
        <pc:chgData name="Justine Allen" userId="74a19456-9297-4ccb-83db-a0ad0cec6ea4" providerId="ADAL" clId="{1E8FE075-6A8D-466A-9967-E552B414D324}" dt="2023-08-10T15:16:33.778" v="104" actId="47"/>
        <pc:sldMkLst>
          <pc:docMk/>
          <pc:sldMk cId="429890097" sldId="256"/>
        </pc:sldMkLst>
      </pc:sldChg>
      <pc:sldChg chg="del">
        <pc:chgData name="Justine Allen" userId="74a19456-9297-4ccb-83db-a0ad0cec6ea4" providerId="ADAL" clId="{1E8FE075-6A8D-466A-9967-E552B414D324}" dt="2023-08-10T15:16:33.778" v="104" actId="47"/>
        <pc:sldMkLst>
          <pc:docMk/>
          <pc:sldMk cId="3566271896" sldId="257"/>
        </pc:sldMkLst>
      </pc:sldChg>
      <pc:sldChg chg="del">
        <pc:chgData name="Justine Allen" userId="74a19456-9297-4ccb-83db-a0ad0cec6ea4" providerId="ADAL" clId="{1E8FE075-6A8D-466A-9967-E552B414D324}" dt="2023-08-10T15:16:33.778" v="104" actId="47"/>
        <pc:sldMkLst>
          <pc:docMk/>
          <pc:sldMk cId="13504984" sldId="258"/>
        </pc:sldMkLst>
      </pc:sldChg>
      <pc:sldChg chg="modSp mod">
        <pc:chgData name="Justine Allen" userId="74a19456-9297-4ccb-83db-a0ad0cec6ea4" providerId="ADAL" clId="{1E8FE075-6A8D-466A-9967-E552B414D324}" dt="2023-08-10T15:16:24.300" v="103" actId="20577"/>
        <pc:sldMkLst>
          <pc:docMk/>
          <pc:sldMk cId="1769625664" sldId="4220"/>
        </pc:sldMkLst>
        <pc:spChg chg="mod">
          <ac:chgData name="Justine Allen" userId="74a19456-9297-4ccb-83db-a0ad0cec6ea4" providerId="ADAL" clId="{1E8FE075-6A8D-466A-9967-E552B414D324}" dt="2023-08-10T15:12:28.838" v="15" actId="20577"/>
          <ac:spMkLst>
            <pc:docMk/>
            <pc:sldMk cId="1769625664" sldId="4220"/>
            <ac:spMk id="6" creationId="{00000000-0000-0000-0000-000000000000}"/>
          </ac:spMkLst>
        </pc:spChg>
        <pc:spChg chg="mod">
          <ac:chgData name="Justine Allen" userId="74a19456-9297-4ccb-83db-a0ad0cec6ea4" providerId="ADAL" clId="{1E8FE075-6A8D-466A-9967-E552B414D324}" dt="2023-08-10T15:12:48.444" v="36" actId="20577"/>
          <ac:spMkLst>
            <pc:docMk/>
            <pc:sldMk cId="1769625664" sldId="4220"/>
            <ac:spMk id="9" creationId="{00000000-0000-0000-0000-000000000000}"/>
          </ac:spMkLst>
        </pc:spChg>
        <pc:spChg chg="mod">
          <ac:chgData name="Justine Allen" userId="74a19456-9297-4ccb-83db-a0ad0cec6ea4" providerId="ADAL" clId="{1E8FE075-6A8D-466A-9967-E552B414D324}" dt="2023-08-10T15:16:24.300" v="103" actId="20577"/>
          <ac:spMkLst>
            <pc:docMk/>
            <pc:sldMk cId="1769625664" sldId="4220"/>
            <ac:spMk id="12" creationId="{36492090-DDEF-40FC-BCE6-8DC048D8E8F5}"/>
          </ac:spMkLst>
        </pc:spChg>
      </pc:sldChg>
      <pc:sldChg chg="add">
        <pc:chgData name="Justine Allen" userId="74a19456-9297-4ccb-83db-a0ad0cec6ea4" providerId="ADAL" clId="{1E8FE075-6A8D-466A-9967-E552B414D324}" dt="2023-08-10T15:16:54.371" v="106"/>
        <pc:sldMkLst>
          <pc:docMk/>
          <pc:sldMk cId="1225626674" sldId="4221"/>
        </pc:sldMkLst>
      </pc:sldChg>
      <pc:sldChg chg="modSp add mod">
        <pc:chgData name="Justine Allen" userId="74a19456-9297-4ccb-83db-a0ad0cec6ea4" providerId="ADAL" clId="{1E8FE075-6A8D-466A-9967-E552B414D324}" dt="2023-08-10T15:16:54.497" v="107" actId="27636"/>
        <pc:sldMkLst>
          <pc:docMk/>
          <pc:sldMk cId="169899331" sldId="4222"/>
        </pc:sldMkLst>
        <pc:spChg chg="mod">
          <ac:chgData name="Justine Allen" userId="74a19456-9297-4ccb-83db-a0ad0cec6ea4" providerId="ADAL" clId="{1E8FE075-6A8D-466A-9967-E552B414D324}" dt="2023-08-10T15:16:54.497" v="107" actId="27636"/>
          <ac:spMkLst>
            <pc:docMk/>
            <pc:sldMk cId="169899331" sldId="4222"/>
            <ac:spMk id="3" creationId="{440F4AB0-4A95-0994-FDE3-2ECF84A22B68}"/>
          </ac:spMkLst>
        </pc:spChg>
      </pc:sldChg>
      <pc:sldChg chg="modSp add mod modNotes">
        <pc:chgData name="Justine Allen" userId="74a19456-9297-4ccb-83db-a0ad0cec6ea4" providerId="ADAL" clId="{1E8FE075-6A8D-466A-9967-E552B414D324}" dt="2023-08-10T19:57:01.700" v="109" actId="1076"/>
        <pc:sldMkLst>
          <pc:docMk/>
          <pc:sldMk cId="3388365177" sldId="4223"/>
        </pc:sldMkLst>
        <pc:graphicFrameChg chg="mod">
          <ac:chgData name="Justine Allen" userId="74a19456-9297-4ccb-83db-a0ad0cec6ea4" providerId="ADAL" clId="{1E8FE075-6A8D-466A-9967-E552B414D324}" dt="2023-08-10T19:57:01.700" v="109" actId="1076"/>
          <ac:graphicFrameMkLst>
            <pc:docMk/>
            <pc:sldMk cId="3388365177" sldId="4223"/>
            <ac:graphicFrameMk id="7" creationId="{DC8B9CC5-3389-7A7C-FBC0-342762451C5A}"/>
          </ac:graphicFrameMkLst>
        </pc:graphicFrameChg>
      </pc:sldChg>
      <pc:sldChg chg="modSp add mod">
        <pc:chgData name="Justine Allen" userId="74a19456-9297-4ccb-83db-a0ad0cec6ea4" providerId="ADAL" clId="{1E8FE075-6A8D-466A-9967-E552B414D324}" dt="2023-08-10T15:16:54.513" v="108" actId="27636"/>
        <pc:sldMkLst>
          <pc:docMk/>
          <pc:sldMk cId="1115449198" sldId="4224"/>
        </pc:sldMkLst>
        <pc:spChg chg="mod">
          <ac:chgData name="Justine Allen" userId="74a19456-9297-4ccb-83db-a0ad0cec6ea4" providerId="ADAL" clId="{1E8FE075-6A8D-466A-9967-E552B414D324}" dt="2023-08-10T15:16:54.513" v="108" actId="27636"/>
          <ac:spMkLst>
            <pc:docMk/>
            <pc:sldMk cId="1115449198" sldId="4224"/>
            <ac:spMk id="4" creationId="{21B686E1-C01F-EEF5-1A0C-3FFE6C6AE305}"/>
          </ac:spMkLst>
        </pc:spChg>
      </pc:sldChg>
      <pc:sldChg chg="add">
        <pc:chgData name="Justine Allen" userId="74a19456-9297-4ccb-83db-a0ad0cec6ea4" providerId="ADAL" clId="{1E8FE075-6A8D-466A-9967-E552B414D324}" dt="2023-08-10T15:16:54.371" v="106"/>
        <pc:sldMkLst>
          <pc:docMk/>
          <pc:sldMk cId="2448454190" sldId="4225"/>
        </pc:sldMkLst>
      </pc:sldChg>
      <pc:sldChg chg="modSp add">
        <pc:chgData name="Justine Allen" userId="74a19456-9297-4ccb-83db-a0ad0cec6ea4" providerId="ADAL" clId="{1E8FE075-6A8D-466A-9967-E552B414D324}" dt="2023-08-10T19:57:16.671" v="112"/>
        <pc:sldMkLst>
          <pc:docMk/>
          <pc:sldMk cId="2220043904" sldId="4226"/>
        </pc:sldMkLst>
        <pc:graphicFrameChg chg="mod">
          <ac:chgData name="Justine Allen" userId="74a19456-9297-4ccb-83db-a0ad0cec6ea4" providerId="ADAL" clId="{1E8FE075-6A8D-466A-9967-E552B414D324}" dt="2023-08-10T19:57:16.671" v="112"/>
          <ac:graphicFrameMkLst>
            <pc:docMk/>
            <pc:sldMk cId="2220043904" sldId="4226"/>
            <ac:graphicFrameMk id="4" creationId="{6657D150-B512-C0D2-984B-2C73227D138E}"/>
          </ac:graphicFrameMkLst>
        </pc:graphicFrameChg>
      </pc:sldChg>
      <pc:sldChg chg="add">
        <pc:chgData name="Justine Allen" userId="74a19456-9297-4ccb-83db-a0ad0cec6ea4" providerId="ADAL" clId="{1E8FE075-6A8D-466A-9967-E552B414D324}" dt="2023-08-10T15:16:54.371" v="106"/>
        <pc:sldMkLst>
          <pc:docMk/>
          <pc:sldMk cId="2317428002" sldId="4227"/>
        </pc:sldMkLst>
      </pc:sldChg>
      <pc:sldChg chg="add">
        <pc:chgData name="Justine Allen" userId="74a19456-9297-4ccb-83db-a0ad0cec6ea4" providerId="ADAL" clId="{1E8FE075-6A8D-466A-9967-E552B414D324}" dt="2023-08-10T15:16:54.371" v="106"/>
        <pc:sldMkLst>
          <pc:docMk/>
          <pc:sldMk cId="3338306468" sldId="4228"/>
        </pc:sldMkLst>
      </pc:sldChg>
      <pc:sldChg chg="add">
        <pc:chgData name="Justine Allen" userId="74a19456-9297-4ccb-83db-a0ad0cec6ea4" providerId="ADAL" clId="{1E8FE075-6A8D-466A-9967-E552B414D324}" dt="2023-08-10T15:16:54.371" v="106"/>
        <pc:sldMkLst>
          <pc:docMk/>
          <pc:sldMk cId="3414692549" sldId="4229"/>
        </pc:sldMkLst>
      </pc:sldChg>
      <pc:sldMasterChg chg="add addSldLayout">
        <pc:chgData name="Justine Allen" userId="74a19456-9297-4ccb-83db-a0ad0cec6ea4" providerId="ADAL" clId="{1E8FE075-6A8D-466A-9967-E552B414D324}" dt="2023-08-10T15:16:54.371" v="105" actId="27028"/>
        <pc:sldMasterMkLst>
          <pc:docMk/>
          <pc:sldMasterMk cId="1960528771" sldId="2147483648"/>
        </pc:sldMasterMkLst>
        <pc:sldLayoutChg chg="add">
          <pc:chgData name="Justine Allen" userId="74a19456-9297-4ccb-83db-a0ad0cec6ea4" providerId="ADAL" clId="{1E8FE075-6A8D-466A-9967-E552B414D324}" dt="2023-08-10T15:16:54.371" v="105" actId="27028"/>
          <pc:sldLayoutMkLst>
            <pc:docMk/>
            <pc:sldMasterMk cId="1960528771" sldId="2147483648"/>
            <pc:sldLayoutMk cId="3935002823" sldId="2147483649"/>
          </pc:sldLayoutMkLst>
        </pc:sldLayoutChg>
        <pc:sldLayoutChg chg="add">
          <pc:chgData name="Justine Allen" userId="74a19456-9297-4ccb-83db-a0ad0cec6ea4" providerId="ADAL" clId="{1E8FE075-6A8D-466A-9967-E552B414D324}" dt="2023-08-10T15:16:54.371" v="105" actId="27028"/>
          <pc:sldLayoutMkLst>
            <pc:docMk/>
            <pc:sldMasterMk cId="1960528771" sldId="2147483648"/>
            <pc:sldLayoutMk cId="3072872164" sldId="2147483650"/>
          </pc:sldLayoutMkLst>
        </pc:sldLayoutChg>
        <pc:sldLayoutChg chg="add">
          <pc:chgData name="Justine Allen" userId="74a19456-9297-4ccb-83db-a0ad0cec6ea4" providerId="ADAL" clId="{1E8FE075-6A8D-466A-9967-E552B414D324}" dt="2023-08-10T15:16:54.371" v="105" actId="27028"/>
          <pc:sldLayoutMkLst>
            <pc:docMk/>
            <pc:sldMasterMk cId="1960528771" sldId="2147483648"/>
            <pc:sldLayoutMk cId="6381941" sldId="2147483651"/>
          </pc:sldLayoutMkLst>
        </pc:sldLayoutChg>
        <pc:sldLayoutChg chg="add">
          <pc:chgData name="Justine Allen" userId="74a19456-9297-4ccb-83db-a0ad0cec6ea4" providerId="ADAL" clId="{1E8FE075-6A8D-466A-9967-E552B414D324}" dt="2023-08-10T15:16:54.371" v="105" actId="27028"/>
          <pc:sldLayoutMkLst>
            <pc:docMk/>
            <pc:sldMasterMk cId="1960528771" sldId="2147483648"/>
            <pc:sldLayoutMk cId="200122681" sldId="2147483652"/>
          </pc:sldLayoutMkLst>
        </pc:sldLayoutChg>
        <pc:sldLayoutChg chg="add">
          <pc:chgData name="Justine Allen" userId="74a19456-9297-4ccb-83db-a0ad0cec6ea4" providerId="ADAL" clId="{1E8FE075-6A8D-466A-9967-E552B414D324}" dt="2023-08-10T15:16:54.371" v="105" actId="27028"/>
          <pc:sldLayoutMkLst>
            <pc:docMk/>
            <pc:sldMasterMk cId="1960528771" sldId="2147483648"/>
            <pc:sldLayoutMk cId="3321738909" sldId="2147483653"/>
          </pc:sldLayoutMkLst>
        </pc:sldLayoutChg>
        <pc:sldLayoutChg chg="add">
          <pc:chgData name="Justine Allen" userId="74a19456-9297-4ccb-83db-a0ad0cec6ea4" providerId="ADAL" clId="{1E8FE075-6A8D-466A-9967-E552B414D324}" dt="2023-08-10T15:16:54.371" v="105" actId="27028"/>
          <pc:sldLayoutMkLst>
            <pc:docMk/>
            <pc:sldMasterMk cId="1960528771" sldId="2147483648"/>
            <pc:sldLayoutMk cId="1198814742" sldId="2147483654"/>
          </pc:sldLayoutMkLst>
        </pc:sldLayoutChg>
        <pc:sldLayoutChg chg="add">
          <pc:chgData name="Justine Allen" userId="74a19456-9297-4ccb-83db-a0ad0cec6ea4" providerId="ADAL" clId="{1E8FE075-6A8D-466A-9967-E552B414D324}" dt="2023-08-10T15:16:54.371" v="105" actId="27028"/>
          <pc:sldLayoutMkLst>
            <pc:docMk/>
            <pc:sldMasterMk cId="1960528771" sldId="2147483648"/>
            <pc:sldLayoutMk cId="2970753844" sldId="2147483655"/>
          </pc:sldLayoutMkLst>
        </pc:sldLayoutChg>
        <pc:sldLayoutChg chg="add">
          <pc:chgData name="Justine Allen" userId="74a19456-9297-4ccb-83db-a0ad0cec6ea4" providerId="ADAL" clId="{1E8FE075-6A8D-466A-9967-E552B414D324}" dt="2023-08-10T15:16:54.371" v="105" actId="27028"/>
          <pc:sldLayoutMkLst>
            <pc:docMk/>
            <pc:sldMasterMk cId="1960528771" sldId="2147483648"/>
            <pc:sldLayoutMk cId="3105302673" sldId="2147483656"/>
          </pc:sldLayoutMkLst>
        </pc:sldLayoutChg>
        <pc:sldLayoutChg chg="add">
          <pc:chgData name="Justine Allen" userId="74a19456-9297-4ccb-83db-a0ad0cec6ea4" providerId="ADAL" clId="{1E8FE075-6A8D-466A-9967-E552B414D324}" dt="2023-08-10T15:16:54.371" v="105" actId="27028"/>
          <pc:sldLayoutMkLst>
            <pc:docMk/>
            <pc:sldMasterMk cId="1960528771" sldId="2147483648"/>
            <pc:sldLayoutMk cId="1397887656" sldId="2147483657"/>
          </pc:sldLayoutMkLst>
        </pc:sldLayoutChg>
        <pc:sldLayoutChg chg="add">
          <pc:chgData name="Justine Allen" userId="74a19456-9297-4ccb-83db-a0ad0cec6ea4" providerId="ADAL" clId="{1E8FE075-6A8D-466A-9967-E552B414D324}" dt="2023-08-10T15:16:54.371" v="105" actId="27028"/>
          <pc:sldLayoutMkLst>
            <pc:docMk/>
            <pc:sldMasterMk cId="1960528771" sldId="2147483648"/>
            <pc:sldLayoutMk cId="3351811013" sldId="2147483658"/>
          </pc:sldLayoutMkLst>
        </pc:sldLayoutChg>
        <pc:sldLayoutChg chg="add">
          <pc:chgData name="Justine Allen" userId="74a19456-9297-4ccb-83db-a0ad0cec6ea4" providerId="ADAL" clId="{1E8FE075-6A8D-466A-9967-E552B414D324}" dt="2023-08-10T15:16:54.371" v="105" actId="27028"/>
          <pc:sldLayoutMkLst>
            <pc:docMk/>
            <pc:sldMasterMk cId="1960528771" sldId="2147483648"/>
            <pc:sldLayoutMk cId="1560554693" sldId="2147483659"/>
          </pc:sldLayoutMkLst>
        </pc:sldLayoutChg>
      </pc:sldMasterChg>
      <pc:sldMasterChg chg="modSldLayout">
        <pc:chgData name="Justine Allen" userId="74a19456-9297-4ccb-83db-a0ad0cec6ea4" providerId="ADAL" clId="{1E8FE075-6A8D-466A-9967-E552B414D324}" dt="2023-08-10T15:16:54.371" v="105" actId="27028"/>
        <pc:sldMasterMkLst>
          <pc:docMk/>
          <pc:sldMasterMk cId="0" sldId="2147483662"/>
        </pc:sldMasterMkLst>
        <pc:sldLayoutChg chg="replId">
          <pc:chgData name="Justine Allen" userId="74a19456-9297-4ccb-83db-a0ad0cec6ea4" providerId="ADAL" clId="{1E8FE075-6A8D-466A-9967-E552B414D324}" dt="2023-08-10T15:16:54.371" v="105" actId="27028"/>
          <pc:sldLayoutMkLst>
            <pc:docMk/>
            <pc:sldMasterMk cId="0" sldId="2147483662"/>
            <pc:sldLayoutMk cId="0" sldId="2147483700"/>
          </pc:sldLayoutMkLst>
        </pc:sldLayoutChg>
        <pc:sldLayoutChg chg="replId">
          <pc:chgData name="Justine Allen" userId="74a19456-9297-4ccb-83db-a0ad0cec6ea4" providerId="ADAL" clId="{1E8FE075-6A8D-466A-9967-E552B414D324}" dt="2023-08-10T15:16:54.371" v="105" actId="27028"/>
          <pc:sldLayoutMkLst>
            <pc:docMk/>
            <pc:sldMasterMk cId="0" sldId="2147483662"/>
            <pc:sldLayoutMk cId="0" sldId="2147483701"/>
          </pc:sldLayoutMkLst>
        </pc:sldLayoutChg>
        <pc:sldLayoutChg chg="replId">
          <pc:chgData name="Justine Allen" userId="74a19456-9297-4ccb-83db-a0ad0cec6ea4" providerId="ADAL" clId="{1E8FE075-6A8D-466A-9967-E552B414D324}" dt="2023-08-10T15:16:54.371" v="105" actId="27028"/>
          <pc:sldLayoutMkLst>
            <pc:docMk/>
            <pc:sldMasterMk cId="0" sldId="2147483662"/>
            <pc:sldLayoutMk cId="0" sldId="2147483702"/>
          </pc:sldLayoutMkLst>
        </pc:sldLayoutChg>
        <pc:sldLayoutChg chg="replId">
          <pc:chgData name="Justine Allen" userId="74a19456-9297-4ccb-83db-a0ad0cec6ea4" providerId="ADAL" clId="{1E8FE075-6A8D-466A-9967-E552B414D324}" dt="2023-08-10T15:16:54.371" v="105" actId="27028"/>
          <pc:sldLayoutMkLst>
            <pc:docMk/>
            <pc:sldMasterMk cId="0" sldId="2147483662"/>
            <pc:sldLayoutMk cId="0" sldId="2147483703"/>
          </pc:sldLayoutMkLst>
        </pc:sldLayoutChg>
        <pc:sldLayoutChg chg="replId">
          <pc:chgData name="Justine Allen" userId="74a19456-9297-4ccb-83db-a0ad0cec6ea4" providerId="ADAL" clId="{1E8FE075-6A8D-466A-9967-E552B414D324}" dt="2023-08-10T15:16:54.371" v="105" actId="27028"/>
          <pc:sldLayoutMkLst>
            <pc:docMk/>
            <pc:sldMasterMk cId="0" sldId="2147483662"/>
            <pc:sldLayoutMk cId="0" sldId="2147483704"/>
          </pc:sldLayoutMkLst>
        </pc:sldLayoutChg>
        <pc:sldLayoutChg chg="replId">
          <pc:chgData name="Justine Allen" userId="74a19456-9297-4ccb-83db-a0ad0cec6ea4" providerId="ADAL" clId="{1E8FE075-6A8D-466A-9967-E552B414D324}" dt="2023-08-10T15:16:54.371" v="105" actId="27028"/>
          <pc:sldLayoutMkLst>
            <pc:docMk/>
            <pc:sldMasterMk cId="0" sldId="2147483662"/>
            <pc:sldLayoutMk cId="0" sldId="2147483705"/>
          </pc:sldLayoutMkLst>
        </pc:sldLayoutChg>
        <pc:sldLayoutChg chg="replId">
          <pc:chgData name="Justine Allen" userId="74a19456-9297-4ccb-83db-a0ad0cec6ea4" providerId="ADAL" clId="{1E8FE075-6A8D-466A-9967-E552B414D324}" dt="2023-08-10T15:16:54.371" v="105" actId="27028"/>
          <pc:sldLayoutMkLst>
            <pc:docMk/>
            <pc:sldMasterMk cId="0" sldId="2147483662"/>
            <pc:sldLayoutMk cId="0" sldId="2147483706"/>
          </pc:sldLayoutMkLst>
        </pc:sldLayoutChg>
        <pc:sldLayoutChg chg="replId">
          <pc:chgData name="Justine Allen" userId="74a19456-9297-4ccb-83db-a0ad0cec6ea4" providerId="ADAL" clId="{1E8FE075-6A8D-466A-9967-E552B414D324}" dt="2023-08-10T15:16:54.371" v="105" actId="27028"/>
          <pc:sldLayoutMkLst>
            <pc:docMk/>
            <pc:sldMasterMk cId="0" sldId="2147483662"/>
            <pc:sldLayoutMk cId="0" sldId="2147483707"/>
          </pc:sldLayoutMkLst>
        </pc:sldLayoutChg>
      </pc:sldMasterChg>
      <pc:sldMasterChg chg="del delSldLayout">
        <pc:chgData name="Justine Allen" userId="74a19456-9297-4ccb-83db-a0ad0cec6ea4" providerId="ADAL" clId="{1E8FE075-6A8D-466A-9967-E552B414D324}" dt="2023-08-10T15:16:33.778" v="104" actId="47"/>
        <pc:sldMasterMkLst>
          <pc:docMk/>
          <pc:sldMasterMk cId="2904556359" sldId="2147483700"/>
        </pc:sldMasterMkLst>
        <pc:sldLayoutChg chg="del">
          <pc:chgData name="Justine Allen" userId="74a19456-9297-4ccb-83db-a0ad0cec6ea4" providerId="ADAL" clId="{1E8FE075-6A8D-466A-9967-E552B414D324}" dt="2023-08-10T15:16:33.778" v="104" actId="47"/>
          <pc:sldLayoutMkLst>
            <pc:docMk/>
            <pc:sldMasterMk cId="2904556359" sldId="2147483700"/>
            <pc:sldLayoutMk cId="3281548633" sldId="2147483701"/>
          </pc:sldLayoutMkLst>
        </pc:sldLayoutChg>
        <pc:sldLayoutChg chg="del">
          <pc:chgData name="Justine Allen" userId="74a19456-9297-4ccb-83db-a0ad0cec6ea4" providerId="ADAL" clId="{1E8FE075-6A8D-466A-9967-E552B414D324}" dt="2023-08-10T15:16:33.778" v="104" actId="47"/>
          <pc:sldLayoutMkLst>
            <pc:docMk/>
            <pc:sldMasterMk cId="2904556359" sldId="2147483700"/>
            <pc:sldLayoutMk cId="2296967708" sldId="2147483702"/>
          </pc:sldLayoutMkLst>
        </pc:sldLayoutChg>
        <pc:sldLayoutChg chg="del">
          <pc:chgData name="Justine Allen" userId="74a19456-9297-4ccb-83db-a0ad0cec6ea4" providerId="ADAL" clId="{1E8FE075-6A8D-466A-9967-E552B414D324}" dt="2023-08-10T15:16:33.778" v="104" actId="47"/>
          <pc:sldLayoutMkLst>
            <pc:docMk/>
            <pc:sldMasterMk cId="2904556359" sldId="2147483700"/>
            <pc:sldLayoutMk cId="2854024743" sldId="2147483703"/>
          </pc:sldLayoutMkLst>
        </pc:sldLayoutChg>
        <pc:sldLayoutChg chg="del">
          <pc:chgData name="Justine Allen" userId="74a19456-9297-4ccb-83db-a0ad0cec6ea4" providerId="ADAL" clId="{1E8FE075-6A8D-466A-9967-E552B414D324}" dt="2023-08-10T15:16:33.778" v="104" actId="47"/>
          <pc:sldLayoutMkLst>
            <pc:docMk/>
            <pc:sldMasterMk cId="2904556359" sldId="2147483700"/>
            <pc:sldLayoutMk cId="4198405534" sldId="2147483704"/>
          </pc:sldLayoutMkLst>
        </pc:sldLayoutChg>
        <pc:sldLayoutChg chg="del">
          <pc:chgData name="Justine Allen" userId="74a19456-9297-4ccb-83db-a0ad0cec6ea4" providerId="ADAL" clId="{1E8FE075-6A8D-466A-9967-E552B414D324}" dt="2023-08-10T15:16:33.778" v="104" actId="47"/>
          <pc:sldLayoutMkLst>
            <pc:docMk/>
            <pc:sldMasterMk cId="2904556359" sldId="2147483700"/>
            <pc:sldLayoutMk cId="1737572212" sldId="2147483705"/>
          </pc:sldLayoutMkLst>
        </pc:sldLayoutChg>
        <pc:sldLayoutChg chg="del">
          <pc:chgData name="Justine Allen" userId="74a19456-9297-4ccb-83db-a0ad0cec6ea4" providerId="ADAL" clId="{1E8FE075-6A8D-466A-9967-E552B414D324}" dt="2023-08-10T15:16:33.778" v="104" actId="47"/>
          <pc:sldLayoutMkLst>
            <pc:docMk/>
            <pc:sldMasterMk cId="2904556359" sldId="2147483700"/>
            <pc:sldLayoutMk cId="1161286347" sldId="2147483706"/>
          </pc:sldLayoutMkLst>
        </pc:sldLayoutChg>
        <pc:sldLayoutChg chg="del">
          <pc:chgData name="Justine Allen" userId="74a19456-9297-4ccb-83db-a0ad0cec6ea4" providerId="ADAL" clId="{1E8FE075-6A8D-466A-9967-E552B414D324}" dt="2023-08-10T15:16:33.778" v="104" actId="47"/>
          <pc:sldLayoutMkLst>
            <pc:docMk/>
            <pc:sldMasterMk cId="2904556359" sldId="2147483700"/>
            <pc:sldLayoutMk cId="235415892" sldId="2147483707"/>
          </pc:sldLayoutMkLst>
        </pc:sldLayoutChg>
        <pc:sldLayoutChg chg="del">
          <pc:chgData name="Justine Allen" userId="74a19456-9297-4ccb-83db-a0ad0cec6ea4" providerId="ADAL" clId="{1E8FE075-6A8D-466A-9967-E552B414D324}" dt="2023-08-10T15:16:33.778" v="104" actId="47"/>
          <pc:sldLayoutMkLst>
            <pc:docMk/>
            <pc:sldMasterMk cId="2904556359" sldId="2147483700"/>
            <pc:sldLayoutMk cId="3237978812" sldId="2147483708"/>
          </pc:sldLayoutMkLst>
        </pc:sldLayoutChg>
        <pc:sldLayoutChg chg="del">
          <pc:chgData name="Justine Allen" userId="74a19456-9297-4ccb-83db-a0ad0cec6ea4" providerId="ADAL" clId="{1E8FE075-6A8D-466A-9967-E552B414D324}" dt="2023-08-10T15:16:33.778" v="104" actId="47"/>
          <pc:sldLayoutMkLst>
            <pc:docMk/>
            <pc:sldMasterMk cId="2904556359" sldId="2147483700"/>
            <pc:sldLayoutMk cId="1346556814" sldId="2147483709"/>
          </pc:sldLayoutMkLst>
        </pc:sldLayoutChg>
        <pc:sldLayoutChg chg="del">
          <pc:chgData name="Justine Allen" userId="74a19456-9297-4ccb-83db-a0ad0cec6ea4" providerId="ADAL" clId="{1E8FE075-6A8D-466A-9967-E552B414D324}" dt="2023-08-10T15:16:33.778" v="104" actId="47"/>
          <pc:sldLayoutMkLst>
            <pc:docMk/>
            <pc:sldMasterMk cId="2904556359" sldId="2147483700"/>
            <pc:sldLayoutMk cId="37413062" sldId="2147483710"/>
          </pc:sldLayoutMkLst>
        </pc:sldLayoutChg>
        <pc:sldLayoutChg chg="del">
          <pc:chgData name="Justine Allen" userId="74a19456-9297-4ccb-83db-a0ad0cec6ea4" providerId="ADAL" clId="{1E8FE075-6A8D-466A-9967-E552B414D324}" dt="2023-08-10T15:16:33.778" v="104" actId="47"/>
          <pc:sldLayoutMkLst>
            <pc:docMk/>
            <pc:sldMasterMk cId="2904556359" sldId="2147483700"/>
            <pc:sldLayoutMk cId="2626795391" sldId="2147483711"/>
          </pc:sldLayoutMkLst>
        </pc:sldLayoutChg>
      </pc:sldMasterChg>
    </pc:docChg>
  </pc:docChgLst>
  <pc:docChgLst>
    <pc:chgData name="Lena Dunham" userId="7a8e6d5e-cb96-47cf-aa9f-438249cb2abd" providerId="ADAL" clId="{3FBF0C03-1DCB-40F6-85DB-427D0767CD86}"/>
    <pc:docChg chg="undo custSel delSld modSld delMainMaster">
      <pc:chgData name="Lena Dunham" userId="7a8e6d5e-cb96-47cf-aa9f-438249cb2abd" providerId="ADAL" clId="{3FBF0C03-1DCB-40F6-85DB-427D0767CD86}" dt="2023-09-07T13:21:22.244" v="167" actId="113"/>
      <pc:docMkLst>
        <pc:docMk/>
      </pc:docMkLst>
      <pc:sldChg chg="modSp mod">
        <pc:chgData name="Lena Dunham" userId="7a8e6d5e-cb96-47cf-aa9f-438249cb2abd" providerId="ADAL" clId="{3FBF0C03-1DCB-40F6-85DB-427D0767CD86}" dt="2023-09-07T13:21:22.244" v="167" actId="113"/>
        <pc:sldMkLst>
          <pc:docMk/>
          <pc:sldMk cId="1769625664" sldId="4220"/>
        </pc:sldMkLst>
        <pc:spChg chg="mod">
          <ac:chgData name="Lena Dunham" userId="7a8e6d5e-cb96-47cf-aa9f-438249cb2abd" providerId="ADAL" clId="{3FBF0C03-1DCB-40F6-85DB-427D0767CD86}" dt="2023-09-06T15:21:27.279" v="33" actId="1076"/>
          <ac:spMkLst>
            <pc:docMk/>
            <pc:sldMk cId="1769625664" sldId="4220"/>
            <ac:spMk id="5" creationId="{00000000-0000-0000-0000-000000000000}"/>
          </ac:spMkLst>
        </pc:spChg>
        <pc:spChg chg="mod">
          <ac:chgData name="Lena Dunham" userId="7a8e6d5e-cb96-47cf-aa9f-438249cb2abd" providerId="ADAL" clId="{3FBF0C03-1DCB-40F6-85DB-427D0767CD86}" dt="2023-09-06T15:21:32.323" v="34" actId="1076"/>
          <ac:spMkLst>
            <pc:docMk/>
            <pc:sldMk cId="1769625664" sldId="4220"/>
            <ac:spMk id="6" creationId="{00000000-0000-0000-0000-000000000000}"/>
          </ac:spMkLst>
        </pc:spChg>
        <pc:spChg chg="mod">
          <ac:chgData name="Lena Dunham" userId="7a8e6d5e-cb96-47cf-aa9f-438249cb2abd" providerId="ADAL" clId="{3FBF0C03-1DCB-40F6-85DB-427D0767CD86}" dt="2023-09-06T15:22:33.068" v="95" actId="20577"/>
          <ac:spMkLst>
            <pc:docMk/>
            <pc:sldMk cId="1769625664" sldId="4220"/>
            <ac:spMk id="9" creationId="{00000000-0000-0000-0000-000000000000}"/>
          </ac:spMkLst>
        </pc:spChg>
        <pc:spChg chg="mod">
          <ac:chgData name="Lena Dunham" userId="7a8e6d5e-cb96-47cf-aa9f-438249cb2abd" providerId="ADAL" clId="{3FBF0C03-1DCB-40F6-85DB-427D0767CD86}" dt="2023-09-07T13:21:22.244" v="167" actId="113"/>
          <ac:spMkLst>
            <pc:docMk/>
            <pc:sldMk cId="1769625664" sldId="4220"/>
            <ac:spMk id="12" creationId="{36492090-DDEF-40FC-BCE6-8DC048D8E8F5}"/>
          </ac:spMkLst>
        </pc:spChg>
      </pc:sldChg>
      <pc:sldChg chg="del">
        <pc:chgData name="Lena Dunham" userId="7a8e6d5e-cb96-47cf-aa9f-438249cb2abd" providerId="ADAL" clId="{3FBF0C03-1DCB-40F6-85DB-427D0767CD86}" dt="2023-09-06T15:22:37.373" v="96" actId="47"/>
        <pc:sldMkLst>
          <pc:docMk/>
          <pc:sldMk cId="1225626674" sldId="4221"/>
        </pc:sldMkLst>
      </pc:sldChg>
      <pc:sldChg chg="del">
        <pc:chgData name="Lena Dunham" userId="7a8e6d5e-cb96-47cf-aa9f-438249cb2abd" providerId="ADAL" clId="{3FBF0C03-1DCB-40F6-85DB-427D0767CD86}" dt="2023-09-06T15:22:37.373" v="96" actId="47"/>
        <pc:sldMkLst>
          <pc:docMk/>
          <pc:sldMk cId="169899331" sldId="4222"/>
        </pc:sldMkLst>
      </pc:sldChg>
      <pc:sldChg chg="del">
        <pc:chgData name="Lena Dunham" userId="7a8e6d5e-cb96-47cf-aa9f-438249cb2abd" providerId="ADAL" clId="{3FBF0C03-1DCB-40F6-85DB-427D0767CD86}" dt="2023-09-06T15:22:37.373" v="96" actId="47"/>
        <pc:sldMkLst>
          <pc:docMk/>
          <pc:sldMk cId="3388365177" sldId="4223"/>
        </pc:sldMkLst>
      </pc:sldChg>
      <pc:sldChg chg="del">
        <pc:chgData name="Lena Dunham" userId="7a8e6d5e-cb96-47cf-aa9f-438249cb2abd" providerId="ADAL" clId="{3FBF0C03-1DCB-40F6-85DB-427D0767CD86}" dt="2023-09-06T15:22:37.373" v="96" actId="47"/>
        <pc:sldMkLst>
          <pc:docMk/>
          <pc:sldMk cId="1115449198" sldId="4224"/>
        </pc:sldMkLst>
      </pc:sldChg>
      <pc:sldChg chg="del">
        <pc:chgData name="Lena Dunham" userId="7a8e6d5e-cb96-47cf-aa9f-438249cb2abd" providerId="ADAL" clId="{3FBF0C03-1DCB-40F6-85DB-427D0767CD86}" dt="2023-09-06T15:22:37.373" v="96" actId="47"/>
        <pc:sldMkLst>
          <pc:docMk/>
          <pc:sldMk cId="2448454190" sldId="4225"/>
        </pc:sldMkLst>
      </pc:sldChg>
      <pc:sldChg chg="del">
        <pc:chgData name="Lena Dunham" userId="7a8e6d5e-cb96-47cf-aa9f-438249cb2abd" providerId="ADAL" clId="{3FBF0C03-1DCB-40F6-85DB-427D0767CD86}" dt="2023-09-06T15:22:37.373" v="96" actId="47"/>
        <pc:sldMkLst>
          <pc:docMk/>
          <pc:sldMk cId="2220043904" sldId="4226"/>
        </pc:sldMkLst>
      </pc:sldChg>
      <pc:sldChg chg="del">
        <pc:chgData name="Lena Dunham" userId="7a8e6d5e-cb96-47cf-aa9f-438249cb2abd" providerId="ADAL" clId="{3FBF0C03-1DCB-40F6-85DB-427D0767CD86}" dt="2023-09-06T15:22:37.373" v="96" actId="47"/>
        <pc:sldMkLst>
          <pc:docMk/>
          <pc:sldMk cId="2317428002" sldId="4227"/>
        </pc:sldMkLst>
      </pc:sldChg>
      <pc:sldChg chg="del">
        <pc:chgData name="Lena Dunham" userId="7a8e6d5e-cb96-47cf-aa9f-438249cb2abd" providerId="ADAL" clId="{3FBF0C03-1DCB-40F6-85DB-427D0767CD86}" dt="2023-09-06T15:22:37.373" v="96" actId="47"/>
        <pc:sldMkLst>
          <pc:docMk/>
          <pc:sldMk cId="3338306468" sldId="4228"/>
        </pc:sldMkLst>
      </pc:sldChg>
      <pc:sldChg chg="del">
        <pc:chgData name="Lena Dunham" userId="7a8e6d5e-cb96-47cf-aa9f-438249cb2abd" providerId="ADAL" clId="{3FBF0C03-1DCB-40F6-85DB-427D0767CD86}" dt="2023-09-06T15:22:37.373" v="96" actId="47"/>
        <pc:sldMkLst>
          <pc:docMk/>
          <pc:sldMk cId="3414692549" sldId="4229"/>
        </pc:sldMkLst>
      </pc:sldChg>
      <pc:sldMasterChg chg="del delSldLayout">
        <pc:chgData name="Lena Dunham" userId="7a8e6d5e-cb96-47cf-aa9f-438249cb2abd" providerId="ADAL" clId="{3FBF0C03-1DCB-40F6-85DB-427D0767CD86}" dt="2023-09-06T15:22:37.373" v="96" actId="47"/>
        <pc:sldMasterMkLst>
          <pc:docMk/>
          <pc:sldMasterMk cId="1960528771" sldId="2147483648"/>
        </pc:sldMasterMkLst>
        <pc:sldLayoutChg chg="del">
          <pc:chgData name="Lena Dunham" userId="7a8e6d5e-cb96-47cf-aa9f-438249cb2abd" providerId="ADAL" clId="{3FBF0C03-1DCB-40F6-85DB-427D0767CD86}" dt="2023-09-06T15:22:37.373" v="96" actId="47"/>
          <pc:sldLayoutMkLst>
            <pc:docMk/>
            <pc:sldMasterMk cId="1960528771" sldId="2147483648"/>
            <pc:sldLayoutMk cId="3935002823" sldId="2147483649"/>
          </pc:sldLayoutMkLst>
        </pc:sldLayoutChg>
        <pc:sldLayoutChg chg="del">
          <pc:chgData name="Lena Dunham" userId="7a8e6d5e-cb96-47cf-aa9f-438249cb2abd" providerId="ADAL" clId="{3FBF0C03-1DCB-40F6-85DB-427D0767CD86}" dt="2023-09-06T15:22:37.373" v="96" actId="47"/>
          <pc:sldLayoutMkLst>
            <pc:docMk/>
            <pc:sldMasterMk cId="1960528771" sldId="2147483648"/>
            <pc:sldLayoutMk cId="3072872164" sldId="2147483650"/>
          </pc:sldLayoutMkLst>
        </pc:sldLayoutChg>
        <pc:sldLayoutChg chg="del">
          <pc:chgData name="Lena Dunham" userId="7a8e6d5e-cb96-47cf-aa9f-438249cb2abd" providerId="ADAL" clId="{3FBF0C03-1DCB-40F6-85DB-427D0767CD86}" dt="2023-09-06T15:22:37.373" v="96" actId="47"/>
          <pc:sldLayoutMkLst>
            <pc:docMk/>
            <pc:sldMasterMk cId="1960528771" sldId="2147483648"/>
            <pc:sldLayoutMk cId="6381941" sldId="2147483651"/>
          </pc:sldLayoutMkLst>
        </pc:sldLayoutChg>
        <pc:sldLayoutChg chg="del">
          <pc:chgData name="Lena Dunham" userId="7a8e6d5e-cb96-47cf-aa9f-438249cb2abd" providerId="ADAL" clId="{3FBF0C03-1DCB-40F6-85DB-427D0767CD86}" dt="2023-09-06T15:22:37.373" v="96" actId="47"/>
          <pc:sldLayoutMkLst>
            <pc:docMk/>
            <pc:sldMasterMk cId="1960528771" sldId="2147483648"/>
            <pc:sldLayoutMk cId="200122681" sldId="2147483652"/>
          </pc:sldLayoutMkLst>
        </pc:sldLayoutChg>
        <pc:sldLayoutChg chg="del">
          <pc:chgData name="Lena Dunham" userId="7a8e6d5e-cb96-47cf-aa9f-438249cb2abd" providerId="ADAL" clId="{3FBF0C03-1DCB-40F6-85DB-427D0767CD86}" dt="2023-09-06T15:22:37.373" v="96" actId="47"/>
          <pc:sldLayoutMkLst>
            <pc:docMk/>
            <pc:sldMasterMk cId="1960528771" sldId="2147483648"/>
            <pc:sldLayoutMk cId="3321738909" sldId="2147483653"/>
          </pc:sldLayoutMkLst>
        </pc:sldLayoutChg>
        <pc:sldLayoutChg chg="del">
          <pc:chgData name="Lena Dunham" userId="7a8e6d5e-cb96-47cf-aa9f-438249cb2abd" providerId="ADAL" clId="{3FBF0C03-1DCB-40F6-85DB-427D0767CD86}" dt="2023-09-06T15:22:37.373" v="96" actId="47"/>
          <pc:sldLayoutMkLst>
            <pc:docMk/>
            <pc:sldMasterMk cId="1960528771" sldId="2147483648"/>
            <pc:sldLayoutMk cId="1198814742" sldId="2147483654"/>
          </pc:sldLayoutMkLst>
        </pc:sldLayoutChg>
        <pc:sldLayoutChg chg="del">
          <pc:chgData name="Lena Dunham" userId="7a8e6d5e-cb96-47cf-aa9f-438249cb2abd" providerId="ADAL" clId="{3FBF0C03-1DCB-40F6-85DB-427D0767CD86}" dt="2023-09-06T15:22:37.373" v="96" actId="47"/>
          <pc:sldLayoutMkLst>
            <pc:docMk/>
            <pc:sldMasterMk cId="1960528771" sldId="2147483648"/>
            <pc:sldLayoutMk cId="2970753844" sldId="2147483655"/>
          </pc:sldLayoutMkLst>
        </pc:sldLayoutChg>
        <pc:sldLayoutChg chg="del">
          <pc:chgData name="Lena Dunham" userId="7a8e6d5e-cb96-47cf-aa9f-438249cb2abd" providerId="ADAL" clId="{3FBF0C03-1DCB-40F6-85DB-427D0767CD86}" dt="2023-09-06T15:22:37.373" v="96" actId="47"/>
          <pc:sldLayoutMkLst>
            <pc:docMk/>
            <pc:sldMasterMk cId="1960528771" sldId="2147483648"/>
            <pc:sldLayoutMk cId="3105302673" sldId="2147483656"/>
          </pc:sldLayoutMkLst>
        </pc:sldLayoutChg>
        <pc:sldLayoutChg chg="del">
          <pc:chgData name="Lena Dunham" userId="7a8e6d5e-cb96-47cf-aa9f-438249cb2abd" providerId="ADAL" clId="{3FBF0C03-1DCB-40F6-85DB-427D0767CD86}" dt="2023-09-06T15:22:37.373" v="96" actId="47"/>
          <pc:sldLayoutMkLst>
            <pc:docMk/>
            <pc:sldMasterMk cId="1960528771" sldId="2147483648"/>
            <pc:sldLayoutMk cId="1397887656" sldId="2147483657"/>
          </pc:sldLayoutMkLst>
        </pc:sldLayoutChg>
        <pc:sldLayoutChg chg="del">
          <pc:chgData name="Lena Dunham" userId="7a8e6d5e-cb96-47cf-aa9f-438249cb2abd" providerId="ADAL" clId="{3FBF0C03-1DCB-40F6-85DB-427D0767CD86}" dt="2023-09-06T15:22:37.373" v="96" actId="47"/>
          <pc:sldLayoutMkLst>
            <pc:docMk/>
            <pc:sldMasterMk cId="1960528771" sldId="2147483648"/>
            <pc:sldLayoutMk cId="3351811013" sldId="2147483658"/>
          </pc:sldLayoutMkLst>
        </pc:sldLayoutChg>
        <pc:sldLayoutChg chg="del">
          <pc:chgData name="Lena Dunham" userId="7a8e6d5e-cb96-47cf-aa9f-438249cb2abd" providerId="ADAL" clId="{3FBF0C03-1DCB-40F6-85DB-427D0767CD86}" dt="2023-09-06T15:22:37.373" v="96" actId="47"/>
          <pc:sldLayoutMkLst>
            <pc:docMk/>
            <pc:sldMasterMk cId="1960528771" sldId="2147483648"/>
            <pc:sldLayoutMk cId="1560554693" sldId="2147483659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175" y="685800"/>
            <a:ext cx="6096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37D59F-2D23-A44F-8062-C37AD5500CD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50052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oh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60F4482-2988-4C7C-BDC4-93BF6E7A03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907027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oh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60F4482-2988-4C7C-BDC4-93BF6E7A03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201347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ria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60F4482-2988-4C7C-BDC4-93BF6E7A03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0730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ria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60F4482-2988-4C7C-BDC4-93BF6E7A03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998291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ohn starts Brian End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60F4482-2988-4C7C-BDC4-93BF6E7A03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63585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3617C0-512E-4242-9748-934884C08FF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31684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48BBE7-C25F-4242-A6CB-18E646A2F64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61520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48BBE7-C25F-4242-A6CB-18E646A2F64D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62986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5B0AAE-9A56-4C46-8970-7F708120EED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3476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5B0AAE-9A56-4C46-8970-7F708120EED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584105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69D1E5-E55C-1942-B572-E20B9B540EA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61040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/>
              <a:t>revenue-generating screens</a:t>
            </a:r>
          </a:p>
          <a:p>
            <a:pPr marL="171450" indent="-171450">
              <a:buFontTx/>
              <a:buChar char="-"/>
            </a:pPr>
            <a:r>
              <a:rPr lang="en-US"/>
              <a:t>AI/computer vision passenger experience</a:t>
            </a:r>
          </a:p>
          <a:p>
            <a:pPr marL="171450" indent="-171450">
              <a:buFontTx/>
              <a:buChar char="-"/>
            </a:pPr>
            <a:r>
              <a:rPr lang="en-US"/>
              <a:t>Beep Bo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48BBE7-C25F-4242-A6CB-18E646A2F6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27602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/>
              <a:t>revenue-generating screens</a:t>
            </a:r>
          </a:p>
          <a:p>
            <a:pPr marL="171450" indent="-171450">
              <a:buFontTx/>
              <a:buChar char="-"/>
            </a:pPr>
            <a:r>
              <a:rPr lang="en-US"/>
              <a:t>AI/computer vision passenger experience</a:t>
            </a:r>
          </a:p>
          <a:p>
            <a:pPr marL="171450" indent="-171450">
              <a:buFontTx/>
              <a:buChar char="-"/>
            </a:pPr>
            <a:r>
              <a:rPr lang="en-US"/>
              <a:t>Beep Bo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48BBE7-C25F-4242-A6CB-18E646A2F6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27602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">
  <p:cSld name="TITLE_1">
    <p:bg>
      <p:bgPr>
        <a:solidFill>
          <a:schemeClr val="accent1"/>
        </a:solidFill>
        <a:effectLst/>
      </p:bgPr>
    </p:bg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oogle Shape;15;p3" descr="organic-02.png"/>
          <p:cNvPicPr preferRelativeResize="0"/>
          <p:nvPr/>
        </p:nvPicPr>
        <p:blipFill>
          <a:blip r:embed="rId2">
            <a:alphaModFix amt="24000"/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16;p3"/>
          <p:cNvSpPr/>
          <p:nvPr/>
        </p:nvSpPr>
        <p:spPr>
          <a:xfrm>
            <a:off x="2022375" y="1022175"/>
            <a:ext cx="5099400" cy="3135900"/>
          </a:xfrm>
          <a:prstGeom prst="rect">
            <a:avLst/>
          </a:prstGeom>
          <a:solidFill>
            <a:schemeClr val="dk1"/>
          </a:solidFill>
          <a:ln>
            <a:noFill/>
          </a:ln>
          <a:effectLst>
            <a:outerShdw dist="104775" dir="2700000" algn="bl" rotWithShape="0">
              <a:srgbClr val="20124D">
                <a:alpha val="15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7" name="Google Shape;17;p3"/>
          <p:cNvSpPr/>
          <p:nvPr/>
        </p:nvSpPr>
        <p:spPr>
          <a:xfrm>
            <a:off x="4162050" y="756837"/>
            <a:ext cx="819900" cy="819900"/>
          </a:xfrm>
          <a:prstGeom prst="rect">
            <a:avLst/>
          </a:prstGeom>
          <a:solidFill>
            <a:srgbClr val="FFFFFF"/>
          </a:solidFill>
          <a:ln>
            <a:noFill/>
          </a:ln>
          <a:effectLst>
            <a:outerShdw dist="104775" dir="2700000" algn="bl" rotWithShape="0">
              <a:srgbClr val="20124D">
                <a:alpha val="15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" name="Google Shape;18;p3"/>
          <p:cNvSpPr txBox="1">
            <a:spLocks noGrp="1"/>
          </p:cNvSpPr>
          <p:nvPr>
            <p:ph type="ctrTitle"/>
          </p:nvPr>
        </p:nvSpPr>
        <p:spPr>
          <a:xfrm>
            <a:off x="2361000" y="1735750"/>
            <a:ext cx="4335000" cy="1159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None/>
              <a:defRPr sz="36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9" name="Google Shape;19;p3"/>
          <p:cNvSpPr txBox="1">
            <a:spLocks noGrp="1"/>
          </p:cNvSpPr>
          <p:nvPr>
            <p:ph type="subTitle" idx="1"/>
          </p:nvPr>
        </p:nvSpPr>
        <p:spPr>
          <a:xfrm>
            <a:off x="2361075" y="2840050"/>
            <a:ext cx="4335000" cy="78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18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20" name="Google Shape;20;p3"/>
          <p:cNvSpPr txBox="1">
            <a:spLocks noGrp="1"/>
          </p:cNvSpPr>
          <p:nvPr>
            <p:ph type="sldNum" idx="12"/>
          </p:nvPr>
        </p:nvSpPr>
        <p:spPr>
          <a:xfrm>
            <a:off x="4297650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buNone/>
              <a:defRPr>
                <a:solidFill>
                  <a:srgbClr val="4D4A56"/>
                </a:solidFill>
              </a:defRPr>
            </a:lvl1pPr>
            <a:lvl2pPr lvl="1" algn="ctr">
              <a:buNone/>
              <a:defRPr>
                <a:solidFill>
                  <a:srgbClr val="4D4A56"/>
                </a:solidFill>
              </a:defRPr>
            </a:lvl2pPr>
            <a:lvl3pPr lvl="2" algn="ctr">
              <a:buNone/>
              <a:defRPr>
                <a:solidFill>
                  <a:srgbClr val="4D4A56"/>
                </a:solidFill>
              </a:defRPr>
            </a:lvl3pPr>
            <a:lvl4pPr lvl="3" algn="ctr">
              <a:buNone/>
              <a:defRPr>
                <a:solidFill>
                  <a:srgbClr val="4D4A56"/>
                </a:solidFill>
              </a:defRPr>
            </a:lvl4pPr>
            <a:lvl5pPr lvl="4" algn="ctr">
              <a:buNone/>
              <a:defRPr>
                <a:solidFill>
                  <a:srgbClr val="4D4A56"/>
                </a:solidFill>
              </a:defRPr>
            </a:lvl5pPr>
            <a:lvl6pPr lvl="5" algn="ctr">
              <a:buNone/>
              <a:defRPr>
                <a:solidFill>
                  <a:srgbClr val="4D4A56"/>
                </a:solidFill>
              </a:defRPr>
            </a:lvl6pPr>
            <a:lvl7pPr lvl="6" algn="ctr">
              <a:buNone/>
              <a:defRPr>
                <a:solidFill>
                  <a:srgbClr val="4D4A56"/>
                </a:solidFill>
              </a:defRPr>
            </a:lvl7pPr>
            <a:lvl8pPr lvl="7" algn="ctr">
              <a:buNone/>
              <a:defRPr>
                <a:solidFill>
                  <a:srgbClr val="4D4A56"/>
                </a:solidFill>
              </a:defRPr>
            </a:lvl8pPr>
            <a:lvl9pPr lvl="8" algn="ctr">
              <a:buNone/>
              <a:defRPr>
                <a:solidFill>
                  <a:srgbClr val="4D4A56"/>
                </a:solidFill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circles">
  <p:cSld name="BLANK_1_1_1">
    <p:bg>
      <p:bgPr>
        <a:solidFill>
          <a:schemeClr val="dk1"/>
        </a:solidFill>
        <a:effectLst/>
      </p:bgPr>
    </p:bg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" name="Google Shape;84;p15" descr="organic-04.png"/>
          <p:cNvPicPr preferRelativeResize="0"/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85" name="Google Shape;85;p15"/>
          <p:cNvSpPr txBox="1">
            <a:spLocks noGrp="1"/>
          </p:cNvSpPr>
          <p:nvPr>
            <p:ph type="sldNum" idx="12"/>
          </p:nvPr>
        </p:nvSpPr>
        <p:spPr>
          <a:xfrm>
            <a:off x="8556784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userDrawn="1">
  <p:cSld name="Title and Conten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 bwMode="auto"/>
        <p:txBody>
          <a:bodyPr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C9CB138F-5A14-49FF-BF8B-4696FF65210D}" type="datetimeFigureOut">
              <a:rPr lang="en-US"/>
              <a:t>4/11/2024</a:t>
            </a:fld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CD2DB14D-9FE4-4290-8DFB-6D7A976C3B29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16507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833200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79997"/>
            <a:ext cx="3886200" cy="273678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79997"/>
            <a:ext cx="3886200" cy="273678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490203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867733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854761"/>
            <a:ext cx="3868340" cy="617934"/>
          </a:xfrm>
        </p:spPr>
        <p:txBody>
          <a:bodyPr anchor="b"/>
          <a:lstStyle>
            <a:lvl1pPr marL="0" indent="0">
              <a:buNone/>
              <a:defRPr sz="21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472695"/>
            <a:ext cx="3868340" cy="2763441"/>
          </a:xfrm>
        </p:spPr>
        <p:txBody>
          <a:bodyPr/>
          <a:lstStyle>
            <a:lvl1pPr>
              <a:defRPr sz="2100">
                <a:solidFill>
                  <a:srgbClr val="84BD00"/>
                </a:solidFill>
              </a:defRPr>
            </a:lvl1pPr>
            <a:lvl2pPr>
              <a:defRPr sz="1800">
                <a:solidFill>
                  <a:srgbClr val="84BD00"/>
                </a:solidFill>
              </a:defRPr>
            </a:lvl2pPr>
            <a:lvl3pPr>
              <a:defRPr sz="1500">
                <a:solidFill>
                  <a:srgbClr val="84BD00"/>
                </a:solidFill>
              </a:defRPr>
            </a:lvl3pPr>
            <a:lvl4pPr>
              <a:defRPr sz="1350">
                <a:solidFill>
                  <a:srgbClr val="84BD00"/>
                </a:solidFill>
              </a:defRPr>
            </a:lvl4pPr>
            <a:lvl5pPr>
              <a:defRPr>
                <a:solidFill>
                  <a:srgbClr val="84BD00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854761"/>
            <a:ext cx="3887391" cy="617934"/>
          </a:xfrm>
        </p:spPr>
        <p:txBody>
          <a:bodyPr anchor="b"/>
          <a:lstStyle>
            <a:lvl1pPr marL="0" indent="0">
              <a:buNone/>
              <a:defRPr sz="21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472695"/>
            <a:ext cx="3887391" cy="2763441"/>
          </a:xfrm>
        </p:spPr>
        <p:txBody>
          <a:bodyPr/>
          <a:lstStyle>
            <a:lvl1pPr>
              <a:defRPr sz="2100">
                <a:solidFill>
                  <a:srgbClr val="84BD00"/>
                </a:solidFill>
              </a:defRPr>
            </a:lvl1pPr>
            <a:lvl2pPr>
              <a:defRPr>
                <a:solidFill>
                  <a:srgbClr val="84BD00"/>
                </a:solidFill>
              </a:defRPr>
            </a:lvl2pPr>
            <a:lvl3pPr>
              <a:defRPr>
                <a:solidFill>
                  <a:srgbClr val="84BD00"/>
                </a:solidFill>
              </a:defRPr>
            </a:lvl3pPr>
            <a:lvl4pPr>
              <a:defRPr>
                <a:solidFill>
                  <a:srgbClr val="84BD00"/>
                </a:solidFill>
              </a:defRPr>
            </a:lvl4pPr>
            <a:lvl5pPr>
              <a:defRPr>
                <a:solidFill>
                  <a:srgbClr val="84BD00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4483599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66105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1058724"/>
            <a:ext cx="4629150" cy="3572194"/>
          </a:xfrm>
        </p:spPr>
        <p:txBody>
          <a:bodyPr/>
          <a:lstStyle>
            <a:lvl1pPr>
              <a:defRPr sz="2100">
                <a:solidFill>
                  <a:srgbClr val="84BD00"/>
                </a:solidFill>
              </a:defRPr>
            </a:lvl1pPr>
            <a:lvl2pPr>
              <a:defRPr sz="1800">
                <a:solidFill>
                  <a:srgbClr val="84BD00"/>
                </a:solidFill>
              </a:defRPr>
            </a:lvl2pPr>
            <a:lvl3pPr>
              <a:defRPr sz="1500">
                <a:solidFill>
                  <a:srgbClr val="84BD00"/>
                </a:solidFill>
              </a:defRPr>
            </a:lvl3pPr>
            <a:lvl4pPr>
              <a:defRPr sz="1350">
                <a:solidFill>
                  <a:srgbClr val="84BD00"/>
                </a:solidFill>
              </a:defRPr>
            </a:lvl4pPr>
            <a:lvl5pPr>
              <a:defRPr sz="1200">
                <a:solidFill>
                  <a:srgbClr val="84BD00"/>
                </a:solidFill>
              </a:defRPr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861205"/>
            <a:ext cx="2949178" cy="2769713"/>
          </a:xfrm>
        </p:spPr>
        <p:txBody>
          <a:bodyPr/>
          <a:lstStyle>
            <a:lvl1pPr marL="0" indent="0">
              <a:buNone/>
              <a:defRPr sz="18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01667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668125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1065794"/>
            <a:ext cx="4629150" cy="3655219"/>
          </a:xfrm>
        </p:spPr>
        <p:txBody>
          <a:bodyPr rtlCol="0">
            <a:normAutofit/>
          </a:bodyPr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868275"/>
            <a:ext cx="2949178" cy="2858691"/>
          </a:xfrm>
        </p:spPr>
        <p:txBody>
          <a:bodyPr/>
          <a:lstStyle>
            <a:lvl1pPr marL="0" indent="0">
              <a:buNone/>
              <a:defRPr sz="18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88088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63375" y="452887"/>
            <a:ext cx="4382218" cy="1714500"/>
          </a:xfrm>
        </p:spPr>
        <p:txBody>
          <a:bodyPr/>
          <a:lstStyle>
            <a:lvl1pPr algn="l">
              <a:defRPr sz="3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63375" y="2264434"/>
            <a:ext cx="4382218" cy="562874"/>
          </a:xfrm>
        </p:spPr>
        <p:txBody>
          <a:bodyPr/>
          <a:lstStyle>
            <a:lvl1pPr marL="0" indent="0" algn="l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E3D38DE4-1F2B-4C0D-ADEE-21C620B866B0}" type="datetimeFigureOut">
              <a:rPr lang="en-US"/>
              <a:pPr>
                <a:defRPr/>
              </a:pPr>
              <a:t>4/11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mtClean="0"/>
            </a:lvl1pPr>
          </a:lstStyle>
          <a:p>
            <a:pPr>
              <a:defRPr/>
            </a:pPr>
            <a:fld id="{6D40DEFE-E6EC-4511-987E-2546E88373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39058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fld id="{83D021C3-2519-4F06-A446-B38230B5787B}" type="datetimeFigureOut">
              <a:rPr lang="en-US"/>
              <a:pPr>
                <a:defRPr/>
              </a:pPr>
              <a:t>4/11/2024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mtClean="0"/>
            </a:lvl1pPr>
          </a:lstStyle>
          <a:p>
            <a:pPr>
              <a:defRPr/>
            </a:pPr>
            <a:fld id="{5A5F5263-F606-441B-B3C1-4AB5A2399EC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73918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AF_all_b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464" y="350044"/>
            <a:ext cx="1374775" cy="7881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5901" y="802482"/>
            <a:ext cx="1692275" cy="345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95276" y="1689497"/>
            <a:ext cx="8697913" cy="1228725"/>
          </a:xfrm>
        </p:spPr>
        <p:txBody>
          <a:bodyPr/>
          <a:lstStyle>
            <a:lvl1pPr>
              <a:lnSpc>
                <a:spcPct val="80000"/>
              </a:lnSpc>
              <a:defRPr sz="48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8138" y="2906316"/>
            <a:ext cx="4572000" cy="351234"/>
          </a:xfrm>
        </p:spPr>
        <p:txBody>
          <a:bodyPr/>
          <a:lstStyle>
            <a:lvl1pPr>
              <a:spcBef>
                <a:spcPts val="0"/>
              </a:spcBef>
              <a:defRPr sz="900" cap="all" baseline="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356617" y="3243834"/>
            <a:ext cx="1901825" cy="414338"/>
          </a:xfrm>
        </p:spPr>
        <p:txBody>
          <a:bodyPr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323782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TITLE_1_1">
    <p:bg>
      <p:bgPr>
        <a:solidFill>
          <a:schemeClr val="dk1"/>
        </a:solidFill>
        <a:effectLst/>
      </p:bgPr>
    </p:bg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Google Shape;22;p4" descr="organic-04.png"/>
          <p:cNvPicPr preferRelativeResize="0"/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Google Shape;23;p4"/>
          <p:cNvSpPr/>
          <p:nvPr/>
        </p:nvSpPr>
        <p:spPr>
          <a:xfrm>
            <a:off x="880525" y="1098363"/>
            <a:ext cx="7383000" cy="313590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dist="104775" dir="2700000" algn="bl" rotWithShape="0">
              <a:srgbClr val="20124D">
                <a:alpha val="15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" name="Google Shape;24;p4"/>
          <p:cNvSpPr/>
          <p:nvPr/>
        </p:nvSpPr>
        <p:spPr>
          <a:xfrm>
            <a:off x="4162050" y="833037"/>
            <a:ext cx="819900" cy="819900"/>
          </a:xfrm>
          <a:prstGeom prst="rect">
            <a:avLst/>
          </a:prstGeom>
          <a:solidFill>
            <a:srgbClr val="FFFFFF"/>
          </a:solidFill>
          <a:ln>
            <a:noFill/>
          </a:ln>
          <a:effectLst>
            <a:outerShdw dist="104775" dir="2700000" algn="bl" rotWithShape="0">
              <a:srgbClr val="20124D">
                <a:alpha val="15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" name="Google Shape;25;p4"/>
          <p:cNvSpPr txBox="1">
            <a:spLocks noGrp="1"/>
          </p:cNvSpPr>
          <p:nvPr>
            <p:ph type="body" idx="1"/>
          </p:nvPr>
        </p:nvSpPr>
        <p:spPr>
          <a:xfrm>
            <a:off x="1493850" y="1933200"/>
            <a:ext cx="6156300" cy="819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81000" algn="ctr" rtl="0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Clr>
                <a:srgbClr val="4D4A56"/>
              </a:buClr>
              <a:buSzPts val="2400"/>
              <a:buFont typeface="Playfair Display"/>
              <a:buChar char="▹"/>
              <a:defRPr sz="2400" b="1" i="1">
                <a:solidFill>
                  <a:srgbClr val="4D4A56"/>
                </a:solidFill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marL="914400" lvl="1" indent="-3810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D4A56"/>
              </a:buClr>
              <a:buSzPts val="2400"/>
              <a:buFont typeface="Playfair Display"/>
              <a:buChar char="▸"/>
              <a:defRPr b="1" i="1">
                <a:solidFill>
                  <a:srgbClr val="4D4A56"/>
                </a:solidFill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marL="1371600" lvl="2" indent="-3810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D4A56"/>
              </a:buClr>
              <a:buSzPts val="2400"/>
              <a:buFont typeface="Playfair Display"/>
              <a:buChar char="◦"/>
              <a:defRPr b="1" i="1">
                <a:solidFill>
                  <a:srgbClr val="4D4A56"/>
                </a:solidFill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marL="1828800" lvl="3" indent="-3810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D4A56"/>
              </a:buClr>
              <a:buSzPts val="2400"/>
              <a:buFont typeface="Playfair Display"/>
              <a:buChar char="●"/>
              <a:defRPr sz="2400" b="1" i="1">
                <a:solidFill>
                  <a:srgbClr val="4D4A56"/>
                </a:solidFill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marL="2286000" lvl="4" indent="-3810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D4A56"/>
              </a:buClr>
              <a:buSzPts val="2400"/>
              <a:buFont typeface="Playfair Display"/>
              <a:buChar char="○"/>
              <a:defRPr sz="2400" b="1" i="1">
                <a:solidFill>
                  <a:srgbClr val="4D4A56"/>
                </a:solidFill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marL="2743200" lvl="5" indent="-3810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D4A56"/>
              </a:buClr>
              <a:buSzPts val="2400"/>
              <a:buFont typeface="Playfair Display"/>
              <a:buChar char="■"/>
              <a:defRPr sz="2400" b="1" i="1">
                <a:solidFill>
                  <a:srgbClr val="4D4A56"/>
                </a:solidFill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marL="3200400" lvl="6" indent="-3810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D4A56"/>
              </a:buClr>
              <a:buSzPts val="2400"/>
              <a:buFont typeface="Playfair Display"/>
              <a:buChar char="●"/>
              <a:defRPr sz="2400" b="1" i="1">
                <a:solidFill>
                  <a:srgbClr val="4D4A56"/>
                </a:solidFill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marL="3657600" lvl="7" indent="-38100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D4A56"/>
              </a:buClr>
              <a:buSzPts val="2400"/>
              <a:buFont typeface="Playfair Display"/>
              <a:buChar char="○"/>
              <a:defRPr sz="2400" b="1" i="1">
                <a:solidFill>
                  <a:srgbClr val="4D4A56"/>
                </a:solidFill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marL="4114800" lvl="8" indent="-3810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D4A56"/>
              </a:buClr>
              <a:buSzPts val="2400"/>
              <a:buFont typeface="Playfair Display"/>
              <a:buChar char="■"/>
              <a:defRPr sz="2400" b="1" i="1">
                <a:solidFill>
                  <a:srgbClr val="4D4A56"/>
                </a:solidFill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26" name="Google Shape;26;p4"/>
          <p:cNvSpPr txBox="1"/>
          <p:nvPr/>
        </p:nvSpPr>
        <p:spPr>
          <a:xfrm>
            <a:off x="3593400" y="824919"/>
            <a:ext cx="1957200" cy="65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6000" b="1">
                <a:solidFill>
                  <a:schemeClr val="dk1"/>
                </a:solidFill>
                <a:latin typeface="Tinos"/>
                <a:ea typeface="Tinos"/>
                <a:cs typeface="Tinos"/>
                <a:sym typeface="Tinos"/>
              </a:rPr>
              <a:t>“</a:t>
            </a:r>
            <a:endParaRPr sz="6000" b="1">
              <a:solidFill>
                <a:schemeClr val="dk1"/>
              </a:solidFill>
              <a:latin typeface="Tinos"/>
              <a:ea typeface="Tinos"/>
              <a:cs typeface="Tinos"/>
              <a:sym typeface="Tinos"/>
            </a:endParaRPr>
          </a:p>
        </p:txBody>
      </p:sp>
      <p:sp>
        <p:nvSpPr>
          <p:cNvPr id="27" name="Google Shape;27;p4"/>
          <p:cNvSpPr txBox="1">
            <a:spLocks noGrp="1"/>
          </p:cNvSpPr>
          <p:nvPr>
            <p:ph type="sldNum" idx="12"/>
          </p:nvPr>
        </p:nvSpPr>
        <p:spPr>
          <a:xfrm>
            <a:off x="4297650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buNone/>
              <a:defRPr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>
              <a:buNone/>
              <a:defRPr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>
              <a:buNone/>
              <a:defRPr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>
              <a:buNone/>
              <a:defRPr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>
              <a:buNone/>
              <a:defRPr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>
              <a:buNone/>
              <a:defRPr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>
              <a:buNone/>
              <a:defRPr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>
              <a:buNone/>
              <a:defRPr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>
              <a:buNone/>
              <a:defRPr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8EBD47-7D41-4C8C-8C8A-87B9A396231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>
                <a:latin typeface="Verdana" pitchFamily="64" charset="0"/>
                <a:ea typeface="ＭＳ Ｐゴシック" pitchFamily="64" charset="-128"/>
                <a:cs typeface="ＭＳ Ｐゴシック" pitchFamily="64" charset="-128"/>
              </a:defRPr>
            </a:lvl1pPr>
          </a:lstStyle>
          <a:p>
            <a:pPr>
              <a:defRPr/>
            </a:pPr>
            <a:r>
              <a:rPr lang="en-US"/>
              <a:t>| PRESENTATION TITLE HERE | ©2011 YMCA of the USA</a:t>
            </a:r>
          </a:p>
        </p:txBody>
      </p:sp>
    </p:spTree>
    <p:extLst>
      <p:ext uri="{BB962C8B-B14F-4D97-AF65-F5344CB8AC3E}">
        <p14:creationId xmlns:p14="http://schemas.microsoft.com/office/powerpoint/2010/main" val="12265465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 or Agenda">
    <p:bg>
      <p:bgPr>
        <a:solidFill>
          <a:srgbClr val="01A4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040" y="240030"/>
            <a:ext cx="8366760" cy="630936"/>
          </a:xfrm>
        </p:spPr>
        <p:txBody>
          <a:bodyPr/>
          <a:lstStyle>
            <a:lvl1pPr algn="l">
              <a:defRPr sz="1950" b="1" cap="all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54014" y="1304925"/>
            <a:ext cx="8339137" cy="3281363"/>
          </a:xfrm>
        </p:spPr>
        <p:txBody>
          <a:bodyPr/>
          <a:lstStyle>
            <a:lvl1pPr marL="342900" indent="-342900">
              <a:spcBef>
                <a:spcPts val="396"/>
              </a:spcBef>
              <a:buFont typeface="+mj-lt"/>
              <a:buAutoNum type="arabicPeriod"/>
              <a:defRPr sz="1650" b="1" cap="all" baseline="0">
                <a:solidFill>
                  <a:schemeClr val="bg1"/>
                </a:solidFill>
              </a:defRPr>
            </a:lvl1pPr>
            <a:lvl2pPr marL="555498" indent="-212598">
              <a:spcBef>
                <a:spcPts val="396"/>
              </a:spcBef>
              <a:buSzPct val="100000"/>
              <a:buFont typeface="Verdana" pitchFamily="34" charset="0"/>
              <a:buChar char="–"/>
              <a:defRPr sz="1650" baseline="0">
                <a:solidFill>
                  <a:schemeClr val="bg1"/>
                </a:solidFill>
              </a:defRPr>
            </a:lvl2pPr>
            <a:lvl3pPr marL="857250">
              <a:spcBef>
                <a:spcPts val="396"/>
              </a:spcBef>
              <a:buFont typeface="Arial" pitchFamily="34" charset="0"/>
              <a:buChar char="•"/>
              <a:defRPr sz="1650" baseline="0">
                <a:solidFill>
                  <a:schemeClr val="bg1"/>
                </a:solidFill>
              </a:defRPr>
            </a:lvl3pPr>
            <a:lvl4pPr>
              <a:spcBef>
                <a:spcPts val="396"/>
              </a:spcBef>
              <a:defRPr sz="1650" baseline="0">
                <a:solidFill>
                  <a:schemeClr val="bg1"/>
                </a:solidFill>
              </a:defRPr>
            </a:lvl4pPr>
            <a:lvl5pPr>
              <a:spcBef>
                <a:spcPts val="396"/>
              </a:spcBef>
              <a:defRPr sz="1650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BDAB349-3667-49C9-9F9B-4DC9940C328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>
                <a:solidFill>
                  <a:schemeClr val="bg2"/>
                </a:solidFill>
                <a:latin typeface="Verdana" pitchFamily="64" charset="0"/>
                <a:ea typeface="ＭＳ Ｐゴシック" pitchFamily="64" charset="-128"/>
                <a:cs typeface="ＭＳ Ｐゴシック" pitchFamily="64" charset="-128"/>
              </a:defRPr>
            </a:lvl1pPr>
          </a:lstStyle>
          <a:p>
            <a:pPr>
              <a:defRPr/>
            </a:pPr>
            <a:r>
              <a:rPr lang="en-US"/>
              <a:t>| PRESENTATION TITLE HERE | ©2011 YMCA of the USA</a:t>
            </a:r>
          </a:p>
        </p:txBody>
      </p:sp>
    </p:spTree>
    <p:extLst>
      <p:ext uri="{BB962C8B-B14F-4D97-AF65-F5344CB8AC3E}">
        <p14:creationId xmlns:p14="http://schemas.microsoft.com/office/powerpoint/2010/main" val="14564814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bg>
      <p:bgPr>
        <a:solidFill>
          <a:srgbClr val="01A4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2608" y="281178"/>
            <a:ext cx="8732520" cy="1227582"/>
          </a:xfrm>
        </p:spPr>
        <p:txBody>
          <a:bodyPr/>
          <a:lstStyle>
            <a:lvl1pPr algn="l">
              <a:lnSpc>
                <a:spcPct val="80000"/>
              </a:lnSpc>
              <a:defRPr sz="4800" b="1" cap="all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5130227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with Name">
    <p:bg>
      <p:bgPr>
        <a:solidFill>
          <a:srgbClr val="01A4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813" y="350044"/>
            <a:ext cx="1376362" cy="7881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2608" y="2067116"/>
            <a:ext cx="8732520" cy="711803"/>
          </a:xfrm>
        </p:spPr>
        <p:txBody>
          <a:bodyPr/>
          <a:lstStyle>
            <a:lvl1pPr algn="l">
              <a:lnSpc>
                <a:spcPct val="80000"/>
              </a:lnSpc>
              <a:defRPr sz="4800" b="1" cap="all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76225" y="3350419"/>
            <a:ext cx="7048500" cy="1443038"/>
          </a:xfrm>
        </p:spPr>
        <p:txBody>
          <a:bodyPr/>
          <a:lstStyle>
            <a:lvl1pPr>
              <a:spcBef>
                <a:spcPts val="150"/>
              </a:spcBef>
              <a:defRPr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bg1"/>
                </a:solidFill>
              </a:defRPr>
            </a:lvl2pPr>
            <a:lvl3pPr>
              <a:defRPr b="1">
                <a:solidFill>
                  <a:schemeClr val="bg1"/>
                </a:solidFill>
              </a:defRPr>
            </a:lvl3pPr>
            <a:lvl4pPr>
              <a:defRPr b="1">
                <a:solidFill>
                  <a:schemeClr val="bg1"/>
                </a:solidFill>
              </a:defRPr>
            </a:lvl4pPr>
            <a:lvl5pPr>
              <a:defRPr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0299061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4014" y="1304925"/>
            <a:ext cx="4092575" cy="32813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98988" y="1304925"/>
            <a:ext cx="4094162" cy="32813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0A9DD8-B5B8-45BF-B751-AE7B6043CF3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>
                <a:latin typeface="Verdana" pitchFamily="64" charset="0"/>
                <a:ea typeface="ＭＳ Ｐゴシック" pitchFamily="64" charset="-128"/>
                <a:cs typeface="ＭＳ Ｐゴシック" pitchFamily="64" charset="-128"/>
              </a:defRPr>
            </a:lvl1pPr>
          </a:lstStyle>
          <a:p>
            <a:pPr>
              <a:defRPr/>
            </a:pPr>
            <a:r>
              <a:rPr lang="en-US"/>
              <a:t>| PRESENTATION TITLE HERE | ©2011 YMCA of the USA</a:t>
            </a:r>
          </a:p>
        </p:txBody>
      </p:sp>
    </p:spTree>
    <p:extLst>
      <p:ext uri="{BB962C8B-B14F-4D97-AF65-F5344CB8AC3E}">
        <p14:creationId xmlns:p14="http://schemas.microsoft.com/office/powerpoint/2010/main" val="77959407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48EC4F-1626-4135-8EDD-5B4EF05A84B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>
                <a:latin typeface="Verdana" pitchFamily="64" charset="0"/>
                <a:ea typeface="ＭＳ Ｐゴシック" pitchFamily="64" charset="-128"/>
                <a:cs typeface="ＭＳ Ｐゴシック" pitchFamily="64" charset="-128"/>
              </a:defRPr>
            </a:lvl1pPr>
          </a:lstStyle>
          <a:p>
            <a:pPr>
              <a:defRPr/>
            </a:pPr>
            <a:r>
              <a:rPr lang="en-US"/>
              <a:t>| PRESENTATION TITLE HERE | ©2011 YMCA of the USA</a:t>
            </a:r>
          </a:p>
        </p:txBody>
      </p:sp>
    </p:spTree>
    <p:extLst>
      <p:ext uri="{BB962C8B-B14F-4D97-AF65-F5344CB8AC3E}">
        <p14:creationId xmlns:p14="http://schemas.microsoft.com/office/powerpoint/2010/main" val="134991011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DE29F2-2124-40A7-9370-38AC51F2ABC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>
                <a:latin typeface="Verdana" pitchFamily="64" charset="0"/>
                <a:ea typeface="ＭＳ Ｐゴシック" pitchFamily="64" charset="-128"/>
                <a:cs typeface="ＭＳ Ｐゴシック" pitchFamily="64" charset="-128"/>
              </a:defRPr>
            </a:lvl1pPr>
          </a:lstStyle>
          <a:p>
            <a:pPr>
              <a:defRPr/>
            </a:pPr>
            <a:r>
              <a:rPr lang="en-US"/>
              <a:t>| PRESENTATION TITLE HERE | ©2011 YMCA of the USA</a:t>
            </a:r>
          </a:p>
        </p:txBody>
      </p:sp>
    </p:spTree>
    <p:extLst>
      <p:ext uri="{BB962C8B-B14F-4D97-AF65-F5344CB8AC3E}">
        <p14:creationId xmlns:p14="http://schemas.microsoft.com/office/powerpoint/2010/main" val="305670035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656991-A4C7-4D9B-B0CA-17664F83140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>
                <a:latin typeface="Verdana" pitchFamily="64" charset="0"/>
                <a:ea typeface="ＭＳ Ｐゴシック" pitchFamily="64" charset="-128"/>
                <a:cs typeface="ＭＳ Ｐゴシック" pitchFamily="64" charset="-128"/>
              </a:defRPr>
            </a:lvl1pPr>
          </a:lstStyle>
          <a:p>
            <a:pPr>
              <a:defRPr/>
            </a:pPr>
            <a:r>
              <a:rPr lang="en-US"/>
              <a:t>| PRESENTATION TITLE HERE | ©2011 YMCA of the USA</a:t>
            </a:r>
          </a:p>
        </p:txBody>
      </p:sp>
    </p:spTree>
    <p:extLst>
      <p:ext uri="{BB962C8B-B14F-4D97-AF65-F5344CB8AC3E}">
        <p14:creationId xmlns:p14="http://schemas.microsoft.com/office/powerpoint/2010/main" val="34911546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0C2551-B5D1-4998-BDE3-627E5FBCE1F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>
                <a:latin typeface="Verdana" pitchFamily="64" charset="0"/>
                <a:ea typeface="ＭＳ Ｐゴシック" pitchFamily="64" charset="-128"/>
                <a:cs typeface="ＭＳ Ｐゴシック" pitchFamily="64" charset="-128"/>
              </a:defRPr>
            </a:lvl1pPr>
          </a:lstStyle>
          <a:p>
            <a:pPr>
              <a:defRPr/>
            </a:pPr>
            <a:r>
              <a:rPr lang="en-US"/>
              <a:t>| PRESENTATION TITLE HERE | ©2011 YMCA of the USA</a:t>
            </a:r>
          </a:p>
        </p:txBody>
      </p:sp>
    </p:spTree>
    <p:extLst>
      <p:ext uri="{BB962C8B-B14F-4D97-AF65-F5344CB8AC3E}">
        <p14:creationId xmlns:p14="http://schemas.microsoft.com/office/powerpoint/2010/main" val="99865307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BBC829-48A4-4EFD-87DB-0616E93FF24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>
                <a:latin typeface="Verdana" pitchFamily="64" charset="0"/>
                <a:ea typeface="ＭＳ Ｐゴシック" pitchFamily="64" charset="-128"/>
                <a:cs typeface="ＭＳ Ｐゴシック" pitchFamily="64" charset="-128"/>
              </a:defRPr>
            </a:lvl1pPr>
          </a:lstStyle>
          <a:p>
            <a:pPr>
              <a:defRPr/>
            </a:pPr>
            <a:r>
              <a:rPr lang="en-US"/>
              <a:t>| PRESENTATION TITLE HERE | ©2011 YMCA of the USA</a:t>
            </a:r>
          </a:p>
        </p:txBody>
      </p:sp>
    </p:spTree>
    <p:extLst>
      <p:ext uri="{BB962C8B-B14F-4D97-AF65-F5344CB8AC3E}">
        <p14:creationId xmlns:p14="http://schemas.microsoft.com/office/powerpoint/2010/main" val="14728351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2 columns" type="twoColTx">
  <p:cSld name="TITLE_AND_TWO_COLUMNS">
    <p:bg>
      <p:bgPr>
        <a:solidFill>
          <a:schemeClr val="dk1"/>
        </a:solidFill>
        <a:effectLst/>
      </p:bgPr>
    </p:bg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oogle Shape;42;p7" descr="organic-02.png"/>
          <p:cNvPicPr preferRelativeResize="0"/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43" name="Google Shape;43;p7"/>
          <p:cNvSpPr/>
          <p:nvPr/>
        </p:nvSpPr>
        <p:spPr>
          <a:xfrm>
            <a:off x="2066125" y="715358"/>
            <a:ext cx="6596700" cy="3910800"/>
          </a:xfrm>
          <a:prstGeom prst="rect">
            <a:avLst/>
          </a:prstGeom>
          <a:solidFill>
            <a:srgbClr val="FFFFFF"/>
          </a:solidFill>
          <a:ln>
            <a:noFill/>
          </a:ln>
          <a:effectLst>
            <a:outerShdw dist="104775" dir="2700000" algn="bl" rotWithShape="0">
              <a:srgbClr val="20124D">
                <a:alpha val="15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4" name="Google Shape;44;p7"/>
          <p:cNvSpPr/>
          <p:nvPr/>
        </p:nvSpPr>
        <p:spPr>
          <a:xfrm>
            <a:off x="404975" y="441142"/>
            <a:ext cx="1980300" cy="198030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dist="104775" dir="2700000" algn="bl" rotWithShape="0">
              <a:srgbClr val="20124D">
                <a:alpha val="15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5" name="Google Shape;45;p7"/>
          <p:cNvSpPr txBox="1">
            <a:spLocks noGrp="1"/>
          </p:cNvSpPr>
          <p:nvPr>
            <p:ph type="title"/>
          </p:nvPr>
        </p:nvSpPr>
        <p:spPr>
          <a:xfrm>
            <a:off x="534610" y="541179"/>
            <a:ext cx="1613400" cy="857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1pPr>
            <a:lvl2pPr lvl="1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2pPr>
            <a:lvl3pPr lvl="2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3pPr>
            <a:lvl4pPr lvl="3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4pPr>
            <a:lvl5pPr lvl="4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5pPr>
            <a:lvl6pPr lvl="5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6pPr>
            <a:lvl7pPr lvl="6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7pPr>
            <a:lvl8pPr lvl="7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8pPr>
            <a:lvl9pPr lvl="8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46" name="Google Shape;46;p7"/>
          <p:cNvSpPr txBox="1">
            <a:spLocks noGrp="1"/>
          </p:cNvSpPr>
          <p:nvPr>
            <p:ph type="body" idx="1"/>
          </p:nvPr>
        </p:nvSpPr>
        <p:spPr>
          <a:xfrm>
            <a:off x="2757725" y="1123950"/>
            <a:ext cx="2700600" cy="3096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1pPr>
            <a:lvl2pPr marL="914400" lvl="1" indent="-342900">
              <a:spcBef>
                <a:spcPts val="0"/>
              </a:spcBef>
              <a:spcAft>
                <a:spcPts val="0"/>
              </a:spcAft>
              <a:buSzPts val="1800"/>
              <a:buChar char="▸"/>
              <a:defRPr sz="1800"/>
            </a:lvl2pPr>
            <a:lvl3pPr marL="1371600" lvl="2" indent="-342900">
              <a:spcBef>
                <a:spcPts val="0"/>
              </a:spcBef>
              <a:spcAft>
                <a:spcPts val="0"/>
              </a:spcAft>
              <a:buSzPts val="1800"/>
              <a:buChar char="◦"/>
              <a:defRPr sz="1800"/>
            </a:lvl3pPr>
            <a:lvl4pPr marL="1828800" lvl="3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4pPr>
            <a:lvl5pPr marL="2286000" lvl="4" indent="-342900">
              <a:spcBef>
                <a:spcPts val="0"/>
              </a:spcBef>
              <a:spcAft>
                <a:spcPts val="0"/>
              </a:spcAft>
              <a:buSzPts val="1800"/>
              <a:buChar char="○"/>
              <a:defRPr/>
            </a:lvl5pPr>
            <a:lvl6pPr marL="2743200" lvl="5" indent="-342900">
              <a:spcBef>
                <a:spcPts val="0"/>
              </a:spcBef>
              <a:spcAft>
                <a:spcPts val="0"/>
              </a:spcAft>
              <a:buSzPts val="1800"/>
              <a:buChar char="■"/>
              <a:defRPr/>
            </a:lvl6pPr>
            <a:lvl7pPr marL="3200400" lvl="6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7pPr>
            <a:lvl8pPr marL="3657600" lvl="7" indent="-342900">
              <a:spcBef>
                <a:spcPts val="0"/>
              </a:spcBef>
              <a:spcAft>
                <a:spcPts val="0"/>
              </a:spcAft>
              <a:buSzPts val="1800"/>
              <a:buChar char="○"/>
              <a:defRPr/>
            </a:lvl8pPr>
            <a:lvl9pPr marL="4114800" lvl="8" indent="-342900">
              <a:spcBef>
                <a:spcPts val="0"/>
              </a:spcBef>
              <a:spcAft>
                <a:spcPts val="0"/>
              </a:spcAft>
              <a:buSzPts val="18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7"/>
          <p:cNvSpPr txBox="1">
            <a:spLocks noGrp="1"/>
          </p:cNvSpPr>
          <p:nvPr>
            <p:ph type="body" idx="2"/>
          </p:nvPr>
        </p:nvSpPr>
        <p:spPr>
          <a:xfrm>
            <a:off x="5620903" y="1123950"/>
            <a:ext cx="2700600" cy="3096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spcBef>
                <a:spcPts val="600"/>
              </a:spcBef>
              <a:spcAft>
                <a:spcPts val="0"/>
              </a:spcAft>
              <a:buSzPts val="1800"/>
              <a:buChar char="▹"/>
              <a:defRPr sz="1800"/>
            </a:lvl1pPr>
            <a:lvl2pPr marL="914400" lvl="1" indent="-342900">
              <a:spcBef>
                <a:spcPts val="0"/>
              </a:spcBef>
              <a:spcAft>
                <a:spcPts val="0"/>
              </a:spcAft>
              <a:buSzPts val="1800"/>
              <a:buChar char="▸"/>
              <a:defRPr sz="1800"/>
            </a:lvl2pPr>
            <a:lvl3pPr marL="1371600" lvl="2" indent="-342900">
              <a:spcBef>
                <a:spcPts val="0"/>
              </a:spcBef>
              <a:spcAft>
                <a:spcPts val="0"/>
              </a:spcAft>
              <a:buSzPts val="1800"/>
              <a:buChar char="◦"/>
              <a:defRPr sz="1800"/>
            </a:lvl3pPr>
            <a:lvl4pPr marL="1828800" lvl="3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4pPr>
            <a:lvl5pPr marL="2286000" lvl="4" indent="-342900">
              <a:spcBef>
                <a:spcPts val="0"/>
              </a:spcBef>
              <a:spcAft>
                <a:spcPts val="0"/>
              </a:spcAft>
              <a:buSzPts val="1800"/>
              <a:buChar char="○"/>
              <a:defRPr/>
            </a:lvl5pPr>
            <a:lvl6pPr marL="2743200" lvl="5" indent="-342900">
              <a:spcBef>
                <a:spcPts val="0"/>
              </a:spcBef>
              <a:spcAft>
                <a:spcPts val="0"/>
              </a:spcAft>
              <a:buSzPts val="1800"/>
              <a:buChar char="■"/>
              <a:defRPr/>
            </a:lvl6pPr>
            <a:lvl7pPr marL="3200400" lvl="6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7pPr>
            <a:lvl8pPr marL="3657600" lvl="7" indent="-342900">
              <a:spcBef>
                <a:spcPts val="0"/>
              </a:spcBef>
              <a:spcAft>
                <a:spcPts val="0"/>
              </a:spcAft>
              <a:buSzPts val="1800"/>
              <a:buChar char="○"/>
              <a:defRPr/>
            </a:lvl8pPr>
            <a:lvl9pPr marL="4114800" lvl="8" indent="-342900">
              <a:spcBef>
                <a:spcPts val="0"/>
              </a:spcBef>
              <a:spcAft>
                <a:spcPts val="0"/>
              </a:spcAft>
              <a:buSzPts val="1800"/>
              <a:buChar char="■"/>
              <a:defRPr/>
            </a:lvl9pPr>
          </a:lstStyle>
          <a:p>
            <a:endParaRPr/>
          </a:p>
        </p:txBody>
      </p:sp>
      <p:sp>
        <p:nvSpPr>
          <p:cNvPr id="48" name="Google Shape;48;p7"/>
          <p:cNvSpPr txBox="1">
            <a:spLocks noGrp="1"/>
          </p:cNvSpPr>
          <p:nvPr>
            <p:ph type="sldNum" idx="12"/>
          </p:nvPr>
        </p:nvSpPr>
        <p:spPr>
          <a:xfrm>
            <a:off x="8556784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6F26FF-A929-452C-A618-3EEE81BE390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>
                <a:latin typeface="Verdana" pitchFamily="64" charset="0"/>
                <a:ea typeface="ＭＳ Ｐゴシック" pitchFamily="64" charset="-128"/>
                <a:cs typeface="ＭＳ Ｐゴシック" pitchFamily="64" charset="-128"/>
              </a:defRPr>
            </a:lvl1pPr>
          </a:lstStyle>
          <a:p>
            <a:pPr>
              <a:defRPr/>
            </a:pPr>
            <a:r>
              <a:rPr lang="en-US"/>
              <a:t>| PRESENTATION TITLE HERE | ©2011 YMCA of the USA</a:t>
            </a:r>
          </a:p>
        </p:txBody>
      </p:sp>
    </p:spTree>
    <p:extLst>
      <p:ext uri="{BB962C8B-B14F-4D97-AF65-F5344CB8AC3E}">
        <p14:creationId xmlns:p14="http://schemas.microsoft.com/office/powerpoint/2010/main" val="407723657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0351" y="246460"/>
            <a:ext cx="2092325" cy="433982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28614" y="246460"/>
            <a:ext cx="6129337" cy="433982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149392-59BB-4024-ADA1-A33B534F62C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>
                <a:latin typeface="Verdana" pitchFamily="64" charset="0"/>
                <a:ea typeface="ＭＳ Ｐゴシック" pitchFamily="64" charset="-128"/>
                <a:cs typeface="ＭＳ Ｐゴシック" pitchFamily="64" charset="-128"/>
              </a:defRPr>
            </a:lvl1pPr>
          </a:lstStyle>
          <a:p>
            <a:pPr>
              <a:defRPr/>
            </a:pPr>
            <a:r>
              <a:rPr lang="en-US"/>
              <a:t>| PRESENTATION TITLE HERE | ©2011 YMCA of the USA</a:t>
            </a:r>
          </a:p>
        </p:txBody>
      </p:sp>
    </p:spTree>
    <p:extLst>
      <p:ext uri="{BB962C8B-B14F-4D97-AF65-F5344CB8AC3E}">
        <p14:creationId xmlns:p14="http://schemas.microsoft.com/office/powerpoint/2010/main" val="134368016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AF_You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464" y="350044"/>
            <a:ext cx="1374775" cy="7881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5901" y="802482"/>
            <a:ext cx="1692275" cy="345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95276" y="1689497"/>
            <a:ext cx="8697913" cy="1228725"/>
          </a:xfrm>
        </p:spPr>
        <p:txBody>
          <a:bodyPr/>
          <a:lstStyle>
            <a:lvl1pPr>
              <a:lnSpc>
                <a:spcPct val="80000"/>
              </a:lnSpc>
              <a:defRPr sz="48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8138" y="2906316"/>
            <a:ext cx="4572000" cy="351234"/>
          </a:xfrm>
        </p:spPr>
        <p:txBody>
          <a:bodyPr/>
          <a:lstStyle>
            <a:lvl1pPr>
              <a:spcBef>
                <a:spcPts val="0"/>
              </a:spcBef>
              <a:defRPr sz="900" cap="all" baseline="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356617" y="3243834"/>
            <a:ext cx="1901825" cy="414338"/>
          </a:xfrm>
        </p:spPr>
        <p:txBody>
          <a:bodyPr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2040142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AF_Healt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464" y="350044"/>
            <a:ext cx="1374775" cy="7881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5901" y="802482"/>
            <a:ext cx="1692275" cy="345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95276" y="1689497"/>
            <a:ext cx="8697913" cy="1228725"/>
          </a:xfrm>
        </p:spPr>
        <p:txBody>
          <a:bodyPr/>
          <a:lstStyle>
            <a:lvl1pPr>
              <a:lnSpc>
                <a:spcPct val="80000"/>
              </a:lnSpc>
              <a:defRPr sz="48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8138" y="2906316"/>
            <a:ext cx="4572000" cy="351234"/>
          </a:xfrm>
        </p:spPr>
        <p:txBody>
          <a:bodyPr/>
          <a:lstStyle>
            <a:lvl1pPr>
              <a:spcBef>
                <a:spcPts val="0"/>
              </a:spcBef>
              <a:defRPr sz="900" cap="all" baseline="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356617" y="3243834"/>
            <a:ext cx="1901825" cy="414338"/>
          </a:xfrm>
        </p:spPr>
        <p:txBody>
          <a:bodyPr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0854490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AF_Soc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464" y="350044"/>
            <a:ext cx="1374775" cy="7881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5901" y="802482"/>
            <a:ext cx="1692275" cy="345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95276" y="1689497"/>
            <a:ext cx="8697913" cy="1228725"/>
          </a:xfrm>
        </p:spPr>
        <p:txBody>
          <a:bodyPr/>
          <a:lstStyle>
            <a:lvl1pPr>
              <a:lnSpc>
                <a:spcPct val="80000"/>
              </a:lnSpc>
              <a:defRPr sz="48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8138" y="2906316"/>
            <a:ext cx="4572000" cy="351234"/>
          </a:xfrm>
        </p:spPr>
        <p:txBody>
          <a:bodyPr/>
          <a:lstStyle>
            <a:lvl1pPr>
              <a:spcBef>
                <a:spcPts val="0"/>
              </a:spcBef>
              <a:defRPr sz="900" cap="all" baseline="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356617" y="3243834"/>
            <a:ext cx="1901825" cy="414338"/>
          </a:xfrm>
        </p:spPr>
        <p:txBody>
          <a:bodyPr/>
          <a:lstStyle>
            <a:lvl1pPr>
              <a:defRPr sz="9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4257334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DD9960-406F-4187-A0E6-BD19C684039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36995" y="689788"/>
            <a:ext cx="6378206" cy="2663456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05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427E7FE-647D-4B2F-BA13-AB3ED4C5CF5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36995" y="3596463"/>
            <a:ext cx="6378206" cy="813392"/>
          </a:xfrm>
        </p:spPr>
        <p:txBody>
          <a:bodyPr>
            <a:normAutofit/>
          </a:bodyPr>
          <a:lstStyle>
            <a:lvl1pPr marL="0" indent="0" algn="l">
              <a:lnSpc>
                <a:spcPct val="120000"/>
              </a:lnSpc>
              <a:buNone/>
              <a:defRPr sz="1200" b="1" cap="all" spc="225" baseline="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5EF785-E0A7-4496-A5BA-49B0156F262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723529" y="4824902"/>
            <a:ext cx="1819835" cy="275881"/>
          </a:xfrm>
        </p:spPr>
        <p:txBody>
          <a:bodyPr/>
          <a:lstStyle/>
          <a:p>
            <a:fld id="{32637B58-87C1-446D-BDA9-B06F4BCF7782}" type="datetimeFigureOut">
              <a:rPr lang="en-US" smtClean="0"/>
              <a:t>4/1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42C627-38A1-4A14-8822-D8D33751CA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EBE346-5F34-48CD-8928-DA8567AEDD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43364" y="4824902"/>
            <a:ext cx="527086" cy="275882"/>
          </a:xfrm>
        </p:spPr>
        <p:txBody>
          <a:bodyPr/>
          <a:lstStyle/>
          <a:p>
            <a:fld id="{08AB70BE-1769-45B8-85A6-0C837432C7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781663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99839C-7D7A-49F1-8BFE-85C6C7D78B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8943" y="443001"/>
            <a:ext cx="7436144" cy="996753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3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E748DC-EBB9-44C6-8566-38F87FF7FD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800" y="1439755"/>
            <a:ext cx="7436145" cy="3092489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342198-F50F-4C8A-9BD9-4CC3950F8FA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992464" y="4825893"/>
            <a:ext cx="1550900" cy="273844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32637B58-87C1-446D-BDA9-B06F4BCF7782}" type="datetimeFigureOut">
              <a:rPr lang="en-US" smtClean="0"/>
              <a:t>4/1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A2F5AB-D8C6-4AE1-8FAE-CD0499CB6D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0302" y="4828032"/>
            <a:ext cx="2831936" cy="273844"/>
          </a:xfrm>
        </p:spPr>
        <p:txBody>
          <a:bodyPr/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5C58D8-B582-4DB3-A94D-0562401997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43364" y="4825893"/>
            <a:ext cx="519946" cy="2738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8AB70BE-1769-45B8-85A6-0C837432C7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431390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F8A94B-011C-4B13-8C12-E91BF7A400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000" y="990600"/>
            <a:ext cx="6858000" cy="2321860"/>
          </a:xfrm>
        </p:spPr>
        <p:txBody>
          <a:bodyPr anchor="b">
            <a:normAutofit/>
          </a:bodyPr>
          <a:lstStyle>
            <a:lvl1pPr>
              <a:defRPr sz="405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16D5F3-887C-4A8F-842A-0294A9FB08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43000" y="3442098"/>
            <a:ext cx="6858001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94588B-131A-42F3-B76C-62BD65E480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637B58-87C1-446D-BDA9-B06F4BCF7782}" type="datetimeFigureOut">
              <a:rPr lang="en-US" smtClean="0"/>
              <a:t>4/1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11AB28-20BD-4CD8-9840-985C3EDBA1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53C85C-3801-46F0-A100-616F5F2F82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AB70BE-1769-45B8-85A6-0C837432C7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636900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F5CB06-0454-4BF1-8011-F8B1A95954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920A70-D33B-4461-B74C-3F59ADB1614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56610" y="1622794"/>
            <a:ext cx="3458240" cy="300992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881BDF9-836E-431C-8EFA-417A9BEE9F4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92946" y="1622794"/>
            <a:ext cx="3640322" cy="300992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CBD9F59-B591-4E2F-899E-3CA78CE82D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637B58-87C1-446D-BDA9-B06F4BCF7782}" type="datetimeFigureOut">
              <a:rPr lang="en-US" smtClean="0"/>
              <a:t>4/1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6CFD12-B3EC-432C-B264-8AB571CAAF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8F3CBBA-71B3-4857-80E7-525E89FD90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AB70BE-1769-45B8-85A6-0C837432C7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930164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C51886-4F39-4E3E-948D-DBC73F267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2C7B2A-B6BE-46FD-9278-A5246BF7EEB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>
            <a:normAutofit/>
          </a:bodyPr>
          <a:lstStyle>
            <a:lvl1pPr marL="0" indent="0">
              <a:buNone/>
              <a:defRPr sz="1350" b="1" cap="all" spc="225" baseline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AE85295-E4B5-4D75-954F-B07A2F4CABF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976718"/>
            <a:ext cx="3868340" cy="2665529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87ABF0-C78D-4589-8FA5-0D6238B4B08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>
            <a:normAutofit/>
          </a:bodyPr>
          <a:lstStyle>
            <a:lvl1pPr marL="0" indent="0">
              <a:buNone/>
              <a:defRPr sz="1350" b="1" cap="all" spc="225" baseline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C6A4064-2E0A-4FC3-837B-14EC0EF3A65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976717"/>
            <a:ext cx="3887391" cy="266553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8E3C169-8D29-4CC4-9581-748178F3C0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637B58-87C1-446D-BDA9-B06F4BCF7782}" type="datetimeFigureOut">
              <a:rPr lang="en-US" smtClean="0"/>
              <a:t>4/11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14EC709-AAD9-475C-AC6A-943A8E872A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20C0E3E-587D-46EB-AAF5-011C137B03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AB70BE-1769-45B8-85A6-0C837432C7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19570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3 columns">
  <p:cSld name="TITLE_AND_TWO_COLUMNS_1">
    <p:bg>
      <p:bgPr>
        <a:solidFill>
          <a:schemeClr val="dk1"/>
        </a:solidFill>
        <a:effectLst/>
      </p:bgPr>
    </p:bg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Google Shape;50;p8" descr="organic-03.png"/>
          <p:cNvPicPr preferRelativeResize="0"/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51" name="Google Shape;51;p8"/>
          <p:cNvSpPr/>
          <p:nvPr/>
        </p:nvSpPr>
        <p:spPr>
          <a:xfrm>
            <a:off x="2066125" y="715358"/>
            <a:ext cx="6596700" cy="3910800"/>
          </a:xfrm>
          <a:prstGeom prst="rect">
            <a:avLst/>
          </a:prstGeom>
          <a:solidFill>
            <a:srgbClr val="FFFFFF"/>
          </a:solidFill>
          <a:ln>
            <a:noFill/>
          </a:ln>
          <a:effectLst>
            <a:outerShdw dist="104775" dir="2700000" algn="bl" rotWithShape="0">
              <a:srgbClr val="20124D">
                <a:alpha val="15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2" name="Google Shape;52;p8"/>
          <p:cNvSpPr/>
          <p:nvPr/>
        </p:nvSpPr>
        <p:spPr>
          <a:xfrm>
            <a:off x="404975" y="441142"/>
            <a:ext cx="1980300" cy="198030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dist="104775" dir="2700000" algn="bl" rotWithShape="0">
              <a:srgbClr val="20124D">
                <a:alpha val="15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3" name="Google Shape;53;p8"/>
          <p:cNvSpPr txBox="1">
            <a:spLocks noGrp="1"/>
          </p:cNvSpPr>
          <p:nvPr>
            <p:ph type="title"/>
          </p:nvPr>
        </p:nvSpPr>
        <p:spPr>
          <a:xfrm>
            <a:off x="381000" y="530127"/>
            <a:ext cx="1778100" cy="857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54" name="Google Shape;54;p8"/>
          <p:cNvSpPr txBox="1">
            <a:spLocks noGrp="1"/>
          </p:cNvSpPr>
          <p:nvPr>
            <p:ph type="body" idx="1"/>
          </p:nvPr>
        </p:nvSpPr>
        <p:spPr>
          <a:xfrm>
            <a:off x="2652481" y="1054700"/>
            <a:ext cx="1855500" cy="3289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 rtl="0">
              <a:spcBef>
                <a:spcPts val="600"/>
              </a:spcBef>
              <a:spcAft>
                <a:spcPts val="0"/>
              </a:spcAft>
              <a:buSzPts val="1400"/>
              <a:buChar char="▹"/>
              <a:defRPr sz="1400"/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▸"/>
              <a:defRPr sz="1400"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◦"/>
              <a:defRPr sz="1400"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400"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400"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400"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400"/>
            </a:lvl9pPr>
          </a:lstStyle>
          <a:p>
            <a:endParaRPr/>
          </a:p>
        </p:txBody>
      </p:sp>
      <p:sp>
        <p:nvSpPr>
          <p:cNvPr id="55" name="Google Shape;55;p8"/>
          <p:cNvSpPr txBox="1">
            <a:spLocks noGrp="1"/>
          </p:cNvSpPr>
          <p:nvPr>
            <p:ph type="body" idx="2"/>
          </p:nvPr>
        </p:nvSpPr>
        <p:spPr>
          <a:xfrm>
            <a:off x="4603343" y="1054700"/>
            <a:ext cx="1855500" cy="3289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 rtl="0">
              <a:spcBef>
                <a:spcPts val="600"/>
              </a:spcBef>
              <a:spcAft>
                <a:spcPts val="0"/>
              </a:spcAft>
              <a:buSzPts val="1400"/>
              <a:buChar char="▹"/>
              <a:defRPr sz="1400"/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▸"/>
              <a:defRPr sz="1400"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◦"/>
              <a:defRPr sz="1400"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400"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400"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400"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400"/>
            </a:lvl9pPr>
          </a:lstStyle>
          <a:p>
            <a:endParaRPr/>
          </a:p>
        </p:txBody>
      </p:sp>
      <p:sp>
        <p:nvSpPr>
          <p:cNvPr id="56" name="Google Shape;56;p8"/>
          <p:cNvSpPr txBox="1">
            <a:spLocks noGrp="1"/>
          </p:cNvSpPr>
          <p:nvPr>
            <p:ph type="body" idx="3"/>
          </p:nvPr>
        </p:nvSpPr>
        <p:spPr>
          <a:xfrm>
            <a:off x="6554205" y="1054700"/>
            <a:ext cx="1855500" cy="3289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 rtl="0">
              <a:spcBef>
                <a:spcPts val="600"/>
              </a:spcBef>
              <a:spcAft>
                <a:spcPts val="0"/>
              </a:spcAft>
              <a:buSzPts val="1400"/>
              <a:buChar char="▹"/>
              <a:defRPr sz="1400"/>
            </a:lvl1pPr>
            <a:lvl2pPr marL="914400" lvl="1" indent="-317500" rtl="0">
              <a:spcBef>
                <a:spcPts val="0"/>
              </a:spcBef>
              <a:spcAft>
                <a:spcPts val="0"/>
              </a:spcAft>
              <a:buSzPts val="1400"/>
              <a:buChar char="▸"/>
              <a:defRPr sz="1400"/>
            </a:lvl2pPr>
            <a:lvl3pPr marL="1371600" lvl="2" indent="-317500" rtl="0">
              <a:spcBef>
                <a:spcPts val="0"/>
              </a:spcBef>
              <a:spcAft>
                <a:spcPts val="0"/>
              </a:spcAft>
              <a:buSzPts val="1400"/>
              <a:buChar char="◦"/>
              <a:defRPr sz="1400"/>
            </a:lvl3pPr>
            <a:lvl4pPr marL="1828800" lvl="3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4pPr>
            <a:lvl5pPr marL="2286000" lvl="4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400"/>
            </a:lvl5pPr>
            <a:lvl6pPr marL="2743200" lvl="5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400"/>
            </a:lvl6pPr>
            <a:lvl7pPr marL="3200400" lvl="6" indent="-317500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7pPr>
            <a:lvl8pPr marL="3657600" lvl="7" indent="-317500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400"/>
            </a:lvl8pPr>
            <a:lvl9pPr marL="4114800" lvl="8" indent="-317500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400"/>
            </a:lvl9pPr>
          </a:lstStyle>
          <a:p>
            <a:endParaRPr/>
          </a:p>
        </p:txBody>
      </p:sp>
      <p:sp>
        <p:nvSpPr>
          <p:cNvPr id="57" name="Google Shape;57;p8"/>
          <p:cNvSpPr txBox="1">
            <a:spLocks noGrp="1"/>
          </p:cNvSpPr>
          <p:nvPr>
            <p:ph type="sldNum" idx="12"/>
          </p:nvPr>
        </p:nvSpPr>
        <p:spPr>
          <a:xfrm>
            <a:off x="8556784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A3E062-B7F5-4D30-B416-1BBB4A7D0F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1BDFF7A-EBD3-4FEB-8451-5D73550691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637B58-87C1-446D-BDA9-B06F4BCF7782}" type="datetimeFigureOut">
              <a:rPr lang="en-US" smtClean="0"/>
              <a:t>4/1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F54A2D-2C4B-4E1D-AC16-E3B1F1DDB5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11F373-DB96-4AEA-8E3E-7EDEA213D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AB70BE-1769-45B8-85A6-0C837432C7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879811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2485D4-41D3-4182-8DFE-2E0713EC0B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637B58-87C1-446D-BDA9-B06F4BCF7782}" type="datetimeFigureOut">
              <a:rPr lang="en-US" smtClean="0"/>
              <a:t>4/1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753C5C-8415-4BF0-810D-A4C22F695E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5EBFEA-4321-48C4-9CA1-43517540C6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AB70BE-1769-45B8-85A6-0C837432C7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356295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E09F8C-8071-4BE5-AD6F-C98F481D1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4135B3-14BA-4A88-B6B3-88B77B1C63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77C3A4D-5B69-44B4-B17F-770E83F008E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4F1C41D-2A59-4512-8034-6DB705787D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637B58-87C1-446D-BDA9-B06F4BCF7782}" type="datetimeFigureOut">
              <a:rPr lang="en-US" smtClean="0"/>
              <a:t>4/1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D85C494-778C-4EE6-9402-242E1CDD9A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F5677B9-C338-4033-9AFE-B8B81C5D81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AB70BE-1769-45B8-85A6-0C837432C7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90879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AB77DE-4C2E-476F-A419-57470FB66D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A9FD1A0-93AE-469A-ADDF-2453B64CAAF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C119C9C-EF97-4910-9419-6D7202609ED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7A87172-A64E-4C38-82ED-2A7050B0FB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637B58-87C1-446D-BDA9-B06F4BCF7782}" type="datetimeFigureOut">
              <a:rPr lang="en-US" smtClean="0"/>
              <a:t>4/1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0C3E24-28E2-4512-BEA0-DAEC5E8465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1F04F0D-DA84-434D-B136-BEE9FD80AB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AB70BE-1769-45B8-85A6-0C837432C7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571727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AB05F0-2B44-47BC-86B3-58E2C70806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FA5B5DA-7628-4AC1-8EAE-5010C2A9812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EA4E7C3-7830-49F3-9F45-4B2F2B4CAC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637B58-87C1-446D-BDA9-B06F4BCF7782}" type="datetimeFigureOut">
              <a:rPr lang="en-US" smtClean="0"/>
              <a:t>4/1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45E328-AD12-449C-BE6E-76DF005E86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0F374F-390D-49D8-A7C8-5BEFA35323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AB70BE-1769-45B8-85A6-0C837432C7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475945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C50F530-2925-4F98-89EC-95C2EC4769D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1A79366-3281-483D-8731-0D01B2B24A3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5ED8B2-BE7F-4417-8A8A-A95C8BB708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637B58-87C1-446D-BDA9-B06F4BCF7782}" type="datetimeFigureOut">
              <a:rPr lang="en-US" smtClean="0"/>
              <a:t>4/1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1A0D96-671F-4A85-89C6-946624CB1E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5BA434-2E32-4719-B45C-0490D68526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AB70BE-1769-45B8-85A6-0C837432C7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362922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557852-4905-1A77-535A-8C66D6AA6E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2920" y="4070482"/>
            <a:ext cx="6103620" cy="422909"/>
          </a:xfrm>
        </p:spPr>
        <p:txBody>
          <a:bodyPr anchor="t">
            <a:normAutofit/>
          </a:bodyPr>
          <a:lstStyle>
            <a:lvl1pPr algn="l">
              <a:defRPr sz="2100" spc="-38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C9011B4-D347-F28B-7BEE-C214F5167D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2920" y="4401952"/>
            <a:ext cx="6103620" cy="422909"/>
          </a:xfrm>
        </p:spPr>
        <p:txBody>
          <a:bodyPr anchor="t">
            <a:noAutofit/>
          </a:bodyPr>
          <a:lstStyle>
            <a:lvl1pPr marL="0" indent="0" algn="l">
              <a:buNone/>
              <a:defRPr sz="2100" b="1" spc="-38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7419305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- Mot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557852-4905-1A77-535A-8C66D6AA6E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2920" y="4070482"/>
            <a:ext cx="6103620" cy="422909"/>
          </a:xfrm>
        </p:spPr>
        <p:txBody>
          <a:bodyPr anchor="t">
            <a:normAutofit/>
          </a:bodyPr>
          <a:lstStyle>
            <a:lvl1pPr algn="l">
              <a:defRPr sz="2100" spc="-38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C9011B4-D347-F28B-7BEE-C214F5167D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2920" y="4401952"/>
            <a:ext cx="6103620" cy="422909"/>
          </a:xfrm>
        </p:spPr>
        <p:txBody>
          <a:bodyPr anchor="t">
            <a:noAutofit/>
          </a:bodyPr>
          <a:lstStyle>
            <a:lvl1pPr marL="0" indent="0" algn="l">
              <a:buNone/>
              <a:defRPr sz="2100" b="1" spc="-38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42239C0-B6CD-E244-8F7A-EA5774B4AEC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2921" y="530094"/>
            <a:ext cx="1588208" cy="656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550427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00BF6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557852-4905-1A77-535A-8C66D6AA6E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68930" y="2411780"/>
            <a:ext cx="6103620" cy="348766"/>
          </a:xfrm>
        </p:spPr>
        <p:txBody>
          <a:bodyPr anchor="t">
            <a:noAutofit/>
          </a:bodyPr>
          <a:lstStyle>
            <a:lvl1pPr algn="l"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C9011B4-D347-F28B-7BEE-C214F5167D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68930" y="2711060"/>
            <a:ext cx="6103620" cy="327634"/>
          </a:xfrm>
        </p:spPr>
        <p:txBody>
          <a:bodyPr anchor="t">
            <a:noAutofit/>
          </a:bodyPr>
          <a:lstStyle>
            <a:lvl1pPr marL="0" indent="0" algn="l">
              <a:buNone/>
              <a:defRPr sz="1800" b="1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977BE45-3E19-4441-729D-5F7FD523A9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2921" y="2274833"/>
            <a:ext cx="1945037" cy="80249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516EF98-ABD5-159E-643E-93F349FDC01C}"/>
              </a:ext>
            </a:extLst>
          </p:cNvPr>
          <p:cNvSpPr txBox="1"/>
          <p:nvPr userDrawn="1"/>
        </p:nvSpPr>
        <p:spPr>
          <a:xfrm>
            <a:off x="502920" y="4886186"/>
            <a:ext cx="8469630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675">
                <a:solidFill>
                  <a:schemeClr val="tx1"/>
                </a:solidFill>
                <a:latin typeface="Tenorite" pitchFamily="2" charset="0"/>
              </a:rPr>
              <a:t>©2022 Beep, Inc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74784196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chemeClr val="bg1">
            <a:lumMod val="95000"/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820D5E-C7ED-76B5-9B30-D056972EF0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38128"/>
            <a:ext cx="7666451" cy="219943"/>
          </a:xfrm>
        </p:spPr>
        <p:txBody>
          <a:bodyPr>
            <a:noAutofit/>
          </a:bodyPr>
          <a:lstStyle>
            <a:lvl1pPr>
              <a:defRPr sz="15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34DF8E-12AA-015D-43C7-D4ECEFBD1BC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004468"/>
            <a:ext cx="7666451" cy="359565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224364-CCC1-1F74-10E5-C8D3EDECEC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55083" y="4767893"/>
            <a:ext cx="274055" cy="273844"/>
          </a:xfrm>
          <a:prstGeom prst="ellipse">
            <a:avLst/>
          </a:prstGeom>
          <a:noFill/>
        </p:spPr>
        <p:txBody>
          <a:bodyPr lIns="0" tIns="0" rIns="0" bIns="0"/>
          <a:lstStyle>
            <a:lvl1pPr algn="ctr">
              <a:defRPr sz="825" b="1">
                <a:solidFill>
                  <a:schemeClr val="tx2"/>
                </a:solidFill>
              </a:defRPr>
            </a:lvl1pPr>
          </a:lstStyle>
          <a:p>
            <a:fld id="{DD62B0A7-7A19-8C4C-BF0B-AC6965798314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D8C063F-CD2A-B930-6289-3DA88C42AB76}"/>
              </a:ext>
            </a:extLst>
          </p:cNvPr>
          <p:cNvGrpSpPr/>
          <p:nvPr userDrawn="1"/>
        </p:nvGrpSpPr>
        <p:grpSpPr>
          <a:xfrm>
            <a:off x="434878" y="172045"/>
            <a:ext cx="8385272" cy="310607"/>
            <a:chOff x="579837" y="812235"/>
            <a:chExt cx="11180363" cy="41414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FFD4AC96-C647-C29F-DFEA-EEA0C0ED574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3531" t="-14482" b="-2"/>
            <a:stretch/>
          </p:blipFill>
          <p:spPr>
            <a:xfrm>
              <a:off x="585216" y="812235"/>
              <a:ext cx="11174984" cy="399019"/>
            </a:xfrm>
            <a:prstGeom prst="rect">
              <a:avLst/>
            </a:prstGeom>
          </p:spPr>
        </p:pic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20CAA26-6410-3A8D-B667-C57153547017}"/>
                </a:ext>
              </a:extLst>
            </p:cNvPr>
            <p:cNvSpPr/>
            <p:nvPr userDrawn="1"/>
          </p:nvSpPr>
          <p:spPr>
            <a:xfrm>
              <a:off x="579837" y="1173114"/>
              <a:ext cx="53263" cy="53263"/>
            </a:xfrm>
            <a:prstGeom prst="ellipse">
              <a:avLst/>
            </a:prstGeom>
            <a:solidFill>
              <a:srgbClr val="34B2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</p:spTree>
    <p:extLst>
      <p:ext uri="{BB962C8B-B14F-4D97-AF65-F5344CB8AC3E}">
        <p14:creationId xmlns:p14="http://schemas.microsoft.com/office/powerpoint/2010/main" val="38262257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bg>
      <p:bgPr>
        <a:solidFill>
          <a:schemeClr val="dk1"/>
        </a:solidFill>
        <a:effectLst/>
      </p:bgPr>
    </p:bg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Google Shape;59;p9" descr="organic-01.png"/>
          <p:cNvPicPr preferRelativeResize="0"/>
          <p:nvPr/>
        </p:nvPicPr>
        <p:blipFill>
          <a:blip r:embed="rId2">
            <a:alphaModFix amt="4000"/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60" name="Google Shape;60;p9"/>
          <p:cNvSpPr/>
          <p:nvPr/>
        </p:nvSpPr>
        <p:spPr>
          <a:xfrm>
            <a:off x="404975" y="441142"/>
            <a:ext cx="1980300" cy="198030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dist="104775" dir="2700000" algn="bl" rotWithShape="0">
              <a:srgbClr val="20124D">
                <a:alpha val="15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" name="Google Shape;61;p9"/>
          <p:cNvSpPr txBox="1">
            <a:spLocks noGrp="1"/>
          </p:cNvSpPr>
          <p:nvPr>
            <p:ph type="title"/>
          </p:nvPr>
        </p:nvSpPr>
        <p:spPr>
          <a:xfrm>
            <a:off x="428171" y="543067"/>
            <a:ext cx="1729500" cy="161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1pPr>
            <a:lvl2pPr lvl="1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2pPr>
            <a:lvl3pPr lvl="2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3pPr>
            <a:lvl4pPr lvl="3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4pPr>
            <a:lvl5pPr lvl="4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5pPr>
            <a:lvl6pPr lvl="5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6pPr>
            <a:lvl7pPr lvl="6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7pPr>
            <a:lvl8pPr lvl="7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8pPr>
            <a:lvl9pPr lvl="8" algn="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62" name="Google Shape;62;p9"/>
          <p:cNvSpPr txBox="1">
            <a:spLocks noGrp="1"/>
          </p:cNvSpPr>
          <p:nvPr>
            <p:ph type="sldNum" idx="12"/>
          </p:nvPr>
        </p:nvSpPr>
        <p:spPr>
          <a:xfrm>
            <a:off x="8556784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solidFill>
          <a:schemeClr val="bg1">
            <a:lumMod val="95000"/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820D5E-C7ED-76B5-9B30-D056972EF0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38128"/>
            <a:ext cx="7666451" cy="219943"/>
          </a:xfrm>
        </p:spPr>
        <p:txBody>
          <a:bodyPr>
            <a:noAutofit/>
          </a:bodyPr>
          <a:lstStyle>
            <a:lvl1pPr>
              <a:defRPr sz="15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224364-CCC1-1F74-10E5-C8D3EDECEC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55083" y="4767893"/>
            <a:ext cx="274055" cy="273844"/>
          </a:xfrm>
          <a:prstGeom prst="ellipse">
            <a:avLst/>
          </a:prstGeom>
          <a:noFill/>
        </p:spPr>
        <p:txBody>
          <a:bodyPr lIns="0" tIns="0" rIns="0" bIns="0"/>
          <a:lstStyle>
            <a:lvl1pPr algn="ctr">
              <a:defRPr sz="825" b="1">
                <a:solidFill>
                  <a:schemeClr val="tx2"/>
                </a:solidFill>
              </a:defRPr>
            </a:lvl1pPr>
          </a:lstStyle>
          <a:p>
            <a:fld id="{DD62B0A7-7A19-8C4C-BF0B-AC6965798314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D8C063F-CD2A-B930-6289-3DA88C42AB76}"/>
              </a:ext>
            </a:extLst>
          </p:cNvPr>
          <p:cNvGrpSpPr/>
          <p:nvPr userDrawn="1"/>
        </p:nvGrpSpPr>
        <p:grpSpPr>
          <a:xfrm>
            <a:off x="434878" y="172045"/>
            <a:ext cx="8385272" cy="310607"/>
            <a:chOff x="579837" y="812235"/>
            <a:chExt cx="11180363" cy="41414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FFD4AC96-C647-C29F-DFEA-EEA0C0ED574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3531" t="-14482" b="-2"/>
            <a:stretch/>
          </p:blipFill>
          <p:spPr>
            <a:xfrm>
              <a:off x="585216" y="812235"/>
              <a:ext cx="11174984" cy="399019"/>
            </a:xfrm>
            <a:prstGeom prst="rect">
              <a:avLst/>
            </a:prstGeom>
          </p:spPr>
        </p:pic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20CAA26-6410-3A8D-B667-C57153547017}"/>
                </a:ext>
              </a:extLst>
            </p:cNvPr>
            <p:cNvSpPr/>
            <p:nvPr userDrawn="1"/>
          </p:nvSpPr>
          <p:spPr>
            <a:xfrm>
              <a:off x="579837" y="1173114"/>
              <a:ext cx="53263" cy="53263"/>
            </a:xfrm>
            <a:prstGeom prst="ellipse">
              <a:avLst/>
            </a:prstGeom>
            <a:solidFill>
              <a:srgbClr val="34B2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</p:spTree>
    <p:extLst>
      <p:ext uri="{BB962C8B-B14F-4D97-AF65-F5344CB8AC3E}">
        <p14:creationId xmlns:p14="http://schemas.microsoft.com/office/powerpoint/2010/main" val="2366910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solidFill>
          <a:schemeClr val="bg1">
            <a:lumMod val="95000"/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224364-CCC1-1F74-10E5-C8D3EDECEC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55083" y="4767893"/>
            <a:ext cx="274055" cy="273844"/>
          </a:xfrm>
          <a:prstGeom prst="ellipse">
            <a:avLst/>
          </a:prstGeom>
          <a:noFill/>
        </p:spPr>
        <p:txBody>
          <a:bodyPr lIns="0" tIns="0" rIns="0" bIns="0"/>
          <a:lstStyle>
            <a:lvl1pPr algn="ctr">
              <a:defRPr sz="825" b="1">
                <a:solidFill>
                  <a:schemeClr val="tx2"/>
                </a:solidFill>
              </a:defRPr>
            </a:lvl1pPr>
          </a:lstStyle>
          <a:p>
            <a:fld id="{DD62B0A7-7A19-8C4C-BF0B-AC69657983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98424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C11A54-B184-B4EE-DBE6-F80DCD67A2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DD4615-B8DC-621D-DE24-24E98049ECE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7DA80B0-8A46-3DD1-ED55-4745F85B591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9962372-3792-C50A-8564-8A869D029E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DB0ABB-8192-E746-8430-A7D324DA133A}" type="datetimeFigureOut">
              <a:rPr lang="en-US" smtClean="0"/>
              <a:t>4/1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F2726BC-DD4D-2A9E-1313-4A43D6956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785225D-E886-088A-DC98-3A7BA938BB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62B0A7-7A19-8C4C-BF0B-AC6965798314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4738A43-1DF8-D77B-21FB-2292941983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823" t="-48117" b="-2"/>
          <a:stretch/>
        </p:blipFill>
        <p:spPr>
          <a:xfrm>
            <a:off x="97474" y="4655839"/>
            <a:ext cx="9010697" cy="399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516663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E3ACDB-F661-C589-C02C-63483BE74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52160E-FD60-4924-7A71-1D55A333CF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35B906-C91D-B798-3EC2-2F60E7096B5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1862E53-9530-04C7-B23D-68A3167A908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0B71481-BA5F-BE6B-5C30-37B5727E6B4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4AAE3EE-37C3-9846-4831-B8CBEF95E0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DB0ABB-8192-E746-8430-A7D324DA133A}" type="datetimeFigureOut">
              <a:rPr lang="en-US" smtClean="0"/>
              <a:t>4/11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F4084D6-5737-A52D-AD12-C4CB75787D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E89D304-B0F1-2F5B-8C45-4FC6F45857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62B0A7-7A19-8C4C-BF0B-AC6965798314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FB75380-9409-02A1-CFE7-ED48D8CEDF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823" t="-48117" b="-2"/>
          <a:stretch/>
        </p:blipFill>
        <p:spPr>
          <a:xfrm>
            <a:off x="97474" y="4655839"/>
            <a:ext cx="9010697" cy="39997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AC74AAA-383D-4505-685D-A001E91FF2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823" t="-48117" b="-2"/>
          <a:stretch/>
        </p:blipFill>
        <p:spPr>
          <a:xfrm>
            <a:off x="211774" y="4770139"/>
            <a:ext cx="9010697" cy="399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886457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72BCAD-FCCE-03EC-0027-0B2C8D89F0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690DAB7-3BCF-F7EE-2E62-6B2C2D5824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DB0ABB-8192-E746-8430-A7D324DA133A}" type="datetimeFigureOut">
              <a:rPr lang="en-US" smtClean="0"/>
              <a:t>4/1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C36455A-8F93-8983-509C-74524342F2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05F1C6-A636-2F77-6D69-47EF6742A9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62B0A7-7A19-8C4C-BF0B-AC6965798314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A4A000B-3B9E-9C21-2BFA-783CFCD8DC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823" t="-48117" b="-2"/>
          <a:stretch/>
        </p:blipFill>
        <p:spPr>
          <a:xfrm>
            <a:off x="97474" y="4655839"/>
            <a:ext cx="9010697" cy="399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17259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1A7A551-5BA1-745F-AA0D-BE69599E01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DB0ABB-8192-E746-8430-A7D324DA133A}" type="datetimeFigureOut">
              <a:rPr lang="en-US" smtClean="0"/>
              <a:t>4/1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6216682-21F1-3B9A-644D-04DB869ABB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96A3D18-7BF1-C08E-80CA-F40FDF4A13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62B0A7-7A19-8C4C-BF0B-AC69657983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88897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DB1E46-A47C-D450-673C-628300F3C8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AF7CAD-495F-3DD3-46C9-B2414FC401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721152D-94AC-7025-3DD1-6691B89199B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BDF449A-16D3-CF5B-84A0-1BD89B2CBA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DB0ABB-8192-E746-8430-A7D324DA133A}" type="datetimeFigureOut">
              <a:rPr lang="en-US" smtClean="0"/>
              <a:t>4/1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C005BFA-D1F3-F7E1-D7DA-E313B517F9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E82D4AE-92AD-8CFE-861C-921D096841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62B0A7-7A19-8C4C-BF0B-AC69657983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36973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201B9B-6B4B-85C3-2330-10575F4CC4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E010481-326B-7E85-81E7-36827D6F022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4CEBCD1-06B0-59C5-203F-3FE8241CD99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455C087-986D-21FD-7A29-83E230179C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DB0ABB-8192-E746-8430-A7D324DA133A}" type="datetimeFigureOut">
              <a:rPr lang="en-US" smtClean="0"/>
              <a:t>4/1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ADDE343-A712-E477-49A6-8AC44D6AF8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D35DB7F-753C-48CA-78E4-E2BE483586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62B0A7-7A19-8C4C-BF0B-AC69657983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671369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AF9522-8015-E005-92BA-0E856C1BE7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1C34C8B-2574-13CF-DD23-CEE17E6214D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F6AA38-8ECA-74A6-4DE7-09D70A7D57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DB0ABB-8192-E746-8430-A7D324DA133A}" type="datetimeFigureOut">
              <a:rPr lang="en-US" smtClean="0"/>
              <a:t>4/1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C67362-EB9D-FC0C-3644-8DE6282874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0486A2-8F68-AF39-7F22-182B00D6D1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62B0A7-7A19-8C4C-BF0B-AC69657983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64146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1EAEF3F-6682-168D-16DA-6E5728E89A6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FE670A0-9533-4F1F-A818-DDE6372B3BE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5648DD-A23A-9657-9208-01B246F444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DB0ABB-8192-E746-8430-A7D324DA133A}" type="datetimeFigureOut">
              <a:rPr lang="en-US" smtClean="0"/>
              <a:t>4/1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86449E-7A2A-6D22-6CD9-8B24233D9D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200D49-EAD0-0D96-D77E-FD66895F7A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62B0A7-7A19-8C4C-BF0B-AC696579831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29740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hort Title only">
  <p:cSld name="TITLE_ONLY_1">
    <p:bg>
      <p:bgPr>
        <a:solidFill>
          <a:schemeClr val="dk1"/>
        </a:solidFill>
        <a:effectLst/>
      </p:bgPr>
    </p:bg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Google Shape;64;p10" descr="organic-01.png"/>
          <p:cNvPicPr preferRelativeResize="0"/>
          <p:nvPr/>
        </p:nvPicPr>
        <p:blipFill>
          <a:blip r:embed="rId2">
            <a:alphaModFix amt="4000"/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65" name="Google Shape;65;p10"/>
          <p:cNvSpPr/>
          <p:nvPr/>
        </p:nvSpPr>
        <p:spPr>
          <a:xfrm>
            <a:off x="404975" y="441145"/>
            <a:ext cx="1980300" cy="67170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dist="104775" dir="2700000" algn="bl" rotWithShape="0">
              <a:srgbClr val="20124D">
                <a:alpha val="15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6" name="Google Shape;66;p10"/>
          <p:cNvSpPr txBox="1">
            <a:spLocks noGrp="1"/>
          </p:cNvSpPr>
          <p:nvPr>
            <p:ph type="title"/>
          </p:nvPr>
        </p:nvSpPr>
        <p:spPr>
          <a:xfrm>
            <a:off x="404975" y="441150"/>
            <a:ext cx="1832400" cy="6717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67" name="Google Shape;67;p10"/>
          <p:cNvSpPr txBox="1">
            <a:spLocks noGrp="1"/>
          </p:cNvSpPr>
          <p:nvPr>
            <p:ph type="sldNum" idx="12"/>
          </p:nvPr>
        </p:nvSpPr>
        <p:spPr>
          <a:xfrm>
            <a:off x="8556784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BEE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AAAC5D-4A0F-D74F-8948-B3C834A38A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7250" y="241663"/>
            <a:ext cx="7044359" cy="5201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8A0EF4D-05DB-2F4A-8B76-032B8190FC9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ED7B9B8-BEA5-5149-A074-6E2AF8E8A1D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422697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bg>
      <p:bgPr>
        <a:solidFill>
          <a:schemeClr val="bg1">
            <a:lumMod val="95000"/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224364-CCC1-1F74-10E5-C8D3EDECEC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55083" y="4767893"/>
            <a:ext cx="274055" cy="273844"/>
          </a:xfrm>
          <a:prstGeom prst="ellipse">
            <a:avLst/>
          </a:prstGeom>
          <a:noFill/>
        </p:spPr>
        <p:txBody>
          <a:bodyPr lIns="0" tIns="0" rIns="0" bIns="0"/>
          <a:lstStyle>
            <a:lvl1pPr algn="ctr">
              <a:defRPr sz="825" b="1">
                <a:solidFill>
                  <a:schemeClr val="tx2"/>
                </a:solidFill>
              </a:defRPr>
            </a:lvl1pPr>
          </a:lstStyle>
          <a:p>
            <a:fld id="{DD62B0A7-7A19-8C4C-BF0B-AC696579831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B597685-D8B6-997F-8CBE-6FD49685BBE3}"/>
              </a:ext>
            </a:extLst>
          </p:cNvPr>
          <p:cNvSpPr txBox="1"/>
          <p:nvPr userDrawn="1"/>
        </p:nvSpPr>
        <p:spPr>
          <a:xfrm>
            <a:off x="474825" y="4874741"/>
            <a:ext cx="1832799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b="1">
                <a:solidFill>
                  <a:schemeClr val="accent2"/>
                </a:solidFill>
                <a:latin typeface="Tenorite" pitchFamily="2" charset="0"/>
              </a:rPr>
              <a:t>BEEP CONFIDENTIAL  </a:t>
            </a:r>
            <a:r>
              <a:rPr lang="en-US" sz="600" b="1">
                <a:solidFill>
                  <a:schemeClr val="tx1"/>
                </a:solidFill>
                <a:latin typeface="Tenorite" pitchFamily="2" charset="0"/>
              </a:rPr>
              <a:t>INTERNAL ONLY</a:t>
            </a:r>
            <a:endParaRPr lang="en-US" sz="600" b="1">
              <a:solidFill>
                <a:schemeClr val="accent2"/>
              </a:solidFill>
              <a:latin typeface="Tenorit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24130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bg>
      <p:bgPr>
        <a:solidFill>
          <a:schemeClr val="dk1"/>
        </a:solidFill>
        <a:effectLst/>
      </p:bgPr>
    </p:bg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" name="Google Shape;69;p11" descr="organic-04.png"/>
          <p:cNvPicPr preferRelativeResize="0"/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70" name="Google Shape;70;p11"/>
          <p:cNvSpPr/>
          <p:nvPr/>
        </p:nvSpPr>
        <p:spPr>
          <a:xfrm>
            <a:off x="595200" y="588531"/>
            <a:ext cx="7953600" cy="3910800"/>
          </a:xfrm>
          <a:prstGeom prst="rect">
            <a:avLst/>
          </a:prstGeom>
          <a:solidFill>
            <a:srgbClr val="FFFFFF"/>
          </a:solidFill>
          <a:ln>
            <a:noFill/>
          </a:ln>
          <a:effectLst>
            <a:outerShdw dist="104775" dir="2700000" algn="bl" rotWithShape="0">
              <a:srgbClr val="20124D">
                <a:alpha val="15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" name="Google Shape;71;p11"/>
          <p:cNvSpPr/>
          <p:nvPr/>
        </p:nvSpPr>
        <p:spPr>
          <a:xfrm>
            <a:off x="1794900" y="4199456"/>
            <a:ext cx="5554200" cy="629100"/>
          </a:xfrm>
          <a:prstGeom prst="rect">
            <a:avLst/>
          </a:prstGeom>
          <a:solidFill>
            <a:srgbClr val="ECC1C8"/>
          </a:solidFill>
          <a:ln>
            <a:noFill/>
          </a:ln>
          <a:effectLst>
            <a:outerShdw dist="104775" dir="2700000" algn="bl" rotWithShape="0">
              <a:srgbClr val="20124D">
                <a:alpha val="15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2" name="Google Shape;72;p11"/>
          <p:cNvSpPr txBox="1">
            <a:spLocks noGrp="1"/>
          </p:cNvSpPr>
          <p:nvPr>
            <p:ph type="body" idx="1"/>
          </p:nvPr>
        </p:nvSpPr>
        <p:spPr>
          <a:xfrm>
            <a:off x="1794900" y="4192781"/>
            <a:ext cx="5554200" cy="629100"/>
          </a:xfrm>
          <a:prstGeom prst="rect">
            <a:avLst/>
          </a:prstGeom>
          <a:solidFill>
            <a:schemeClr val="accent1"/>
          </a:solidFill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 algn="ctr">
              <a:spcBef>
                <a:spcPts val="360"/>
              </a:spcBef>
              <a:spcAft>
                <a:spcPts val="0"/>
              </a:spcAft>
              <a:buSzPts val="1800"/>
              <a:buNone/>
              <a:defRPr sz="1800"/>
            </a:lvl1pPr>
          </a:lstStyle>
          <a:p>
            <a:endParaRPr/>
          </a:p>
        </p:txBody>
      </p:sp>
      <p:sp>
        <p:nvSpPr>
          <p:cNvPr id="73" name="Google Shape;73;p11"/>
          <p:cNvSpPr txBox="1">
            <a:spLocks noGrp="1"/>
          </p:cNvSpPr>
          <p:nvPr>
            <p:ph type="sldNum" idx="12"/>
          </p:nvPr>
        </p:nvSpPr>
        <p:spPr>
          <a:xfrm>
            <a:off x="4297650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buNone/>
              <a:defRPr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ctr" rtl="0">
              <a:buNone/>
              <a:defRPr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ctr" rtl="0">
              <a:buNone/>
              <a:defRPr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ctr" rtl="0">
              <a:buNone/>
              <a:defRPr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ctr" rtl="0">
              <a:buNone/>
              <a:defRPr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ctr" rtl="0">
              <a:buNone/>
              <a:defRPr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ctr" rtl="0">
              <a:buNone/>
              <a:defRPr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ctr" rtl="0">
              <a:buNone/>
              <a:defRPr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ctr" rtl="0">
              <a:buNone/>
              <a:defRPr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waves">
  <p:cSld name="BLANK_1">
    <p:bg>
      <p:bgPr>
        <a:solidFill>
          <a:schemeClr val="dk1"/>
        </a:solidFill>
        <a:effectLst/>
      </p:bgPr>
    </p:bg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" name="Google Shape;78;p13" descr="organic-02.png"/>
          <p:cNvPicPr preferRelativeResize="0"/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79" name="Google Shape;79;p13"/>
          <p:cNvSpPr txBox="1">
            <a:spLocks noGrp="1"/>
          </p:cNvSpPr>
          <p:nvPr>
            <p:ph type="sldNum" idx="12"/>
          </p:nvPr>
        </p:nvSpPr>
        <p:spPr>
          <a:xfrm>
            <a:off x="8556784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zigzag">
  <p:cSld name="BLANK_1_1">
    <p:bg>
      <p:bgPr>
        <a:solidFill>
          <a:schemeClr val="dk1"/>
        </a:solidFill>
        <a:effectLst/>
      </p:bgPr>
    </p:bg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" name="Google Shape;81;p14" descr="organic-03.png"/>
          <p:cNvPicPr preferRelativeResize="0"/>
          <p:nvPr/>
        </p:nvPicPr>
        <p:blipFill>
          <a:blip r:embed="rId2">
            <a:alphaModFix amt="5000"/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82" name="Google Shape;82;p14"/>
          <p:cNvSpPr txBox="1">
            <a:spLocks noGrp="1"/>
          </p:cNvSpPr>
          <p:nvPr>
            <p:ph type="sldNum" idx="12"/>
          </p:nvPr>
        </p:nvSpPr>
        <p:spPr>
          <a:xfrm>
            <a:off x="8556784" y="4749851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5.jpe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6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theme" Target="../theme/theme6.xml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">
    <p:bg>
      <p:bgPr>
        <a:solidFill>
          <a:srgbClr val="F3F3F3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Playfair Display"/>
              <a:buNone/>
              <a:defRPr sz="1800" b="1" i="1">
                <a:solidFill>
                  <a:schemeClr val="dk1"/>
                </a:solidFill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Playfair Display"/>
              <a:buNone/>
              <a:defRPr sz="1800" b="1" i="1">
                <a:solidFill>
                  <a:schemeClr val="dk1"/>
                </a:solidFill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Playfair Display"/>
              <a:buNone/>
              <a:defRPr sz="1800" b="1" i="1">
                <a:solidFill>
                  <a:schemeClr val="dk1"/>
                </a:solidFill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Playfair Display"/>
              <a:buNone/>
              <a:defRPr sz="1800" b="1" i="1">
                <a:solidFill>
                  <a:schemeClr val="dk1"/>
                </a:solidFill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Playfair Display"/>
              <a:buNone/>
              <a:defRPr sz="1800" b="1" i="1">
                <a:solidFill>
                  <a:schemeClr val="dk1"/>
                </a:solidFill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Playfair Display"/>
              <a:buNone/>
              <a:defRPr sz="1800" b="1" i="1">
                <a:solidFill>
                  <a:schemeClr val="dk1"/>
                </a:solidFill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Playfair Display"/>
              <a:buNone/>
              <a:defRPr sz="1800" b="1" i="1">
                <a:solidFill>
                  <a:schemeClr val="dk1"/>
                </a:solidFill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Playfair Display"/>
              <a:buNone/>
              <a:defRPr sz="1800" b="1" i="1">
                <a:solidFill>
                  <a:schemeClr val="dk1"/>
                </a:solidFill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Playfair Display"/>
              <a:buNone/>
              <a:defRPr sz="1800" b="1" i="1">
                <a:solidFill>
                  <a:schemeClr val="dk1"/>
                </a:solidFill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57200" y="1200150"/>
            <a:ext cx="8229600" cy="37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41910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Tinos"/>
              <a:buChar char="▹"/>
              <a:defRPr sz="3000">
                <a:solidFill>
                  <a:schemeClr val="dk1"/>
                </a:solidFill>
                <a:latin typeface="Tinos"/>
                <a:ea typeface="Tinos"/>
                <a:cs typeface="Tinos"/>
                <a:sym typeface="Tinos"/>
              </a:defRPr>
            </a:lvl1pPr>
            <a:lvl2pPr marL="914400" lvl="1" indent="-3810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nos"/>
              <a:buChar char="▸"/>
              <a:defRPr sz="2400">
                <a:solidFill>
                  <a:schemeClr val="dk1"/>
                </a:solidFill>
                <a:latin typeface="Tinos"/>
                <a:ea typeface="Tinos"/>
                <a:cs typeface="Tinos"/>
                <a:sym typeface="Tinos"/>
              </a:defRPr>
            </a:lvl2pPr>
            <a:lvl3pPr marL="1371600" lvl="2" indent="-3810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Tinos"/>
              <a:buChar char="◦"/>
              <a:defRPr sz="2400">
                <a:solidFill>
                  <a:schemeClr val="dk1"/>
                </a:solidFill>
                <a:latin typeface="Tinos"/>
                <a:ea typeface="Tinos"/>
                <a:cs typeface="Tinos"/>
                <a:sym typeface="Tinos"/>
              </a:defRPr>
            </a:lvl3pPr>
            <a:lvl4pPr marL="1828800" lvl="3" indent="-3429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nos"/>
              <a:buChar char="●"/>
              <a:defRPr sz="1800">
                <a:solidFill>
                  <a:schemeClr val="dk1"/>
                </a:solidFill>
                <a:latin typeface="Tinos"/>
                <a:ea typeface="Tinos"/>
                <a:cs typeface="Tinos"/>
                <a:sym typeface="Tinos"/>
              </a:defRPr>
            </a:lvl4pPr>
            <a:lvl5pPr marL="2286000" lvl="4" indent="-3429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nos"/>
              <a:buChar char="○"/>
              <a:defRPr sz="1800">
                <a:solidFill>
                  <a:schemeClr val="dk1"/>
                </a:solidFill>
                <a:latin typeface="Tinos"/>
                <a:ea typeface="Tinos"/>
                <a:cs typeface="Tinos"/>
                <a:sym typeface="Tinos"/>
              </a:defRPr>
            </a:lvl5pPr>
            <a:lvl6pPr marL="2743200" lvl="5" indent="-3429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nos"/>
              <a:buChar char="■"/>
              <a:defRPr sz="1800">
                <a:solidFill>
                  <a:schemeClr val="dk1"/>
                </a:solidFill>
                <a:latin typeface="Tinos"/>
                <a:ea typeface="Tinos"/>
                <a:cs typeface="Tinos"/>
                <a:sym typeface="Tinos"/>
              </a:defRPr>
            </a:lvl6pPr>
            <a:lvl7pPr marL="3200400" lvl="6" indent="-3429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nos"/>
              <a:buChar char="●"/>
              <a:defRPr sz="1800">
                <a:solidFill>
                  <a:schemeClr val="dk1"/>
                </a:solidFill>
                <a:latin typeface="Tinos"/>
                <a:ea typeface="Tinos"/>
                <a:cs typeface="Tinos"/>
                <a:sym typeface="Tinos"/>
              </a:defRPr>
            </a:lvl7pPr>
            <a:lvl8pPr marL="3657600" lvl="7" indent="-3429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nos"/>
              <a:buChar char="○"/>
              <a:defRPr sz="1800">
                <a:solidFill>
                  <a:schemeClr val="dk1"/>
                </a:solidFill>
                <a:latin typeface="Tinos"/>
                <a:ea typeface="Tinos"/>
                <a:cs typeface="Tinos"/>
                <a:sym typeface="Tinos"/>
              </a:defRPr>
            </a:lvl8pPr>
            <a:lvl9pPr marL="4114800" lvl="8" indent="-3429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Tinos"/>
              <a:buChar char="■"/>
              <a:defRPr sz="1800">
                <a:solidFill>
                  <a:schemeClr val="dk1"/>
                </a:solidFill>
                <a:latin typeface="Tinos"/>
                <a:ea typeface="Tinos"/>
                <a:cs typeface="Tinos"/>
                <a:sym typeface="Tinos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556784" y="4749851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>
              <a:buNone/>
              <a:defRPr sz="1300">
                <a:solidFill>
                  <a:schemeClr val="accent1"/>
                </a:solidFill>
                <a:latin typeface="Playfair Display"/>
                <a:ea typeface="Playfair Display"/>
                <a:cs typeface="Playfair Display"/>
                <a:sym typeface="Playfair Display"/>
              </a:defRPr>
            </a:lvl1pPr>
            <a:lvl2pPr lvl="1" algn="r">
              <a:buNone/>
              <a:defRPr sz="1300">
                <a:solidFill>
                  <a:schemeClr val="accent1"/>
                </a:solidFill>
                <a:latin typeface="Playfair Display"/>
                <a:ea typeface="Playfair Display"/>
                <a:cs typeface="Playfair Display"/>
                <a:sym typeface="Playfair Display"/>
              </a:defRPr>
            </a:lvl2pPr>
            <a:lvl3pPr lvl="2" algn="r">
              <a:buNone/>
              <a:defRPr sz="1300">
                <a:solidFill>
                  <a:schemeClr val="accent1"/>
                </a:solidFill>
                <a:latin typeface="Playfair Display"/>
                <a:ea typeface="Playfair Display"/>
                <a:cs typeface="Playfair Display"/>
                <a:sym typeface="Playfair Display"/>
              </a:defRPr>
            </a:lvl3pPr>
            <a:lvl4pPr lvl="3" algn="r">
              <a:buNone/>
              <a:defRPr sz="1300">
                <a:solidFill>
                  <a:schemeClr val="accent1"/>
                </a:solidFill>
                <a:latin typeface="Playfair Display"/>
                <a:ea typeface="Playfair Display"/>
                <a:cs typeface="Playfair Display"/>
                <a:sym typeface="Playfair Display"/>
              </a:defRPr>
            </a:lvl4pPr>
            <a:lvl5pPr lvl="4" algn="r">
              <a:buNone/>
              <a:defRPr sz="1300">
                <a:solidFill>
                  <a:schemeClr val="accent1"/>
                </a:solidFill>
                <a:latin typeface="Playfair Display"/>
                <a:ea typeface="Playfair Display"/>
                <a:cs typeface="Playfair Display"/>
                <a:sym typeface="Playfair Display"/>
              </a:defRPr>
            </a:lvl5pPr>
            <a:lvl6pPr lvl="5" algn="r">
              <a:buNone/>
              <a:defRPr sz="1300">
                <a:solidFill>
                  <a:schemeClr val="accent1"/>
                </a:solidFill>
                <a:latin typeface="Playfair Display"/>
                <a:ea typeface="Playfair Display"/>
                <a:cs typeface="Playfair Display"/>
                <a:sym typeface="Playfair Display"/>
              </a:defRPr>
            </a:lvl6pPr>
            <a:lvl7pPr lvl="6" algn="r">
              <a:buNone/>
              <a:defRPr sz="1300">
                <a:solidFill>
                  <a:schemeClr val="accent1"/>
                </a:solidFill>
                <a:latin typeface="Playfair Display"/>
                <a:ea typeface="Playfair Display"/>
                <a:cs typeface="Playfair Display"/>
                <a:sym typeface="Playfair Display"/>
              </a:defRPr>
            </a:lvl7pPr>
            <a:lvl8pPr lvl="7" algn="r">
              <a:buNone/>
              <a:defRPr sz="1300">
                <a:solidFill>
                  <a:schemeClr val="accent1"/>
                </a:solidFill>
                <a:latin typeface="Playfair Display"/>
                <a:ea typeface="Playfair Display"/>
                <a:cs typeface="Playfair Display"/>
                <a:sym typeface="Playfair Display"/>
              </a:defRPr>
            </a:lvl8pPr>
            <a:lvl9pPr lvl="8" algn="r">
              <a:buNone/>
              <a:defRPr sz="1300">
                <a:solidFill>
                  <a:schemeClr val="accent1"/>
                </a:solidFill>
                <a:latin typeface="Playfair Display"/>
                <a:ea typeface="Playfair Display"/>
                <a:cs typeface="Playfair Display"/>
                <a:sym typeface="Playfair Display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669" r:id="rId9"/>
    <p:sldLayoutId id="2147483661" r:id="rId10"/>
    <p:sldLayoutId id="2147483663" r:id="rId11"/>
  </p:sldLayoutIdLst>
  <p:transition>
    <p:fade thruBlk="1"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7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>
            <a:extLst>
              <a:ext uri="{FF2B5EF4-FFF2-40B4-BE49-F238E27FC236}">
                <a16:creationId xmlns:a16="http://schemas.microsoft.com/office/drawing/2014/main" id="{E483109C-41B8-4DBC-8B54-35A6E3F04FFA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28650" y="882253"/>
            <a:ext cx="7886700" cy="9941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2051" name="Text Placeholder 2">
            <a:extLst>
              <a:ext uri="{FF2B5EF4-FFF2-40B4-BE49-F238E27FC236}">
                <a16:creationId xmlns:a16="http://schemas.microsoft.com/office/drawing/2014/main" id="{41E1EAAC-41B9-4693-8D3B-84976E73518B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28650" y="1977629"/>
            <a:ext cx="7886700" cy="26598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89088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 kern="1200">
          <a:solidFill>
            <a:srgbClr val="00629B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00629B"/>
          </a:solidFill>
          <a:latin typeface="Montserrat" panose="00000500000000000000" pitchFamily="50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00629B"/>
          </a:solidFill>
          <a:latin typeface="Montserrat" panose="00000500000000000000" pitchFamily="50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00629B"/>
          </a:solidFill>
          <a:latin typeface="Montserrat" panose="00000500000000000000" pitchFamily="50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rgbClr val="00629B"/>
          </a:solidFill>
          <a:latin typeface="Montserrat" panose="00000500000000000000" pitchFamily="50" charset="0"/>
        </a:defRPr>
      </a:lvl5pPr>
      <a:lvl6pPr marL="3429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rgbClr val="00629B"/>
          </a:solidFill>
          <a:latin typeface="Montserrat" panose="00000500000000000000" pitchFamily="50" charset="0"/>
        </a:defRPr>
      </a:lvl6pPr>
      <a:lvl7pPr marL="6858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rgbClr val="00629B"/>
          </a:solidFill>
          <a:latin typeface="Montserrat" panose="00000500000000000000" pitchFamily="50" charset="0"/>
        </a:defRPr>
      </a:lvl7pPr>
      <a:lvl8pPr marL="10287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rgbClr val="00629B"/>
          </a:solidFill>
          <a:latin typeface="Montserrat" panose="00000500000000000000" pitchFamily="50" charset="0"/>
        </a:defRPr>
      </a:lvl8pPr>
      <a:lvl9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rgbClr val="00629B"/>
          </a:solidFill>
          <a:latin typeface="Montserrat" panose="00000500000000000000" pitchFamily="50" charset="0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rgbClr val="00A9CE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rgbClr val="00A9CE"/>
          </a:solidFill>
          <a:latin typeface="+mn-lt"/>
          <a:ea typeface="+mn-ea"/>
          <a:cs typeface="+mn-cs"/>
        </a:defRPr>
      </a:lvl2pPr>
      <a:lvl3pPr marL="8572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rgbClr val="00A9CE"/>
          </a:solidFill>
          <a:latin typeface="+mn-lt"/>
          <a:ea typeface="+mn-ea"/>
          <a:cs typeface="+mn-cs"/>
        </a:defRPr>
      </a:lvl3pPr>
      <a:lvl4pPr marL="12001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rgbClr val="00A9CE"/>
          </a:solidFill>
          <a:latin typeface="+mn-lt"/>
          <a:ea typeface="+mn-ea"/>
          <a:cs typeface="+mn-cs"/>
        </a:defRPr>
      </a:lvl4pPr>
      <a:lvl5pPr marL="15430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200" kern="1200">
          <a:solidFill>
            <a:srgbClr val="00A9CE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433889" y="273845"/>
            <a:ext cx="4081462" cy="18740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433889" y="2426494"/>
            <a:ext cx="4081462" cy="4393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60977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bg1"/>
          </a:solidFill>
          <a:latin typeface="Montserrat" pitchFamily="50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bg1"/>
          </a:solidFill>
          <a:latin typeface="Montserrat" pitchFamily="50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bg1"/>
          </a:solidFill>
          <a:latin typeface="Montserrat" pitchFamily="50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bg1"/>
          </a:solidFill>
          <a:latin typeface="Montserrat" pitchFamily="50" charset="0"/>
        </a:defRPr>
      </a:lvl5pPr>
      <a:lvl6pPr marL="342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bg1"/>
          </a:solidFill>
          <a:latin typeface="Montserrat" pitchFamily="50" charset="0"/>
        </a:defRPr>
      </a:lvl6pPr>
      <a:lvl7pPr marL="685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bg1"/>
          </a:solidFill>
          <a:latin typeface="Montserrat" pitchFamily="50" charset="0"/>
        </a:defRPr>
      </a:lvl7pPr>
      <a:lvl8pPr marL="10287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bg1"/>
          </a:solidFill>
          <a:latin typeface="Montserrat" pitchFamily="50" charset="0"/>
        </a:defRPr>
      </a:lvl8pPr>
      <a:lvl9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bg1"/>
          </a:solidFill>
          <a:latin typeface="Montserrat" pitchFamily="50" charset="0"/>
        </a:defRPr>
      </a:lvl9pPr>
    </p:titleStyle>
    <p:bodyStyle>
      <a:lvl1pPr algn="l" rtl="0" eaLnBrk="1" fontAlgn="base" hangingPunct="1">
        <a:lnSpc>
          <a:spcPct val="90000"/>
        </a:lnSpc>
        <a:spcBef>
          <a:spcPts val="750"/>
        </a:spcBef>
        <a:spcAft>
          <a:spcPct val="0"/>
        </a:spcAft>
        <a:defRPr sz="1800" kern="1200">
          <a:solidFill>
            <a:srgbClr val="00A9CE"/>
          </a:solidFill>
          <a:latin typeface="+mn-lt"/>
          <a:ea typeface="+mn-ea"/>
          <a:cs typeface="+mn-cs"/>
        </a:defRPr>
      </a:lvl1pPr>
      <a:lvl2pPr marL="514350" indent="-171450" algn="l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rtl="0" eaLnBrk="1" fontAlgn="base" hangingPunct="1">
        <a:lnSpc>
          <a:spcPct val="90000"/>
        </a:lnSpc>
        <a:spcBef>
          <a:spcPts val="375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black">
          <a:xfrm>
            <a:off x="328613" y="246460"/>
            <a:ext cx="8374062" cy="633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black">
          <a:xfrm>
            <a:off x="354014" y="1304925"/>
            <a:ext cx="8339137" cy="3281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black">
          <a:xfrm>
            <a:off x="350839" y="4767263"/>
            <a:ext cx="409575" cy="1631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600" smtClean="0">
                <a:solidFill>
                  <a:schemeClr val="tx2"/>
                </a:solidFill>
                <a:latin typeface="Verdana" pitchFamily="64" charset="0"/>
                <a:ea typeface="ＭＳ Ｐゴシック" pitchFamily="64" charset="-128"/>
                <a:cs typeface="ＭＳ Ｐゴシック" pitchFamily="64" charset="-128"/>
              </a:defRPr>
            </a:lvl1pPr>
          </a:lstStyle>
          <a:p>
            <a:pPr>
              <a:defRPr/>
            </a:pPr>
            <a:fld id="{CBAF7012-B5EE-4193-9BDC-59AC61AD4A8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ftr" sz="quarter" idx="3"/>
          </p:nvPr>
        </p:nvSpPr>
        <p:spPr bwMode="black">
          <a:xfrm>
            <a:off x="568326" y="4767262"/>
            <a:ext cx="8137525" cy="215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600" smtClean="0">
                <a:solidFill>
                  <a:schemeClr val="tx2"/>
                </a:solidFill>
                <a:latin typeface="Verdana" pitchFamily="80" charset="0"/>
                <a:ea typeface="ＭＳ Ｐゴシック" pitchFamily="80" charset="-128"/>
              </a:defRPr>
            </a:lvl1pPr>
          </a:lstStyle>
          <a:p>
            <a:pPr>
              <a:defRPr/>
            </a:pPr>
            <a:r>
              <a:rPr lang="en-US"/>
              <a:t>| PRESENTATION TITLE HERE | ©2011 YMCA of the USA</a:t>
            </a:r>
          </a:p>
        </p:txBody>
      </p:sp>
    </p:spTree>
    <p:extLst>
      <p:ext uri="{BB962C8B-B14F-4D97-AF65-F5344CB8AC3E}">
        <p14:creationId xmlns:p14="http://schemas.microsoft.com/office/powerpoint/2010/main" val="23553862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  <p:sldLayoutId id="2147483697" r:id="rId15"/>
    <p:sldLayoutId id="2147483698" r:id="rId16"/>
  </p:sldLayoutIdLst>
  <p:hf hdr="0" dt="0"/>
  <p:txStyles>
    <p:titleStyle>
      <a:lvl1pPr algn="l" rtl="0" fontAlgn="base">
        <a:spcBef>
          <a:spcPct val="0"/>
        </a:spcBef>
        <a:spcAft>
          <a:spcPct val="0"/>
        </a:spcAft>
        <a:defRPr sz="1950" b="1" cap="all">
          <a:solidFill>
            <a:srgbClr val="01A49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1950" b="1">
          <a:solidFill>
            <a:srgbClr val="01A490"/>
          </a:solidFill>
          <a:latin typeface="Verdana" pitchFamily="64" charset="0"/>
          <a:ea typeface="ＭＳ Ｐゴシック" pitchFamily="64" charset="-128"/>
          <a:cs typeface="ＭＳ Ｐゴシック" pitchFamily="64" charset="-128"/>
        </a:defRPr>
      </a:lvl2pPr>
      <a:lvl3pPr algn="l" rtl="0" fontAlgn="base">
        <a:spcBef>
          <a:spcPct val="0"/>
        </a:spcBef>
        <a:spcAft>
          <a:spcPct val="0"/>
        </a:spcAft>
        <a:defRPr sz="1950" b="1">
          <a:solidFill>
            <a:srgbClr val="01A490"/>
          </a:solidFill>
          <a:latin typeface="Verdana" pitchFamily="64" charset="0"/>
          <a:ea typeface="ＭＳ Ｐゴシック" pitchFamily="64" charset="-128"/>
          <a:cs typeface="ＭＳ Ｐゴシック" pitchFamily="64" charset="-128"/>
        </a:defRPr>
      </a:lvl3pPr>
      <a:lvl4pPr algn="l" rtl="0" fontAlgn="base">
        <a:spcBef>
          <a:spcPct val="0"/>
        </a:spcBef>
        <a:spcAft>
          <a:spcPct val="0"/>
        </a:spcAft>
        <a:defRPr sz="1950" b="1">
          <a:solidFill>
            <a:srgbClr val="01A490"/>
          </a:solidFill>
          <a:latin typeface="Verdana" pitchFamily="64" charset="0"/>
          <a:ea typeface="ＭＳ Ｐゴシック" pitchFamily="64" charset="-128"/>
          <a:cs typeface="ＭＳ Ｐゴシック" pitchFamily="64" charset="-128"/>
        </a:defRPr>
      </a:lvl4pPr>
      <a:lvl5pPr algn="l" rtl="0" fontAlgn="base">
        <a:spcBef>
          <a:spcPct val="0"/>
        </a:spcBef>
        <a:spcAft>
          <a:spcPct val="0"/>
        </a:spcAft>
        <a:defRPr sz="1950" b="1">
          <a:solidFill>
            <a:srgbClr val="01A490"/>
          </a:solidFill>
          <a:latin typeface="Verdana" pitchFamily="64" charset="0"/>
          <a:ea typeface="ＭＳ Ｐゴシック" pitchFamily="64" charset="-128"/>
          <a:cs typeface="ＭＳ Ｐゴシック" pitchFamily="64" charset="-128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950" b="1">
          <a:solidFill>
            <a:schemeClr val="folHlink"/>
          </a:solidFill>
          <a:latin typeface="Verdana" pitchFamily="64" charset="0"/>
          <a:ea typeface="ＭＳ Ｐゴシック" pitchFamily="64" charset="-128"/>
          <a:cs typeface="ＭＳ Ｐゴシック" pitchFamily="64" charset="-128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950" b="1">
          <a:solidFill>
            <a:schemeClr val="folHlink"/>
          </a:solidFill>
          <a:latin typeface="Verdana" pitchFamily="64" charset="0"/>
          <a:ea typeface="ＭＳ Ｐゴシック" pitchFamily="64" charset="-128"/>
          <a:cs typeface="ＭＳ Ｐゴシック" pitchFamily="64" charset="-128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950" b="1">
          <a:solidFill>
            <a:schemeClr val="folHlink"/>
          </a:solidFill>
          <a:latin typeface="Verdana" pitchFamily="64" charset="0"/>
          <a:ea typeface="ＭＳ Ｐゴシック" pitchFamily="64" charset="-128"/>
          <a:cs typeface="ＭＳ Ｐゴシック" pitchFamily="64" charset="-128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950" b="1">
          <a:solidFill>
            <a:schemeClr val="folHlink"/>
          </a:solidFill>
          <a:latin typeface="Verdana" pitchFamily="64" charset="0"/>
          <a:ea typeface="ＭＳ Ｐゴシック" pitchFamily="64" charset="-128"/>
          <a:cs typeface="ＭＳ Ｐゴシック" pitchFamily="64" charset="-128"/>
        </a:defRPr>
      </a:lvl9pPr>
    </p:titleStyle>
    <p:bodyStyle>
      <a:lvl1pPr algn="l" rtl="0" fontAlgn="base">
        <a:spcBef>
          <a:spcPct val="50000"/>
        </a:spcBef>
        <a:spcAft>
          <a:spcPct val="0"/>
        </a:spcAft>
        <a:defRPr>
          <a:solidFill>
            <a:schemeClr val="tx2"/>
          </a:solidFill>
          <a:latin typeface="+mn-lt"/>
          <a:ea typeface="+mn-ea"/>
          <a:cs typeface="+mn-cs"/>
        </a:defRPr>
      </a:lvl1pPr>
      <a:lvl2pPr marL="167879" indent="-166688" algn="l" rtl="0" fontAlgn="base">
        <a:spcBef>
          <a:spcPct val="100000"/>
        </a:spcBef>
        <a:spcAft>
          <a:spcPct val="0"/>
        </a:spcAft>
        <a:buSzPct val="80000"/>
        <a:buChar char="•"/>
        <a:defRPr>
          <a:solidFill>
            <a:schemeClr val="tx2"/>
          </a:solidFill>
          <a:latin typeface="+mn-lt"/>
          <a:ea typeface="+mn-ea"/>
        </a:defRPr>
      </a:lvl2pPr>
      <a:lvl3pPr marL="520304" indent="-171450" algn="l" rtl="0" fontAlgn="base">
        <a:spcBef>
          <a:spcPct val="25000"/>
        </a:spcBef>
        <a:spcAft>
          <a:spcPct val="0"/>
        </a:spcAft>
        <a:buChar char="–"/>
        <a:defRPr>
          <a:solidFill>
            <a:schemeClr val="tx2"/>
          </a:solidFill>
          <a:latin typeface="+mn-lt"/>
          <a:ea typeface="+mn-ea"/>
        </a:defRPr>
      </a:lvl3pPr>
      <a:lvl4pPr marL="840581" indent="-171450" algn="l" rtl="0" fontAlgn="base">
        <a:spcBef>
          <a:spcPct val="25000"/>
        </a:spcBef>
        <a:spcAft>
          <a:spcPct val="0"/>
        </a:spcAft>
        <a:buSzPct val="80000"/>
        <a:buChar char="•"/>
        <a:defRPr>
          <a:solidFill>
            <a:schemeClr val="tx2"/>
          </a:solidFill>
          <a:latin typeface="+mn-lt"/>
          <a:ea typeface="+mn-ea"/>
        </a:defRPr>
      </a:lvl4pPr>
      <a:lvl5pPr marL="1206104" indent="-171450" algn="l" rtl="0" fontAlgn="base">
        <a:spcBef>
          <a:spcPct val="25000"/>
        </a:spcBef>
        <a:spcAft>
          <a:spcPct val="0"/>
        </a:spcAft>
        <a:buChar char="–"/>
        <a:defRPr>
          <a:solidFill>
            <a:schemeClr val="tx2"/>
          </a:solidFill>
          <a:latin typeface="+mn-lt"/>
          <a:ea typeface="+mn-ea"/>
        </a:defRPr>
      </a:lvl5pPr>
      <a:lvl6pPr marL="1549004" indent="-171450" algn="l" rtl="0" eaLnBrk="1" fontAlgn="base" hangingPunct="1">
        <a:spcBef>
          <a:spcPct val="25000"/>
        </a:spcBef>
        <a:spcAft>
          <a:spcPct val="0"/>
        </a:spcAft>
        <a:buChar char="–"/>
        <a:defRPr>
          <a:solidFill>
            <a:schemeClr val="bg2"/>
          </a:solidFill>
          <a:latin typeface="+mn-lt"/>
          <a:ea typeface="+mn-ea"/>
        </a:defRPr>
      </a:lvl6pPr>
      <a:lvl7pPr marL="1891904" indent="-171450" algn="l" rtl="0" eaLnBrk="1" fontAlgn="base" hangingPunct="1">
        <a:spcBef>
          <a:spcPct val="25000"/>
        </a:spcBef>
        <a:spcAft>
          <a:spcPct val="0"/>
        </a:spcAft>
        <a:buChar char="–"/>
        <a:defRPr>
          <a:solidFill>
            <a:schemeClr val="bg2"/>
          </a:solidFill>
          <a:latin typeface="+mn-lt"/>
          <a:ea typeface="+mn-ea"/>
        </a:defRPr>
      </a:lvl7pPr>
      <a:lvl8pPr marL="2234804" indent="-171450" algn="l" rtl="0" eaLnBrk="1" fontAlgn="base" hangingPunct="1">
        <a:spcBef>
          <a:spcPct val="25000"/>
        </a:spcBef>
        <a:spcAft>
          <a:spcPct val="0"/>
        </a:spcAft>
        <a:buChar char="–"/>
        <a:defRPr>
          <a:solidFill>
            <a:schemeClr val="bg2"/>
          </a:solidFill>
          <a:latin typeface="+mn-lt"/>
          <a:ea typeface="+mn-ea"/>
        </a:defRPr>
      </a:lvl8pPr>
      <a:lvl9pPr marL="2577704" indent="-171450" algn="l" rtl="0" eaLnBrk="1" fontAlgn="base" hangingPunct="1">
        <a:spcBef>
          <a:spcPct val="25000"/>
        </a:spcBef>
        <a:spcAft>
          <a:spcPct val="0"/>
        </a:spcAft>
        <a:buChar char="–"/>
        <a:defRPr>
          <a:solidFill>
            <a:schemeClr val="bg2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7A08E557-10DB-421A-876E-1AE58F8E07C4}"/>
              </a:ext>
            </a:extLst>
          </p:cNvPr>
          <p:cNvSpPr/>
          <p:nvPr/>
        </p:nvSpPr>
        <p:spPr>
          <a:xfrm>
            <a:off x="6633528" y="2799420"/>
            <a:ext cx="2514145" cy="2344080"/>
          </a:xfrm>
          <a:custGeom>
            <a:avLst/>
            <a:gdLst>
              <a:gd name="connsiteX0" fmla="*/ 0 w 3352193"/>
              <a:gd name="connsiteY0" fmla="*/ 3125374 h 3125440"/>
              <a:gd name="connsiteX1" fmla="*/ 2579 w 3352193"/>
              <a:gd name="connsiteY1" fmla="*/ 3125440 h 3125440"/>
              <a:gd name="connsiteX2" fmla="*/ 0 w 3352193"/>
              <a:gd name="connsiteY2" fmla="*/ 3125440 h 3125440"/>
              <a:gd name="connsiteX3" fmla="*/ 3352193 w 3352193"/>
              <a:gd name="connsiteY3" fmla="*/ 0 h 3125440"/>
              <a:gd name="connsiteX4" fmla="*/ 3352193 w 3352193"/>
              <a:gd name="connsiteY4" fmla="*/ 3125440 h 3125440"/>
              <a:gd name="connsiteX5" fmla="*/ 2579 w 3352193"/>
              <a:gd name="connsiteY5" fmla="*/ 3125440 h 3125440"/>
              <a:gd name="connsiteX6" fmla="*/ 3348685 w 3352193"/>
              <a:gd name="connsiteY6" fmla="*/ 47035 h 3125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52193" h="3125440">
                <a:moveTo>
                  <a:pt x="0" y="3125374"/>
                </a:moveTo>
                <a:lnTo>
                  <a:pt x="2579" y="3125440"/>
                </a:lnTo>
                <a:lnTo>
                  <a:pt x="0" y="3125440"/>
                </a:lnTo>
                <a:close/>
                <a:moveTo>
                  <a:pt x="3352193" y="0"/>
                </a:moveTo>
                <a:lnTo>
                  <a:pt x="3352193" y="3125440"/>
                </a:lnTo>
                <a:lnTo>
                  <a:pt x="2579" y="3125440"/>
                </a:lnTo>
                <a:cubicBezTo>
                  <a:pt x="1744073" y="3125440"/>
                  <a:pt x="3176441" y="1776129"/>
                  <a:pt x="3348685" y="47035"/>
                </a:cubicBezTo>
                <a:close/>
              </a:path>
            </a:pathLst>
          </a:custGeom>
          <a:solidFill>
            <a:schemeClr val="accent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05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2EBCA0-8609-4F35-8CA7-7AD35FDACD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1710" y="4825920"/>
            <a:ext cx="2571009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88" spc="38" baseline="0">
                <a:solidFill>
                  <a:schemeClr val="accent2"/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FDA9639-38D2-4CD4-A861-F6B4C6CB99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581" y="442779"/>
            <a:ext cx="7651686" cy="9944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AF00B1-16C1-47B3-A7A0-B714683128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9119" y="1437197"/>
            <a:ext cx="7644149" cy="31001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CF9501-5B6B-4DAF-B59D-3C129ED805A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762750" y="4824902"/>
            <a:ext cx="1780613" cy="2758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88" spc="38" baseline="0">
                <a:solidFill>
                  <a:srgbClr val="FFFFFF"/>
                </a:solidFill>
                <a:latin typeface="+mn-lt"/>
              </a:defRPr>
            </a:lvl1pPr>
          </a:lstStyle>
          <a:p>
            <a:fld id="{32637B58-87C1-446D-BDA9-B06F4BCF7782}" type="datetimeFigureOut">
              <a:rPr lang="en-US" smtClean="0"/>
              <a:pPr/>
              <a:t>4/11/2024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7685DBD-B7AE-41D8-8CF1-B21CD58E1B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543363" y="4824902"/>
            <a:ext cx="519947" cy="2758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00">
                <a:solidFill>
                  <a:srgbClr val="FFFFFF"/>
                </a:solidFill>
                <a:latin typeface="+mj-lt"/>
              </a:defRPr>
            </a:lvl1pPr>
          </a:lstStyle>
          <a:p>
            <a:fld id="{08AB70BE-1769-45B8-85A6-0C837432C7E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91541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120000"/>
        </a:lnSpc>
        <a:spcBef>
          <a:spcPts val="750"/>
        </a:spcBef>
        <a:buClr>
          <a:schemeClr val="accent5"/>
        </a:buClr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120000"/>
        </a:lnSpc>
        <a:spcBef>
          <a:spcPts val="375"/>
        </a:spcBef>
        <a:buClr>
          <a:schemeClr val="accent5"/>
        </a:buClr>
        <a:buFont typeface="Arial" panose="020B0604020202020204" pitchFamily="34" charset="0"/>
        <a:buChar char="•"/>
        <a:defRPr sz="1350" kern="1200">
          <a:solidFill>
            <a:schemeClr val="tx2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120000"/>
        </a:lnSpc>
        <a:spcBef>
          <a:spcPts val="375"/>
        </a:spcBef>
        <a:buClr>
          <a:schemeClr val="accent5"/>
        </a:buClr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120000"/>
        </a:lnSpc>
        <a:spcBef>
          <a:spcPts val="375"/>
        </a:spcBef>
        <a:buClr>
          <a:schemeClr val="accent5"/>
        </a:buClr>
        <a:buFont typeface="Arial" panose="020B0604020202020204" pitchFamily="34" charset="0"/>
        <a:buChar char="•"/>
        <a:defRPr sz="1050" kern="1200">
          <a:solidFill>
            <a:schemeClr val="tx2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120000"/>
        </a:lnSpc>
        <a:spcBef>
          <a:spcPts val="375"/>
        </a:spcBef>
        <a:buClr>
          <a:schemeClr val="accent5"/>
        </a:buClr>
        <a:buFont typeface="Arial" panose="020B0604020202020204" pitchFamily="34" charset="0"/>
        <a:buChar char="•"/>
        <a:defRPr sz="1050" kern="1200">
          <a:solidFill>
            <a:schemeClr val="tx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12A36CF-5071-25CF-6C0E-B454CC3B5A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629405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0C9EC3-01DB-8F24-15A7-32B934CE7D3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037063"/>
            <a:ext cx="7886700" cy="3595659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DB9ADA-487A-8FB2-621F-D101B1E4A77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DB0ABB-8192-E746-8430-A7D324DA133A}" type="datetimeFigureOut">
              <a:rPr lang="en-US" smtClean="0"/>
              <a:t>4/1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B3B48F-E674-4E63-1C72-89B214291B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B141E3-43E7-C540-28DE-B4177B5C5B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940155" y="4756547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88">
                <a:solidFill>
                  <a:srgbClr val="92D050"/>
                </a:solidFill>
                <a:latin typeface="Tenorite" pitchFamily="2" charset="0"/>
              </a:defRPr>
            </a:lvl1pPr>
          </a:lstStyle>
          <a:p>
            <a:fld id="{DD62B0A7-7A19-8C4C-BF0B-AC696579831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854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1" r:id="rId1"/>
    <p:sldLayoutId id="2147484011" r:id="rId2"/>
    <p:sldLayoutId id="2147483982" r:id="rId3"/>
    <p:sldLayoutId id="2147483983" r:id="rId4"/>
    <p:sldLayoutId id="2147483984" r:id="rId5"/>
    <p:sldLayoutId id="2147483985" r:id="rId6"/>
    <p:sldLayoutId id="2147483986" r:id="rId7"/>
    <p:sldLayoutId id="2147483987" r:id="rId8"/>
    <p:sldLayoutId id="2147483988" r:id="rId9"/>
    <p:sldLayoutId id="2147483989" r:id="rId10"/>
    <p:sldLayoutId id="2147483990" r:id="rId11"/>
    <p:sldLayoutId id="2147483991" r:id="rId12"/>
    <p:sldLayoutId id="2147483992" r:id="rId13"/>
    <p:sldLayoutId id="2147483993" r:id="rId14"/>
    <p:sldLayoutId id="2147483994" r:id="rId15"/>
    <p:sldLayoutId id="2147484012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Tenorite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enorite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Tenorit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enorit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norit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norit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50.xml"/><Relationship Id="rId5" Type="http://schemas.openxmlformats.org/officeDocument/2006/relationships/image" Target="../media/image93.png"/><Relationship Id="rId4" Type="http://schemas.openxmlformats.org/officeDocument/2006/relationships/image" Target="../media/image9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.png"/><Relationship Id="rId3" Type="http://schemas.openxmlformats.org/officeDocument/2006/relationships/image" Target="../media/image94.png"/><Relationship Id="rId7" Type="http://schemas.openxmlformats.org/officeDocument/2006/relationships/image" Target="../media/image98.svg"/><Relationship Id="rId12" Type="http://schemas.openxmlformats.org/officeDocument/2006/relationships/image" Target="../media/image10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97.png"/><Relationship Id="rId11" Type="http://schemas.openxmlformats.org/officeDocument/2006/relationships/image" Target="../media/image102.png"/><Relationship Id="rId5" Type="http://schemas.openxmlformats.org/officeDocument/2006/relationships/image" Target="../media/image96.png"/><Relationship Id="rId10" Type="http://schemas.openxmlformats.org/officeDocument/2006/relationships/image" Target="../media/image101.png"/><Relationship Id="rId4" Type="http://schemas.openxmlformats.org/officeDocument/2006/relationships/image" Target="../media/image95.png"/><Relationship Id="rId9" Type="http://schemas.openxmlformats.org/officeDocument/2006/relationships/image" Target="../media/image100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5.emf"/><Relationship Id="rId3" Type="http://schemas.openxmlformats.org/officeDocument/2006/relationships/notesSlide" Target="../notesSlides/notesSlide8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54.xml"/><Relationship Id="rId1" Type="http://schemas.openxmlformats.org/officeDocument/2006/relationships/tags" Target="../tags/tag1.xml"/><Relationship Id="rId6" Type="http://schemas.openxmlformats.org/officeDocument/2006/relationships/image" Target="../media/image100.svg"/><Relationship Id="rId5" Type="http://schemas.openxmlformats.org/officeDocument/2006/relationships/image" Target="../media/image99.png"/><Relationship Id="rId4" Type="http://schemas.openxmlformats.org/officeDocument/2006/relationships/image" Target="../media/image104.png"/><Relationship Id="rId9" Type="http://schemas.openxmlformats.org/officeDocument/2006/relationships/image" Target="../media/image106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5.emf"/><Relationship Id="rId3" Type="http://schemas.openxmlformats.org/officeDocument/2006/relationships/notesSlide" Target="../notesSlides/notesSlide9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51.xml"/><Relationship Id="rId1" Type="http://schemas.openxmlformats.org/officeDocument/2006/relationships/tags" Target="../tags/tag2.xml"/><Relationship Id="rId6" Type="http://schemas.openxmlformats.org/officeDocument/2006/relationships/image" Target="../media/image100.svg"/><Relationship Id="rId5" Type="http://schemas.openxmlformats.org/officeDocument/2006/relationships/image" Target="../media/image99.png"/><Relationship Id="rId4" Type="http://schemas.openxmlformats.org/officeDocument/2006/relationships/image" Target="../media/image10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jpeg"/><Relationship Id="rId2" Type="http://schemas.openxmlformats.org/officeDocument/2006/relationships/hyperlink" Target="mailto:Brandon.Corsentino@ridebeep.com" TargetMode="External"/><Relationship Id="rId1" Type="http://schemas.openxmlformats.org/officeDocument/2006/relationships/slideLayout" Target="../slideLayouts/slideLayout4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5.xml"/><Relationship Id="rId6" Type="http://schemas.openxmlformats.org/officeDocument/2006/relationships/hyperlink" Target="mailto:info@marysunshinehouse.org" TargetMode="External"/><Relationship Id="rId5" Type="http://schemas.openxmlformats.org/officeDocument/2006/relationships/hyperlink" Target="http://www.marysunshinehouse.org/" TargetMode="External"/><Relationship Id="rId4" Type="http://schemas.openxmlformats.org/officeDocument/2006/relationships/image" Target="../media/image109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6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5.jpeg"/><Relationship Id="rId3" Type="http://schemas.openxmlformats.org/officeDocument/2006/relationships/image" Target="../media/image110.png"/><Relationship Id="rId7" Type="http://schemas.openxmlformats.org/officeDocument/2006/relationships/image" Target="../media/image114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113.jpeg"/><Relationship Id="rId5" Type="http://schemas.openxmlformats.org/officeDocument/2006/relationships/image" Target="../media/image112.png"/><Relationship Id="rId4" Type="http://schemas.openxmlformats.org/officeDocument/2006/relationships/image" Target="../media/image111.jpeg"/><Relationship Id="rId9" Type="http://schemas.openxmlformats.org/officeDocument/2006/relationships/image" Target="../media/image11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120.png"/><Relationship Id="rId5" Type="http://schemas.openxmlformats.org/officeDocument/2006/relationships/image" Target="../media/image119.png"/><Relationship Id="rId4" Type="http://schemas.openxmlformats.org/officeDocument/2006/relationships/image" Target="../media/image11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emf"/><Relationship Id="rId3" Type="http://schemas.openxmlformats.org/officeDocument/2006/relationships/image" Target="../media/image19.png"/><Relationship Id="rId7" Type="http://schemas.openxmlformats.org/officeDocument/2006/relationships/image" Target="../media/image23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22.emf"/><Relationship Id="rId5" Type="http://schemas.openxmlformats.org/officeDocument/2006/relationships/image" Target="../media/image21.png"/><Relationship Id="rId4" Type="http://schemas.openxmlformats.org/officeDocument/2006/relationships/image" Target="../media/image20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12" Type="http://schemas.openxmlformats.org/officeDocument/2006/relationships/image" Target="../media/image3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28.svg"/><Relationship Id="rId11" Type="http://schemas.openxmlformats.org/officeDocument/2006/relationships/image" Target="../media/image31.png"/><Relationship Id="rId5" Type="http://schemas.openxmlformats.org/officeDocument/2006/relationships/image" Target="../media/image27.png"/><Relationship Id="rId10" Type="http://schemas.openxmlformats.org/officeDocument/2006/relationships/image" Target="../media/image20.svg"/><Relationship Id="rId4" Type="http://schemas.openxmlformats.org/officeDocument/2006/relationships/image" Target="../media/image26.png"/><Relationship Id="rId9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svg"/><Relationship Id="rId13" Type="http://schemas.openxmlformats.org/officeDocument/2006/relationships/image" Target="../media/image44.png"/><Relationship Id="rId18" Type="http://schemas.openxmlformats.org/officeDocument/2006/relationships/image" Target="../media/image49.svg"/><Relationship Id="rId3" Type="http://schemas.openxmlformats.org/officeDocument/2006/relationships/image" Target="../media/image34.emf"/><Relationship Id="rId7" Type="http://schemas.openxmlformats.org/officeDocument/2006/relationships/image" Target="../media/image38.png"/><Relationship Id="rId12" Type="http://schemas.openxmlformats.org/officeDocument/2006/relationships/image" Target="../media/image43.png"/><Relationship Id="rId17" Type="http://schemas.openxmlformats.org/officeDocument/2006/relationships/image" Target="../media/image48.png"/><Relationship Id="rId2" Type="http://schemas.openxmlformats.org/officeDocument/2006/relationships/image" Target="../media/image33.png"/><Relationship Id="rId16" Type="http://schemas.openxmlformats.org/officeDocument/2006/relationships/image" Target="../media/image47.png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37.svg"/><Relationship Id="rId11" Type="http://schemas.openxmlformats.org/officeDocument/2006/relationships/image" Target="../media/image42.png"/><Relationship Id="rId5" Type="http://schemas.openxmlformats.org/officeDocument/2006/relationships/image" Target="../media/image36.png"/><Relationship Id="rId15" Type="http://schemas.openxmlformats.org/officeDocument/2006/relationships/image" Target="../media/image46.emf"/><Relationship Id="rId10" Type="http://schemas.openxmlformats.org/officeDocument/2006/relationships/image" Target="../media/image41.png"/><Relationship Id="rId19" Type="http://schemas.openxmlformats.org/officeDocument/2006/relationships/image" Target="../media/image50.png"/><Relationship Id="rId4" Type="http://schemas.openxmlformats.org/officeDocument/2006/relationships/image" Target="../media/image35.emf"/><Relationship Id="rId9" Type="http://schemas.openxmlformats.org/officeDocument/2006/relationships/image" Target="../media/image40.png"/><Relationship Id="rId14" Type="http://schemas.openxmlformats.org/officeDocument/2006/relationships/image" Target="../media/image45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13" Type="http://schemas.openxmlformats.org/officeDocument/2006/relationships/image" Target="../media/image60.png"/><Relationship Id="rId18" Type="http://schemas.openxmlformats.org/officeDocument/2006/relationships/image" Target="../media/image65.png"/><Relationship Id="rId3" Type="http://schemas.openxmlformats.org/officeDocument/2006/relationships/image" Target="../media/image51.png"/><Relationship Id="rId21" Type="http://schemas.openxmlformats.org/officeDocument/2006/relationships/image" Target="../media/image68.svg"/><Relationship Id="rId7" Type="http://schemas.openxmlformats.org/officeDocument/2006/relationships/image" Target="../media/image55.jpeg"/><Relationship Id="rId12" Type="http://schemas.openxmlformats.org/officeDocument/2006/relationships/image" Target="../media/image59.png"/><Relationship Id="rId17" Type="http://schemas.openxmlformats.org/officeDocument/2006/relationships/image" Target="../media/image64.png"/><Relationship Id="rId2" Type="http://schemas.openxmlformats.org/officeDocument/2006/relationships/hyperlink" Target="https://nam10.safelinks.protection.outlook.com/?url=https%3A%2F%2Fwww.youtube.com%2Fwatch%3Fv%3Df79C4kw7wfw&amp;data=05%7C01%7Cracquel.asa%40ridebeep.com%7C66832b2722414324fd1408daa3219b7a%7Ce6393ba10e91421b93c85233ba49719f%7C1%7C0%7C638001662004671196%7CUnknown%7CTWFpbGZsb3d8eyJWIjoiMC4wLjAwMDAiLCJQIjoiV2luMzIiLCJBTiI6Ik1haWwiLCJXVCI6Mn0%3D%7C3000%7C%7C%7C&amp;sdata=AwJ1atECNIXgwPONmN8GBcPB%2B8zvwuVQBMjzhyKLYSA%3D&amp;reserved=0" TargetMode="External"/><Relationship Id="rId16" Type="http://schemas.openxmlformats.org/officeDocument/2006/relationships/image" Target="../media/image63.png"/><Relationship Id="rId20" Type="http://schemas.openxmlformats.org/officeDocument/2006/relationships/image" Target="../media/image67.png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54.png"/><Relationship Id="rId11" Type="http://schemas.openxmlformats.org/officeDocument/2006/relationships/image" Target="../media/image58.png"/><Relationship Id="rId5" Type="http://schemas.openxmlformats.org/officeDocument/2006/relationships/image" Target="../media/image53.png"/><Relationship Id="rId15" Type="http://schemas.openxmlformats.org/officeDocument/2006/relationships/image" Target="../media/image62.png"/><Relationship Id="rId10" Type="http://schemas.openxmlformats.org/officeDocument/2006/relationships/image" Target="../media/image57.png"/><Relationship Id="rId19" Type="http://schemas.openxmlformats.org/officeDocument/2006/relationships/image" Target="../media/image66.svg"/><Relationship Id="rId4" Type="http://schemas.openxmlformats.org/officeDocument/2006/relationships/image" Target="../media/image52.png"/><Relationship Id="rId9" Type="http://schemas.microsoft.com/office/2007/relationships/hdphoto" Target="../media/hdphoto1.wdp"/><Relationship Id="rId14" Type="http://schemas.openxmlformats.org/officeDocument/2006/relationships/image" Target="../media/image61.png"/><Relationship Id="rId22" Type="http://schemas.openxmlformats.org/officeDocument/2006/relationships/image" Target="../media/image6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image" Target="../media/image70.png"/><Relationship Id="rId7" Type="http://schemas.openxmlformats.org/officeDocument/2006/relationships/image" Target="../media/image7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73.emf"/><Relationship Id="rId11" Type="http://schemas.openxmlformats.org/officeDocument/2006/relationships/image" Target="../media/image78.png"/><Relationship Id="rId5" Type="http://schemas.openxmlformats.org/officeDocument/2006/relationships/image" Target="../media/image72.png"/><Relationship Id="rId10" Type="http://schemas.openxmlformats.org/officeDocument/2006/relationships/image" Target="../media/image77.jpeg"/><Relationship Id="rId4" Type="http://schemas.openxmlformats.org/officeDocument/2006/relationships/image" Target="../media/image71.png"/><Relationship Id="rId9" Type="http://schemas.openxmlformats.org/officeDocument/2006/relationships/image" Target="../media/image7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jpeg"/><Relationship Id="rId3" Type="http://schemas.openxmlformats.org/officeDocument/2006/relationships/image" Target="../media/image79.png"/><Relationship Id="rId7" Type="http://schemas.openxmlformats.org/officeDocument/2006/relationships/image" Target="../media/image8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82.svg"/><Relationship Id="rId5" Type="http://schemas.openxmlformats.org/officeDocument/2006/relationships/image" Target="../media/image81.png"/><Relationship Id="rId10" Type="http://schemas.openxmlformats.org/officeDocument/2006/relationships/image" Target="../media/image86.jpeg"/><Relationship Id="rId4" Type="http://schemas.openxmlformats.org/officeDocument/2006/relationships/image" Target="../media/image80.svg"/><Relationship Id="rId9" Type="http://schemas.openxmlformats.org/officeDocument/2006/relationships/image" Target="../media/image85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9.xml"/><Relationship Id="rId6" Type="http://schemas.openxmlformats.org/officeDocument/2006/relationships/hyperlink" Target="https://www.linkedin.com/feed/update/urn:li:activity:7183822384221593600/" TargetMode="External"/><Relationship Id="rId5" Type="http://schemas.openxmlformats.org/officeDocument/2006/relationships/image" Target="../media/image89.jpeg"/><Relationship Id="rId4" Type="http://schemas.openxmlformats.org/officeDocument/2006/relationships/image" Target="../media/image8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" name="Freeform: Shape 3"/>
          <p:cNvSpPr/>
          <p:nvPr/>
        </p:nvSpPr>
        <p:spPr bwMode="auto">
          <a:xfrm>
            <a:off x="326572" y="139817"/>
            <a:ext cx="5365094" cy="432767"/>
          </a:xfrm>
          <a:custGeom>
            <a:avLst/>
            <a:gdLst>
              <a:gd name="connsiteX0" fmla="*/ 0 w 9539785"/>
              <a:gd name="connsiteY0" fmla="*/ 0 h 1160059"/>
              <a:gd name="connsiteX1" fmla="*/ 0 w 9539785"/>
              <a:gd name="connsiteY1" fmla="*/ 1160059 h 1160059"/>
              <a:gd name="connsiteX2" fmla="*/ 9539785 w 9539785"/>
              <a:gd name="connsiteY2" fmla="*/ 1160059 h 1160059"/>
              <a:gd name="connsiteX3" fmla="*/ 8379726 w 9539785"/>
              <a:gd name="connsiteY3" fmla="*/ 0 h 1160059"/>
              <a:gd name="connsiteX4" fmla="*/ 0 w 9539785"/>
              <a:gd name="connsiteY4" fmla="*/ 0 h 1160059"/>
              <a:gd name="connsiteX0" fmla="*/ 0 w 9149260"/>
              <a:gd name="connsiteY0" fmla="*/ 0 h 1160059"/>
              <a:gd name="connsiteX1" fmla="*/ 0 w 9149260"/>
              <a:gd name="connsiteY1" fmla="*/ 1160059 h 1160059"/>
              <a:gd name="connsiteX2" fmla="*/ 9149260 w 9149260"/>
              <a:gd name="connsiteY2" fmla="*/ 1160059 h 1160059"/>
              <a:gd name="connsiteX3" fmla="*/ 8379726 w 9149260"/>
              <a:gd name="connsiteY3" fmla="*/ 0 h 1160059"/>
              <a:gd name="connsiteX4" fmla="*/ 0 w 9149260"/>
              <a:gd name="connsiteY4" fmla="*/ 0 h 11600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9260" h="1160059" extrusionOk="0">
                <a:moveTo>
                  <a:pt x="0" y="0"/>
                </a:moveTo>
                <a:lnTo>
                  <a:pt x="0" y="1160059"/>
                </a:lnTo>
                <a:lnTo>
                  <a:pt x="9149260" y="1160059"/>
                </a:lnTo>
                <a:lnTo>
                  <a:pt x="8379726" y="0"/>
                </a:lnTo>
                <a:lnTo>
                  <a:pt x="0" y="0"/>
                </a:lnTo>
                <a:close/>
              </a:path>
            </a:pathLst>
          </a:custGeom>
          <a:solidFill>
            <a:srgbClr val="84B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14350">
              <a:buClrTx/>
              <a:defRPr/>
            </a:pPr>
            <a:endParaRPr lang="en-US" sz="1013" kern="1200">
              <a:solidFill>
                <a:prstClr val="white"/>
              </a:solidFill>
              <a:latin typeface="Calibri"/>
              <a:cs typeface="Arial"/>
            </a:endParaRPr>
          </a:p>
        </p:txBody>
      </p:sp>
      <p:sp>
        <p:nvSpPr>
          <p:cNvPr id="6" name="Title 7"/>
          <p:cNvSpPr>
            <a:spLocks/>
          </p:cNvSpPr>
          <p:nvPr/>
        </p:nvSpPr>
        <p:spPr bwMode="auto">
          <a:xfrm>
            <a:off x="326572" y="253521"/>
            <a:ext cx="5089685" cy="294994"/>
          </a:xfrm>
          <a:prstGeom prst="rect">
            <a:avLst/>
          </a:prstGeom>
        </p:spPr>
        <p:txBody>
          <a:bodyPr vert="horz" lIns="51435" tIns="25718" rIns="51435" bIns="25718" rtlCol="0" anchor="b">
            <a:noAutofit/>
          </a:bodyPr>
          <a:lstStyle>
            <a:lvl1pPr algn="ctr" defTabSz="914400">
              <a:lnSpc>
                <a:spcPct val="90000"/>
              </a:lnSpc>
              <a:spcBef>
                <a:spcPts val="0"/>
              </a:spcBef>
              <a:buNone/>
              <a:defRPr sz="6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514350">
              <a:buClrTx/>
              <a:defRPr/>
            </a:pPr>
            <a:r>
              <a:rPr lang="en-US" sz="2250" kern="1200" dirty="0">
                <a:solidFill>
                  <a:prstClr val="white"/>
                </a:solidFill>
                <a:latin typeface="Montserrat Medium" pitchFamily="2" charset="0"/>
                <a:cs typeface="Arial"/>
              </a:rPr>
              <a:t>TATT CHAT – April 11, 2024</a:t>
            </a:r>
          </a:p>
        </p:txBody>
      </p:sp>
      <p:pic>
        <p:nvPicPr>
          <p:cNvPr id="7" name="Picture 5" descr="A picture containing game&#10;&#10;Description automatically generated"/>
          <p:cNvPicPr>
            <a:picLocks noChangeAspect="1"/>
          </p:cNvPicPr>
          <p:nvPr/>
        </p:nvPicPr>
        <p:blipFill>
          <a:blip r:embed="rId2"/>
          <a:stretch/>
        </p:blipFill>
        <p:spPr bwMode="auto">
          <a:xfrm>
            <a:off x="7056582" y="174961"/>
            <a:ext cx="671140" cy="452115"/>
          </a:xfrm>
          <a:prstGeom prst="rect">
            <a:avLst/>
          </a:prstGeom>
        </p:spPr>
      </p:pic>
      <p:sp>
        <p:nvSpPr>
          <p:cNvPr id="9" name="TextBox 8"/>
          <p:cNvSpPr>
            <a:spLocks/>
          </p:cNvSpPr>
          <p:nvPr/>
        </p:nvSpPr>
        <p:spPr bwMode="auto">
          <a:xfrm>
            <a:off x="601980" y="4634899"/>
            <a:ext cx="2973843" cy="333641"/>
          </a:xfrm>
          <a:prstGeom prst="rect">
            <a:avLst/>
          </a:prstGeom>
          <a:solidFill>
            <a:srgbClr val="84B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685800">
              <a:defRPr/>
            </a:pPr>
            <a:r>
              <a:rPr lang="en-US" sz="1013" kern="1200" dirty="0">
                <a:latin typeface="Montserrat Medium" pitchFamily="2" charset="0"/>
                <a:cs typeface="Arial"/>
              </a:rPr>
              <a:t>NEXT TATT CHAT – May 9, 2024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6492090-DDEF-40FC-BCE6-8DC048D8E8F5}"/>
              </a:ext>
            </a:extLst>
          </p:cNvPr>
          <p:cNvSpPr txBox="1"/>
          <p:nvPr/>
        </p:nvSpPr>
        <p:spPr>
          <a:xfrm>
            <a:off x="256309" y="1179061"/>
            <a:ext cx="4474771" cy="23929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00">
              <a:buClrTx/>
              <a:defRPr/>
            </a:pPr>
            <a:r>
              <a:rPr lang="en-US" sz="1200" b="1" kern="1200" dirty="0">
                <a:solidFill>
                  <a:prstClr val="black"/>
                </a:solidFill>
                <a:latin typeface="Century Gothic" panose="020B0502020202020204" pitchFamily="34" charset="0"/>
              </a:rPr>
              <a:t>Welcome   </a:t>
            </a:r>
            <a:endParaRPr lang="en-US" sz="1200" kern="1200" dirty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marL="217170" lvl="4" defTabSz="685800">
              <a:spcBef>
                <a:spcPts val="300"/>
              </a:spcBef>
              <a:tabLst>
                <a:tab pos="212725" algn="l"/>
                <a:tab pos="628650" algn="l"/>
                <a:tab pos="6960870" algn="r"/>
              </a:tabLst>
              <a:defRPr/>
            </a:pPr>
            <a:r>
              <a:rPr lang="en-US" sz="1100" kern="1200" dirty="0">
                <a:solidFill>
                  <a:prstClr val="black"/>
                </a:solidFill>
                <a:latin typeface="Century Gothic" panose="020B0502020202020204" pitchFamily="34" charset="0"/>
              </a:rPr>
              <a:t>James Bennett, TATT Board of Directors Member </a:t>
            </a:r>
          </a:p>
          <a:p>
            <a:pPr marL="217170" lvl="4" defTabSz="685800">
              <a:spcBef>
                <a:spcPts val="300"/>
              </a:spcBef>
              <a:tabLst>
                <a:tab pos="212725" algn="l"/>
                <a:tab pos="628650" algn="l"/>
                <a:tab pos="6960870" algn="r"/>
              </a:tabLst>
              <a:defRPr/>
            </a:pPr>
            <a:endParaRPr lang="en-US" sz="1200" kern="1200" dirty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defTabSz="685800">
              <a:buClrTx/>
              <a:defRPr/>
            </a:pPr>
            <a:r>
              <a:rPr lang="en-US" sz="1200" b="1" kern="1200" dirty="0">
                <a:solidFill>
                  <a:prstClr val="black"/>
                </a:solidFill>
                <a:latin typeface="Century Gothic" panose="020B0502020202020204" pitchFamily="34" charset="0"/>
              </a:rPr>
              <a:t>Guest Speaker</a:t>
            </a:r>
          </a:p>
          <a:p>
            <a:pPr marL="217170" marR="0">
              <a:spcBef>
                <a:spcPts val="300"/>
              </a:spcBef>
              <a:spcAft>
                <a:spcPts val="0"/>
              </a:spcAft>
              <a:tabLst>
                <a:tab pos="212725" algn="l"/>
                <a:tab pos="628650" algn="l"/>
                <a:tab pos="6960870" algn="r"/>
              </a:tabLst>
            </a:pPr>
            <a:r>
              <a:rPr lang="en-US" sz="1100" kern="1200" dirty="0">
                <a:solidFill>
                  <a:prstClr val="black"/>
                </a:solidFill>
                <a:latin typeface="Century Gothic" panose="020B0502020202020204" pitchFamily="34" charset="0"/>
              </a:rPr>
              <a:t>Brandon Constantino, Beep, Inc.</a:t>
            </a:r>
          </a:p>
          <a:p>
            <a:pPr marL="217170" marR="0">
              <a:spcBef>
                <a:spcPts val="300"/>
              </a:spcBef>
              <a:spcAft>
                <a:spcPts val="0"/>
              </a:spcAft>
              <a:tabLst>
                <a:tab pos="212725" algn="l"/>
                <a:tab pos="628650" algn="l"/>
                <a:tab pos="6960870" algn="r"/>
              </a:tabLst>
            </a:pPr>
            <a:endParaRPr lang="en-US" sz="1100" kern="1200" dirty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defTabSz="685800">
              <a:buClrTx/>
              <a:defRPr/>
            </a:pPr>
            <a:r>
              <a:rPr lang="en-US" sz="1200" b="1" kern="1200" dirty="0">
                <a:solidFill>
                  <a:prstClr val="black"/>
                </a:solidFill>
                <a:latin typeface="Century Gothic" panose="020B0502020202020204" pitchFamily="34" charset="0"/>
              </a:rPr>
              <a:t>Resource Update</a:t>
            </a:r>
          </a:p>
          <a:p>
            <a:pPr defTabSz="685800">
              <a:buClrTx/>
              <a:defRPr/>
            </a:pPr>
            <a:r>
              <a:rPr lang="en-US" sz="1200" kern="1200" dirty="0">
                <a:solidFill>
                  <a:prstClr val="black"/>
                </a:solidFill>
                <a:latin typeface="Century Gothic" panose="020B0502020202020204" pitchFamily="34" charset="0"/>
              </a:rPr>
              <a:t>     </a:t>
            </a:r>
            <a:r>
              <a:rPr lang="en-US" sz="1100" kern="1200" dirty="0">
                <a:solidFill>
                  <a:prstClr val="black"/>
                </a:solidFill>
                <a:latin typeface="Century Gothic" panose="020B0502020202020204" pitchFamily="34" charset="0"/>
              </a:rPr>
              <a:t>John Groce and Brian Vickers, Mary Sunshine House</a:t>
            </a:r>
          </a:p>
          <a:p>
            <a:pPr defTabSz="685800">
              <a:buClrTx/>
              <a:defRPr/>
            </a:pPr>
            <a:r>
              <a:rPr lang="en-US" sz="1200" kern="1200" dirty="0">
                <a:solidFill>
                  <a:prstClr val="black"/>
                </a:solidFill>
                <a:latin typeface="Century Gothic" panose="020B0502020202020204" pitchFamily="34" charset="0"/>
              </a:rPr>
              <a:t>                                                                                                                                                    </a:t>
            </a:r>
            <a:endParaRPr lang="en-US" sz="1200" b="1" kern="1200" dirty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defTabSz="685800">
              <a:buClrTx/>
              <a:defRPr/>
            </a:pPr>
            <a:r>
              <a:rPr lang="en-US" sz="1200" b="1" kern="1200" dirty="0">
                <a:solidFill>
                  <a:prstClr val="black"/>
                </a:solidFill>
                <a:latin typeface="Century Gothic" panose="020B0502020202020204" pitchFamily="34" charset="0"/>
              </a:rPr>
              <a:t>Adjourn                                                                                    </a:t>
            </a:r>
            <a:endParaRPr lang="en-US" sz="1200" kern="1200" dirty="0">
              <a:solidFill>
                <a:prstClr val="black"/>
              </a:solidFill>
              <a:latin typeface="Century Gothic" panose="020B0502020202020204" pitchFamily="34" charset="0"/>
            </a:endParaRPr>
          </a:p>
          <a:p>
            <a:pPr lvl="4" defTabSz="685800">
              <a:spcBef>
                <a:spcPts val="300"/>
              </a:spcBef>
              <a:tabLst>
                <a:tab pos="212725" algn="l"/>
                <a:tab pos="628650" algn="l"/>
                <a:tab pos="6960870" algn="r"/>
              </a:tabLst>
              <a:defRPr/>
            </a:pPr>
            <a:r>
              <a:rPr lang="en-US" sz="1100" kern="1200" dirty="0">
                <a:solidFill>
                  <a:prstClr val="black"/>
                </a:solidFill>
                <a:latin typeface="Century Gothic" panose="020B0502020202020204" pitchFamily="34" charset="0"/>
              </a:rPr>
              <a:t>	James Bennett, TATT Board of Directors Member</a:t>
            </a:r>
          </a:p>
          <a:p>
            <a:pPr defTabSz="685800">
              <a:buClrTx/>
              <a:defRPr/>
            </a:pPr>
            <a:endParaRPr lang="en-US" sz="900" kern="1200" dirty="0">
              <a:solidFill>
                <a:prstClr val="black"/>
              </a:solidFill>
              <a:latin typeface="Century Gothic" panose="020B0502020202020204" pitchFamily="34" charset="0"/>
            </a:endParaRPr>
          </a:p>
        </p:txBody>
      </p:sp>
      <p:sp>
        <p:nvSpPr>
          <p:cNvPr id="16" name="TextBox 8">
            <a:extLst>
              <a:ext uri="{FF2B5EF4-FFF2-40B4-BE49-F238E27FC236}">
                <a16:creationId xmlns:a16="http://schemas.microsoft.com/office/drawing/2014/main" id="{FD0C9544-2421-4646-A492-FA7D52C9D353}"/>
              </a:ext>
            </a:extLst>
          </p:cNvPr>
          <p:cNvSpPr>
            <a:spLocks/>
          </p:cNvSpPr>
          <p:nvPr/>
        </p:nvSpPr>
        <p:spPr bwMode="auto">
          <a:xfrm>
            <a:off x="5691665" y="4634899"/>
            <a:ext cx="2424793" cy="333641"/>
          </a:xfrm>
          <a:prstGeom prst="rect">
            <a:avLst/>
          </a:prstGeom>
          <a:solidFill>
            <a:srgbClr val="84B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b="0" i="0" u="none" strike="noStrike" cap="none" spc="0">
                <a:ln>
                  <a:noFill/>
                </a:ln>
                <a:solidFill>
                  <a:prstClr val="white"/>
                </a:solidFill>
                <a:latin typeface="Calibri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685800">
              <a:defRPr/>
            </a:pPr>
            <a:r>
              <a:rPr lang="en-US" sz="1013" kern="1200">
                <a:latin typeface="Montserrat Medium" pitchFamily="2" charset="0"/>
                <a:cs typeface="Arial"/>
              </a:rPr>
              <a:t>LEADERSHIP LEVEL PARTNERS</a:t>
            </a:r>
          </a:p>
        </p:txBody>
      </p:sp>
      <p:pic>
        <p:nvPicPr>
          <p:cNvPr id="10" name="Picture 9" descr="A picture containing text, screenshot, font, logo&#10;&#10;Description automatically generated">
            <a:extLst>
              <a:ext uri="{FF2B5EF4-FFF2-40B4-BE49-F238E27FC236}">
                <a16:creationId xmlns:a16="http://schemas.microsoft.com/office/drawing/2014/main" id="{32D70FF9-D64C-4425-1A74-A2359669B3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31080" y="884199"/>
            <a:ext cx="4078550" cy="3670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962566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048360-ADE9-CC86-2923-6AF76CA27E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Beep Next-Generation Shuttle Requiremen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CF66C13-7F89-1942-B29E-C1DFC30B9A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6033" y="4748843"/>
            <a:ext cx="274055" cy="273844"/>
          </a:xfrm>
        </p:spPr>
        <p:txBody>
          <a:bodyPr/>
          <a:lstStyle>
            <a:defPPr>
              <a:defRPr lang="en-US"/>
            </a:defPPr>
            <a:lvl1pPr marL="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7175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35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71525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870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85875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4305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00225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ED7B9B8-BEA5-5149-A074-6E2AF8E8A1DC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74BD4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74BD43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19E90B2-0ADF-BFD7-D6E8-43C8FFCA1514}"/>
              </a:ext>
            </a:extLst>
          </p:cNvPr>
          <p:cNvGrpSpPr/>
          <p:nvPr/>
        </p:nvGrpSpPr>
        <p:grpSpPr>
          <a:xfrm>
            <a:off x="457200" y="1076700"/>
            <a:ext cx="4009969" cy="1583303"/>
            <a:chOff x="609599" y="1435599"/>
            <a:chExt cx="5346625" cy="2111071"/>
          </a:xfrm>
        </p:grpSpPr>
        <p:sp>
          <p:nvSpPr>
            <p:cNvPr id="6" name="Rounded Rectangle 5">
              <a:extLst>
                <a:ext uri="{FF2B5EF4-FFF2-40B4-BE49-F238E27FC236}">
                  <a16:creationId xmlns:a16="http://schemas.microsoft.com/office/drawing/2014/main" id="{6B44A7EE-E44E-CCCD-9F11-C9727A7EB6BF}"/>
                </a:ext>
              </a:extLst>
            </p:cNvPr>
            <p:cNvSpPr/>
            <p:nvPr/>
          </p:nvSpPr>
          <p:spPr>
            <a:xfrm>
              <a:off x="609599" y="1435599"/>
              <a:ext cx="5287618" cy="2111071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101600" dir="2700000" sx="95000" sy="95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C040E27-1EA4-DC36-D12B-84856007A49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9558" y="1734155"/>
              <a:ext cx="1362114" cy="1561891"/>
            </a:xfrm>
            <a:prstGeom prst="rect">
              <a:avLst/>
            </a:prstGeom>
          </p:spPr>
        </p:pic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E1E6757-4B57-66AC-A5A0-35CB4F13111F}"/>
                </a:ext>
              </a:extLst>
            </p:cNvPr>
            <p:cNvSpPr/>
            <p:nvPr/>
          </p:nvSpPr>
          <p:spPr>
            <a:xfrm>
              <a:off x="2382706" y="1785245"/>
              <a:ext cx="3573518" cy="1400383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Tenorite" pitchFamily="2" charset="0"/>
                </a:rPr>
                <a:t>Automotive-grade platform</a:t>
              </a:r>
            </a:p>
            <a:p>
              <a:pPr marL="214313" marR="0" lvl="0" indent="-214313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Tenorite" pitchFamily="2" charset="0"/>
                </a:rPr>
                <a:t>Industrialized manufacturing</a:t>
              </a:r>
            </a:p>
            <a:p>
              <a:pPr marL="214313" marR="0" lvl="0" indent="-214313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Tenorite" pitchFamily="2" charset="0"/>
                </a:rPr>
                <a:t>Mass production pricing</a:t>
              </a:r>
            </a:p>
            <a:p>
              <a:pPr marL="214313" marR="0" lvl="0" indent="-214313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Tenorite" pitchFamily="2" charset="0"/>
                </a:rPr>
                <a:t>Key component redundancy</a:t>
              </a:r>
            </a:p>
            <a:p>
              <a:pPr marL="214313" marR="0" lvl="0" indent="-214313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Tenorite" pitchFamily="2" charset="0"/>
                </a:rPr>
                <a:t>Safety, quality and reliability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BA96BFFD-59C2-732A-189F-E22B7A0C3793}"/>
              </a:ext>
            </a:extLst>
          </p:cNvPr>
          <p:cNvGrpSpPr/>
          <p:nvPr/>
        </p:nvGrpSpPr>
        <p:grpSpPr>
          <a:xfrm>
            <a:off x="4709991" y="1077579"/>
            <a:ext cx="3965714" cy="1583303"/>
            <a:chOff x="6279988" y="1436771"/>
            <a:chExt cx="5287618" cy="2111071"/>
          </a:xfrm>
        </p:grpSpPr>
        <p:sp>
          <p:nvSpPr>
            <p:cNvPr id="16" name="Rounded Rectangle 15">
              <a:extLst>
                <a:ext uri="{FF2B5EF4-FFF2-40B4-BE49-F238E27FC236}">
                  <a16:creationId xmlns:a16="http://schemas.microsoft.com/office/drawing/2014/main" id="{61C6DC2B-D0DD-D084-722C-3A1DBC3C496F}"/>
                </a:ext>
              </a:extLst>
            </p:cNvPr>
            <p:cNvSpPr/>
            <p:nvPr/>
          </p:nvSpPr>
          <p:spPr>
            <a:xfrm>
              <a:off x="6279988" y="1436771"/>
              <a:ext cx="5287618" cy="2111071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101600" dir="2700000" sx="95000" sy="95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ECC5992-3C80-7A9A-0CFD-924EE6B526C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54915" y="1557414"/>
              <a:ext cx="1362114" cy="1738632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7F48CBD9-D799-15E8-BB04-01A1E5F92589}"/>
                </a:ext>
              </a:extLst>
            </p:cNvPr>
            <p:cNvSpPr/>
            <p:nvPr/>
          </p:nvSpPr>
          <p:spPr>
            <a:xfrm>
              <a:off x="7946420" y="1772255"/>
              <a:ext cx="3573518" cy="1400383"/>
            </a:xfrm>
            <a:prstGeom prst="rect">
              <a:avLst/>
            </a:prstGeom>
          </p:spPr>
          <p:txBody>
            <a:bodyPr wrap="square" lIns="68580" tIns="34290" rIns="68580" bIns="34290" anchor="t">
              <a:spAutoFit/>
            </a:bodyPr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Tenorite" pitchFamily="2" charset="0"/>
                </a:rPr>
                <a:t>Meets U.S. compliance requirements</a:t>
              </a:r>
            </a:p>
            <a:p>
              <a:pPr marL="214313" marR="0" lvl="0" indent="-214313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Tenorite" pitchFamily="2" charset="0"/>
                </a:rPr>
                <a:t>FMVSS (applicable)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Tenorite" pitchFamily="2" charset="0"/>
                <a:cs typeface="Calibri"/>
              </a:endParaRPr>
            </a:p>
            <a:p>
              <a:pPr marL="214313" marR="0" lvl="0" indent="-214313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Tenorite" pitchFamily="2" charset="0"/>
                </a:rPr>
                <a:t>Buy America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Tenorite" pitchFamily="2" charset="0"/>
                <a:cs typeface="Calibri"/>
              </a:endParaRPr>
            </a:p>
            <a:p>
              <a:pPr marL="214313" marR="0" lvl="0" indent="-214313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Tenorite" pitchFamily="2" charset="0"/>
                </a:rPr>
                <a:t>ADA</a:t>
              </a:r>
            </a:p>
            <a:p>
              <a:pPr marL="214313" marR="0" lvl="0" indent="-214313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Tenorite" pitchFamily="2" charset="0"/>
                </a:rPr>
                <a:t>Altoona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18364F8-F051-CEE6-8C29-F3E3C2513D06}"/>
              </a:ext>
            </a:extLst>
          </p:cNvPr>
          <p:cNvGrpSpPr/>
          <p:nvPr/>
        </p:nvGrpSpPr>
        <p:grpSpPr>
          <a:xfrm>
            <a:off x="4709991" y="2864002"/>
            <a:ext cx="3965714" cy="1583303"/>
            <a:chOff x="6279988" y="3818669"/>
            <a:chExt cx="5287618" cy="2111071"/>
          </a:xfrm>
        </p:grpSpPr>
        <p:sp>
          <p:nvSpPr>
            <p:cNvPr id="15" name="Rounded Rectangle 14">
              <a:extLst>
                <a:ext uri="{FF2B5EF4-FFF2-40B4-BE49-F238E27FC236}">
                  <a16:creationId xmlns:a16="http://schemas.microsoft.com/office/drawing/2014/main" id="{F96C6534-74DA-2DD8-1C6F-282F72346DCD}"/>
                </a:ext>
              </a:extLst>
            </p:cNvPr>
            <p:cNvSpPr/>
            <p:nvPr/>
          </p:nvSpPr>
          <p:spPr>
            <a:xfrm>
              <a:off x="6279988" y="3818669"/>
              <a:ext cx="5287618" cy="2111071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101600" dir="2700000" sx="95000" sy="95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EECE05CD-AF45-710E-A487-7F621A827AA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76414" y="3896577"/>
              <a:ext cx="1713010" cy="1779037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859525B-7304-5B31-D76E-29EB5BA5C6EE}"/>
                </a:ext>
              </a:extLst>
            </p:cNvPr>
            <p:cNvSpPr/>
            <p:nvPr/>
          </p:nvSpPr>
          <p:spPr>
            <a:xfrm>
              <a:off x="7994088" y="4099778"/>
              <a:ext cx="3573518" cy="1646605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Tenorite" pitchFamily="2" charset="0"/>
                </a:rPr>
                <a:t>Expanded service capabilities</a:t>
              </a:r>
            </a:p>
            <a:p>
              <a:pPr marL="214313" marR="0" lvl="0" indent="-214313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Tenorite" pitchFamily="2" charset="0"/>
                </a:rPr>
                <a:t>Longer routes</a:t>
              </a:r>
            </a:p>
            <a:p>
              <a:pPr marL="214313" marR="0" lvl="0" indent="-214313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sz="1200">
                  <a:solidFill>
                    <a:srgbClr val="44546A"/>
                  </a:solidFill>
                  <a:latin typeface="Tenorite" pitchFamily="2" charset="0"/>
                </a:rPr>
                <a:t>More complex deployments</a:t>
              </a: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Tenorite" pitchFamily="2" charset="0"/>
              </a:endParaRPr>
            </a:p>
            <a:p>
              <a:pPr marL="214313" marR="0" lvl="0" indent="-214313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Tenorite" pitchFamily="2" charset="0"/>
                </a:rPr>
                <a:t>Enhanced user experience</a:t>
              </a:r>
            </a:p>
            <a:p>
              <a:pPr marL="214313" marR="0" lvl="0" indent="-214313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Tenorite" pitchFamily="2" charset="0"/>
                </a:rPr>
                <a:t>Road user communication</a:t>
              </a:r>
            </a:p>
            <a:p>
              <a:pPr marL="214313" marR="0" lvl="0" indent="-214313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Tenorite" pitchFamily="2" charset="0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1163FD3-F82E-D3E2-ED3E-F2B004A61CD4}"/>
              </a:ext>
            </a:extLst>
          </p:cNvPr>
          <p:cNvGrpSpPr/>
          <p:nvPr/>
        </p:nvGrpSpPr>
        <p:grpSpPr>
          <a:xfrm>
            <a:off x="457199" y="2864002"/>
            <a:ext cx="4073502" cy="1583303"/>
            <a:chOff x="609599" y="3818669"/>
            <a:chExt cx="5431336" cy="2111071"/>
          </a:xfrm>
        </p:grpSpPr>
        <p:sp>
          <p:nvSpPr>
            <p:cNvPr id="11" name="Rounded Rectangle 10">
              <a:extLst>
                <a:ext uri="{FF2B5EF4-FFF2-40B4-BE49-F238E27FC236}">
                  <a16:creationId xmlns:a16="http://schemas.microsoft.com/office/drawing/2014/main" id="{C32DECDF-239E-0531-3E31-602DFBDF7111}"/>
                </a:ext>
              </a:extLst>
            </p:cNvPr>
            <p:cNvSpPr/>
            <p:nvPr/>
          </p:nvSpPr>
          <p:spPr>
            <a:xfrm>
              <a:off x="609599" y="3818669"/>
              <a:ext cx="5287618" cy="2111071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101600" dir="2700000" sx="95000" sy="95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BBC08F2-73F8-3DBD-BBD0-6656D1CFF185}"/>
                </a:ext>
              </a:extLst>
            </p:cNvPr>
            <p:cNvSpPr/>
            <p:nvPr/>
          </p:nvSpPr>
          <p:spPr>
            <a:xfrm>
              <a:off x="2467417" y="4099778"/>
              <a:ext cx="3573518" cy="1400383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Tenorite" pitchFamily="2" charset="0"/>
                </a:rPr>
                <a:t>Enhanced autonomous technology</a:t>
              </a:r>
            </a:p>
            <a:p>
              <a:pPr marL="214313" marR="0" lvl="0" indent="-214313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Tenorite" pitchFamily="2" charset="0"/>
                </a:rPr>
                <a:t>Fused sensor/camera platforms</a:t>
              </a:r>
            </a:p>
            <a:p>
              <a:pPr marL="214313" marR="0" lvl="0" indent="-214313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Tenorite" pitchFamily="2" charset="0"/>
                </a:rPr>
                <a:t>Full V2X integration</a:t>
              </a:r>
            </a:p>
            <a:p>
              <a:pPr marL="214313" marR="0" lvl="0" indent="-214313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Tenorite" pitchFamily="2" charset="0"/>
                </a:rPr>
                <a:t>SAE Level 4 Autonomy</a:t>
              </a:r>
            </a:p>
            <a:p>
              <a:pPr marL="214313" marR="0" lvl="0" indent="-214313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44546A"/>
                  </a:solidFill>
                  <a:effectLst/>
                  <a:uLnTx/>
                  <a:uFillTx/>
                  <a:latin typeface="Tenorite" pitchFamily="2" charset="0"/>
                </a:rPr>
                <a:t>Onboard audit governance</a:t>
              </a: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9B3F0202-940E-11C0-FE0A-48484E33059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4222" y="3969427"/>
              <a:ext cx="1713010" cy="163333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839649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A6F9955-0F4F-0458-11D9-776955B98A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>
            <a:extLst>
              <a:ext uri="{FF2B5EF4-FFF2-40B4-BE49-F238E27FC236}">
                <a16:creationId xmlns:a16="http://schemas.microsoft.com/office/drawing/2014/main" id="{5072601A-6272-8289-EDD1-9E73E50A9350}"/>
              </a:ext>
            </a:extLst>
          </p:cNvPr>
          <p:cNvGrpSpPr/>
          <p:nvPr/>
        </p:nvGrpSpPr>
        <p:grpSpPr>
          <a:xfrm>
            <a:off x="751002" y="1517821"/>
            <a:ext cx="7984587" cy="3625679"/>
            <a:chOff x="1697094" y="2339694"/>
            <a:chExt cx="6602997" cy="2998320"/>
          </a:xfrm>
        </p:grpSpPr>
        <p:pic>
          <p:nvPicPr>
            <p:cNvPr id="36" name="Grafik 43">
              <a:extLst>
                <a:ext uri="{FF2B5EF4-FFF2-40B4-BE49-F238E27FC236}">
                  <a16:creationId xmlns:a16="http://schemas.microsoft.com/office/drawing/2014/main" id="{3C0BFD4B-AD12-335F-EB93-B180D7529B2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697094" y="2633806"/>
              <a:ext cx="3227031" cy="1815204"/>
            </a:xfrm>
            <a:prstGeom prst="rect">
              <a:avLst/>
            </a:prstGeom>
          </p:spPr>
        </p:pic>
        <p:pic>
          <p:nvPicPr>
            <p:cNvPr id="37" name="Grafik 42">
              <a:extLst>
                <a:ext uri="{FF2B5EF4-FFF2-40B4-BE49-F238E27FC236}">
                  <a16:creationId xmlns:a16="http://schemas.microsoft.com/office/drawing/2014/main" id="{E311A269-D5F3-C7F5-46AF-B4BC1D0FED3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969745" y="2339694"/>
              <a:ext cx="5330346" cy="2998320"/>
            </a:xfrm>
            <a:prstGeom prst="rect">
              <a:avLst/>
            </a:prstGeom>
          </p:spPr>
        </p:pic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D57C5F8F-F377-34A5-C6FC-4C94170184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342901"/>
            <a:ext cx="8458200" cy="521804"/>
          </a:xfrm>
        </p:spPr>
        <p:txBody>
          <a:bodyPr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/>
              <a:t>A World-Class Next-Generation Platform</a:t>
            </a:r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E2BF7AEE-41D4-C194-937B-18422F23F2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2900" y="1020311"/>
            <a:ext cx="2772966" cy="685800"/>
          </a:xfrm>
        </p:spPr>
        <p:txBody>
          <a:bodyPr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None/>
            </a:pPr>
            <a:r>
              <a:rPr lang="en-US" sz="750">
                <a:solidFill>
                  <a:srgbClr val="004D2D"/>
                </a:solidFill>
                <a:latin typeface="Neue Haas Grotesk Text Pro" panose="020B0504020202020204" pitchFamily="34" charset="77"/>
              </a:rPr>
              <a:t>Beep has partnered with </a:t>
            </a:r>
            <a:r>
              <a:rPr lang="en-US" sz="750" b="1">
                <a:solidFill>
                  <a:srgbClr val="004D2D"/>
                </a:solidFill>
                <a:latin typeface="Neue Haas Grotesk Text Pro" panose="020B0504020202020204" pitchFamily="34" charset="77"/>
              </a:rPr>
              <a:t>HOLON</a:t>
            </a:r>
            <a:r>
              <a:rPr lang="en-US" sz="750">
                <a:solidFill>
                  <a:srgbClr val="004D2D"/>
                </a:solidFill>
                <a:latin typeface="Neue Haas Grotesk Text Pro" panose="020B0504020202020204" pitchFamily="34" charset="77"/>
              </a:rPr>
              <a:t>, a division of Tier 1 automotive supplier </a:t>
            </a:r>
            <a:r>
              <a:rPr lang="en-US" sz="750" b="1" err="1">
                <a:solidFill>
                  <a:srgbClr val="004D2D"/>
                </a:solidFill>
                <a:latin typeface="Neue Haas Grotesk Text Pro" panose="020B0504020202020204" pitchFamily="34" charset="77"/>
              </a:rPr>
              <a:t>Benteler</a:t>
            </a:r>
            <a:r>
              <a:rPr lang="en-US" sz="750" b="1">
                <a:solidFill>
                  <a:srgbClr val="004D2D"/>
                </a:solidFill>
                <a:latin typeface="Neue Haas Grotesk Text Pro" panose="020B0504020202020204" pitchFamily="34" charset="77"/>
              </a:rPr>
              <a:t> A.G.</a:t>
            </a:r>
            <a:r>
              <a:rPr lang="en-US" sz="750">
                <a:solidFill>
                  <a:srgbClr val="004D2D"/>
                </a:solidFill>
                <a:latin typeface="Neue Haas Grotesk Text Pro" panose="020B0504020202020204" pitchFamily="34" charset="77"/>
              </a:rPr>
              <a:t>, and self-driving leader </a:t>
            </a:r>
            <a:r>
              <a:rPr lang="en-US" sz="750" b="1">
                <a:solidFill>
                  <a:srgbClr val="004D2D"/>
                </a:solidFill>
                <a:latin typeface="Neue Haas Grotesk Text Pro" panose="020B0504020202020204" pitchFamily="34" charset="77"/>
              </a:rPr>
              <a:t>Mobileye</a:t>
            </a:r>
            <a:r>
              <a:rPr lang="en-US" sz="750">
                <a:solidFill>
                  <a:srgbClr val="004D2D"/>
                </a:solidFill>
                <a:latin typeface="Neue Haas Grotesk Text Pro" panose="020B0504020202020204" pitchFamily="34" charset="77"/>
              </a:rPr>
              <a:t> to develop and deliver a new generation of </a:t>
            </a:r>
            <a:br>
              <a:rPr lang="en-US" sz="750">
                <a:solidFill>
                  <a:srgbClr val="004D2D"/>
                </a:solidFill>
                <a:latin typeface="Neue Haas Grotesk Text Pro" panose="020B0504020202020204" pitchFamily="34" charset="77"/>
              </a:rPr>
            </a:br>
            <a:r>
              <a:rPr lang="en-US" sz="750">
                <a:solidFill>
                  <a:srgbClr val="004D2D"/>
                </a:solidFill>
                <a:latin typeface="Neue Haas Grotesk Text Pro" panose="020B0504020202020204" pitchFamily="34" charset="77"/>
              </a:rPr>
              <a:t>purpose-built, autonomous, electric shuttles.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31D534A0-5B1C-A5A8-26EF-01603D3D7BAC}"/>
              </a:ext>
            </a:extLst>
          </p:cNvPr>
          <p:cNvSpPr txBox="1">
            <a:spLocks/>
          </p:cNvSpPr>
          <p:nvPr/>
        </p:nvSpPr>
        <p:spPr>
          <a:xfrm>
            <a:off x="3189339" y="1020311"/>
            <a:ext cx="2704468" cy="6858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1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>
                <a:ln>
                  <a:noFill/>
                </a:ln>
                <a:solidFill>
                  <a:srgbClr val="004D2D"/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Designed by </a:t>
            </a:r>
            <a:r>
              <a:rPr kumimoji="0" lang="en-US" sz="750" b="1" i="0" u="none" strike="noStrike" kern="1200" cap="none" spc="0" normalizeH="0" baseline="0" noProof="0">
                <a:ln>
                  <a:noFill/>
                </a:ln>
                <a:solidFill>
                  <a:srgbClr val="004D2D"/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Pininfarina</a:t>
            </a:r>
            <a:r>
              <a:rPr kumimoji="0" lang="en-US" sz="750" b="0" i="0" u="none" strike="noStrike" kern="1200" cap="none" spc="0" normalizeH="0" baseline="0" noProof="0">
                <a:ln>
                  <a:noFill/>
                </a:ln>
                <a:solidFill>
                  <a:srgbClr val="004D2D"/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, these vehicles will deliver automotive-grade build and ride quality, extended operations through high-capacity battery and power systems, and significantly enhanced automated driving systems.</a:t>
            </a:r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004D2D"/>
              </a:solidFill>
              <a:effectLst/>
              <a:uLnTx/>
              <a:uFillTx/>
              <a:latin typeface="Neue Haas Grotesk Text Pro" panose="020B0504020202020204" pitchFamily="34" charset="77"/>
              <a:ea typeface="+mn-ea"/>
              <a:cs typeface="Arial" panose="020B0604020202020204" pitchFamily="34" charset="0"/>
            </a:endParaRPr>
          </a:p>
        </p:txBody>
      </p:sp>
      <p:pic>
        <p:nvPicPr>
          <p:cNvPr id="13" name="Picture 12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0031E8DA-183A-D200-D1CC-24960563A45E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3250" y="328153"/>
            <a:ext cx="951483" cy="184350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716CBC97-2E17-D464-63FD-13CA85437A1C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10826" t="27009" r="10805" b="30787"/>
          <a:stretch/>
        </p:blipFill>
        <p:spPr>
          <a:xfrm>
            <a:off x="6415675" y="343292"/>
            <a:ext cx="1216960" cy="139017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1CBD45E8-B2F1-18C2-EFCF-5721F5E0D39F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487911" y="261143"/>
            <a:ext cx="674166" cy="333131"/>
          </a:xfrm>
          <a:prstGeom prst="rect">
            <a:avLst/>
          </a:prstGeom>
        </p:spPr>
      </p:pic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8B2A1AB8-63FA-2B3C-AEFB-6DC410FF4599}"/>
              </a:ext>
            </a:extLst>
          </p:cNvPr>
          <p:cNvSpPr txBox="1">
            <a:spLocks/>
          </p:cNvSpPr>
          <p:nvPr/>
        </p:nvSpPr>
        <p:spPr>
          <a:xfrm>
            <a:off x="6030509" y="1020311"/>
            <a:ext cx="2772966" cy="6858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1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>
                <a:ln>
                  <a:noFill/>
                </a:ln>
                <a:solidFill>
                  <a:srgbClr val="004D2D"/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Beep’s </a:t>
            </a:r>
            <a:r>
              <a:rPr kumimoji="0" lang="en-US" sz="750" b="1" i="0" u="none" strike="noStrike" kern="1200" cap="none" spc="0" normalizeH="0" baseline="0" noProof="0">
                <a:ln>
                  <a:noFill/>
                </a:ln>
                <a:solidFill>
                  <a:srgbClr val="004D2D"/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AutonomOS</a:t>
            </a:r>
            <a:r>
              <a:rPr kumimoji="0" lang="en-US" sz="750" b="1" i="0" u="none" strike="noStrike" kern="1200" cap="none" spc="0" normalizeH="0" baseline="30000" noProof="0">
                <a:ln>
                  <a:noFill/>
                </a:ln>
                <a:solidFill>
                  <a:srgbClr val="004D2D"/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™ </a:t>
            </a:r>
            <a:r>
              <a:rPr kumimoji="0" lang="en-US" sz="750" b="1" i="0" u="none" strike="noStrike" kern="1200" cap="none" spc="0" normalizeH="0" baseline="0" noProof="0">
                <a:ln>
                  <a:noFill/>
                </a:ln>
                <a:solidFill>
                  <a:srgbClr val="004D2D"/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Service Experience </a:t>
            </a:r>
            <a:r>
              <a:rPr kumimoji="0" lang="en-US" sz="750" b="0" i="0" u="none" strike="noStrike" kern="1200" cap="none" spc="0" normalizeH="0" baseline="0" noProof="0">
                <a:ln>
                  <a:noFill/>
                </a:ln>
                <a:solidFill>
                  <a:srgbClr val="004D2D"/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platform will be integrated into each vehicle, providing in-cabin monitoring, service governance and mission compliance, and virtual steward technology to ensure a safe and enjoyable ride.</a:t>
            </a:r>
            <a:endParaRPr kumimoji="0" lang="en-US" sz="750" b="0" i="1" u="none" strike="noStrike" kern="1200" cap="none" spc="0" normalizeH="0" baseline="0" noProof="0">
              <a:ln>
                <a:noFill/>
              </a:ln>
              <a:solidFill>
                <a:srgbClr val="004D2D"/>
              </a:solidFill>
              <a:effectLst/>
              <a:highlight>
                <a:srgbClr val="FFFF00"/>
              </a:highlight>
              <a:uLnTx/>
              <a:uFillTx/>
              <a:latin typeface="Neue Haas Grotesk Text Pro" panose="020B0504020202020204" pitchFamily="34" charset="77"/>
              <a:ea typeface="+mn-ea"/>
              <a:cs typeface="Arial" panose="020B0604020202020204" pitchFamily="34" charset="0"/>
            </a:endParaRPr>
          </a:p>
        </p:txBody>
      </p:sp>
      <p:sp>
        <p:nvSpPr>
          <p:cNvPr id="33" name="Slide Number Placeholder 32">
            <a:extLst>
              <a:ext uri="{FF2B5EF4-FFF2-40B4-BE49-F238E27FC236}">
                <a16:creationId xmlns:a16="http://schemas.microsoft.com/office/drawing/2014/main" id="{FD1B40A9-C4E0-CCD2-2E0F-265E85929F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defPPr>
              <a:defRPr lang="en-US"/>
            </a:defPPr>
            <a:lvl1pPr marL="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7175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35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71525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870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85875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4305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00225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BF1F57-840B-F544-8438-6A497ABB4DB9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004D2D"/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004D2D"/>
              </a:solidFill>
              <a:effectLst/>
              <a:uLnTx/>
              <a:uFillTx/>
              <a:latin typeface="Neue Haas Grotesk Text Pro" panose="020B0504020202020204" pitchFamily="34" charset="77"/>
              <a:ea typeface="+mn-ea"/>
              <a:cs typeface="+mn-cs"/>
            </a:endParaRPr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B9860917-F105-D4AA-4CCF-83E243A2C13C}"/>
              </a:ext>
            </a:extLst>
          </p:cNvPr>
          <p:cNvSpPr txBox="1">
            <a:spLocks/>
          </p:cNvSpPr>
          <p:nvPr/>
        </p:nvSpPr>
        <p:spPr>
          <a:xfrm>
            <a:off x="341138" y="4804696"/>
            <a:ext cx="2772966" cy="247364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525" b="0" i="0" u="none" strike="noStrike" kern="1200" cap="none" spc="0" normalizeH="0" baseline="0" noProof="0">
                <a:ln>
                  <a:noFill/>
                </a:ln>
                <a:solidFill>
                  <a:srgbClr val="004D2D"/>
                </a:solidFill>
                <a:effectLst/>
                <a:uLnTx/>
                <a:uFillTx/>
                <a:latin typeface="Neue Haas Grotesk Text Pro" panose="020B0504020202020204" pitchFamily="34" charset="77"/>
                <a:ea typeface="Helvetica Neue Condensed" panose="02000503000000020004" pitchFamily="2" charset="0"/>
                <a:cs typeface="Helvetica Neue Condensed" panose="02000503000000020004" pitchFamily="2" charset="0"/>
              </a:rPr>
              <a:t>Confidential and Proprietary – NDA only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75F0786-DD15-D344-27A0-5C54F9EF1E43}"/>
              </a:ext>
            </a:extLst>
          </p:cNvPr>
          <p:cNvSpPr/>
          <p:nvPr/>
        </p:nvSpPr>
        <p:spPr>
          <a:xfrm>
            <a:off x="1304616" y="1836677"/>
            <a:ext cx="673040" cy="2200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b" anchorCtr="0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Upgradable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Over-the-Air Updat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8E981CF-5714-AF49-4169-79C376112990}"/>
              </a:ext>
            </a:extLst>
          </p:cNvPr>
          <p:cNvSpPr/>
          <p:nvPr/>
        </p:nvSpPr>
        <p:spPr>
          <a:xfrm>
            <a:off x="341139" y="2471302"/>
            <a:ext cx="1017536" cy="4593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Transit Class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Gross Weight 10,582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lbs</a:t>
            </a:r>
            <a:b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</a:b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Curb Weight 7,055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lbs</a:t>
            </a: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25000"/>
                </a:srgbClr>
              </a:solidFill>
              <a:effectLst/>
              <a:uLnTx/>
              <a:uFillTx/>
              <a:latin typeface="Neue Haas Grotesk Text Pro" panose="020B0504020202020204" pitchFamily="34" charset="77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5B16A49-1759-0716-F904-460580432874}"/>
              </a:ext>
            </a:extLst>
          </p:cNvPr>
          <p:cNvSpPr/>
          <p:nvPr/>
        </p:nvSpPr>
        <p:spPr>
          <a:xfrm>
            <a:off x="759165" y="3619793"/>
            <a:ext cx="430619" cy="2184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Neue Haas Grotesk Text Pro" panose="020B0504020202020204" pitchFamily="34" charset="77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43518DD-C949-F374-F83A-A10FD98ACC19}"/>
              </a:ext>
            </a:extLst>
          </p:cNvPr>
          <p:cNvSpPr/>
          <p:nvPr/>
        </p:nvSpPr>
        <p:spPr>
          <a:xfrm>
            <a:off x="564589" y="3515124"/>
            <a:ext cx="280700" cy="3189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b" anchorCtr="0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Approachable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Asymmetric Design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9985001-AD00-9E62-F876-D6EFD130A0CC}"/>
              </a:ext>
            </a:extLst>
          </p:cNvPr>
          <p:cNvSpPr/>
          <p:nvPr/>
        </p:nvSpPr>
        <p:spPr>
          <a:xfrm>
            <a:off x="3505512" y="1790602"/>
            <a:ext cx="1188437" cy="2200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Supervised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15 passenger cabin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5FFA69C-B6CF-5145-28DF-7E319EA83EFB}"/>
              </a:ext>
            </a:extLst>
          </p:cNvPr>
          <p:cNvSpPr/>
          <p:nvPr/>
        </p:nvSpPr>
        <p:spPr>
          <a:xfrm>
            <a:off x="5555262" y="1637967"/>
            <a:ext cx="682453" cy="2200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b" anchorCtr="0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Battery </a:t>
            </a: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Electric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 Vehicl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62730C0-87CB-9AAE-B50E-35AE44BFA030}"/>
              </a:ext>
            </a:extLst>
          </p:cNvPr>
          <p:cNvSpPr/>
          <p:nvPr/>
        </p:nvSpPr>
        <p:spPr>
          <a:xfrm>
            <a:off x="7419250" y="1662127"/>
            <a:ext cx="1188437" cy="3343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0" rIns="0" bIns="0" rtlCol="0" anchor="b" anchorCtr="0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SAE Level 4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Autonomous Drive System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8DA73A6-A021-628C-F896-D43E3A584DA2}"/>
              </a:ext>
            </a:extLst>
          </p:cNvPr>
          <p:cNvSpPr/>
          <p:nvPr/>
        </p:nvSpPr>
        <p:spPr>
          <a:xfrm>
            <a:off x="7903250" y="2475572"/>
            <a:ext cx="897849" cy="3343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b" anchorCtr="0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Appealing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Large, Airy, Modern Interior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D395B98-B8E7-B026-4F58-74A90FF74F93}"/>
              </a:ext>
            </a:extLst>
          </p:cNvPr>
          <p:cNvSpPr/>
          <p:nvPr/>
        </p:nvSpPr>
        <p:spPr>
          <a:xfrm>
            <a:off x="7612680" y="3530020"/>
            <a:ext cx="1068412" cy="5719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b" anchorCtr="0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Safe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37mph Top Speed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Redundant Lidar, Radar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and Camera Sensors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25000"/>
                </a:srgbClr>
              </a:solidFill>
              <a:effectLst/>
              <a:uLnTx/>
              <a:uFillTx/>
              <a:latin typeface="Neue Haas Grotesk Text Pro" panose="020B0504020202020204" pitchFamily="34" charset="77"/>
              <a:ea typeface="+mn-ea"/>
              <a:cs typeface="+mn-cs"/>
            </a:endParaRP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328B6BF6-D17A-8F28-2833-D9B790BF990C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492595" y="2025918"/>
            <a:ext cx="359825" cy="177803"/>
          </a:xfrm>
          <a:prstGeom prst="rect">
            <a:avLst/>
          </a:prstGeom>
        </p:spPr>
      </p:pic>
      <p:pic>
        <p:nvPicPr>
          <p:cNvPr id="29" name="Picture 28" descr="A blue text on a black background&#10;&#10;Description automatically generated">
            <a:extLst>
              <a:ext uri="{FF2B5EF4-FFF2-40B4-BE49-F238E27FC236}">
                <a16:creationId xmlns:a16="http://schemas.microsoft.com/office/drawing/2014/main" id="{404C8F31-D32C-7C7C-696C-B3598994F369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88824" y="2047112"/>
            <a:ext cx="610175" cy="118222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A5F3CB45-15DA-ADD3-2B2F-84F18DDC08A2}"/>
              </a:ext>
            </a:extLst>
          </p:cNvPr>
          <p:cNvSpPr/>
          <p:nvPr/>
        </p:nvSpPr>
        <p:spPr>
          <a:xfrm>
            <a:off x="2596551" y="3849657"/>
            <a:ext cx="782653" cy="4717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b" anchorCtr="0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Long Range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180 Miles 90 kWh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7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hr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 Operating Time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25000"/>
                </a:srgbClr>
              </a:solidFill>
              <a:effectLst/>
              <a:uLnTx/>
              <a:uFillTx/>
              <a:latin typeface="Neue Haas Grotesk Text Pro" panose="020B0504020202020204" pitchFamily="34" charset="77"/>
              <a:ea typeface="+mn-ea"/>
              <a:cs typeface="+mn-cs"/>
            </a:endParaRPr>
          </a:p>
        </p:txBody>
      </p:sp>
      <p:pic>
        <p:nvPicPr>
          <p:cNvPr id="1026" name="Picture 2" descr="Download Pininfarina Logo in SVG Vector or PNG File Format ...">
            <a:extLst>
              <a:ext uri="{FF2B5EF4-FFF2-40B4-BE49-F238E27FC236}">
                <a16:creationId xmlns:a16="http://schemas.microsoft.com/office/drawing/2014/main" id="{ED4FF019-8EDC-FCFE-D624-9882E560085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26490" y="3870200"/>
            <a:ext cx="784701" cy="116069"/>
          </a:xfrm>
          <a:prstGeom prst="rect">
            <a:avLst/>
          </a:prstGeom>
          <a:noFill/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5574FA34-D863-36FB-4B84-89BE7B4C8494}"/>
              </a:ext>
            </a:extLst>
          </p:cNvPr>
          <p:cNvSpPr/>
          <p:nvPr/>
        </p:nvSpPr>
        <p:spPr>
          <a:xfrm>
            <a:off x="5555262" y="1854978"/>
            <a:ext cx="720602" cy="1042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b" anchorCtr="0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Made in USA</a:t>
            </a:r>
          </a:p>
        </p:txBody>
      </p:sp>
      <p:cxnSp>
        <p:nvCxnSpPr>
          <p:cNvPr id="39" name="Gerade Verbindung 47">
            <a:extLst>
              <a:ext uri="{FF2B5EF4-FFF2-40B4-BE49-F238E27FC236}">
                <a16:creationId xmlns:a16="http://schemas.microsoft.com/office/drawing/2014/main" id="{3C5D2064-5602-109A-0328-0F73E0F5B35D}"/>
              </a:ext>
            </a:extLst>
          </p:cNvPr>
          <p:cNvCxnSpPr>
            <a:cxnSpLocks/>
          </p:cNvCxnSpPr>
          <p:nvPr/>
        </p:nvCxnSpPr>
        <p:spPr>
          <a:xfrm>
            <a:off x="341139" y="2967410"/>
            <a:ext cx="1013594" cy="0"/>
          </a:xfrm>
          <a:prstGeom prst="line">
            <a:avLst/>
          </a:prstGeom>
          <a:ln w="5786" cap="sq">
            <a:solidFill>
              <a:srgbClr val="CFD0D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50">
            <a:extLst>
              <a:ext uri="{FF2B5EF4-FFF2-40B4-BE49-F238E27FC236}">
                <a16:creationId xmlns:a16="http://schemas.microsoft.com/office/drawing/2014/main" id="{3CDBBAE5-0B38-2B1F-BB4C-C16F04DF763C}"/>
              </a:ext>
            </a:extLst>
          </p:cNvPr>
          <p:cNvCxnSpPr>
            <a:cxnSpLocks/>
          </p:cNvCxnSpPr>
          <p:nvPr/>
        </p:nvCxnSpPr>
        <p:spPr>
          <a:xfrm>
            <a:off x="1354732" y="2967410"/>
            <a:ext cx="105365" cy="129003"/>
          </a:xfrm>
          <a:prstGeom prst="line">
            <a:avLst/>
          </a:prstGeom>
          <a:ln w="5786" cap="sq">
            <a:solidFill>
              <a:srgbClr val="CFD0D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47">
            <a:extLst>
              <a:ext uri="{FF2B5EF4-FFF2-40B4-BE49-F238E27FC236}">
                <a16:creationId xmlns:a16="http://schemas.microsoft.com/office/drawing/2014/main" id="{B7C9F2E5-5706-8E8E-8DC5-AF529B8F6172}"/>
              </a:ext>
            </a:extLst>
          </p:cNvPr>
          <p:cNvCxnSpPr>
            <a:cxnSpLocks/>
          </p:cNvCxnSpPr>
          <p:nvPr/>
        </p:nvCxnSpPr>
        <p:spPr>
          <a:xfrm>
            <a:off x="562814" y="3870200"/>
            <a:ext cx="844601" cy="0"/>
          </a:xfrm>
          <a:prstGeom prst="line">
            <a:avLst/>
          </a:prstGeom>
          <a:ln w="5786" cap="sq">
            <a:solidFill>
              <a:srgbClr val="CFD0D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50">
            <a:extLst>
              <a:ext uri="{FF2B5EF4-FFF2-40B4-BE49-F238E27FC236}">
                <a16:creationId xmlns:a16="http://schemas.microsoft.com/office/drawing/2014/main" id="{A1EA36BA-0280-52EC-77ED-265D25AB2897}"/>
              </a:ext>
            </a:extLst>
          </p:cNvPr>
          <p:cNvCxnSpPr>
            <a:cxnSpLocks/>
          </p:cNvCxnSpPr>
          <p:nvPr/>
        </p:nvCxnSpPr>
        <p:spPr>
          <a:xfrm flipV="1">
            <a:off x="1409567" y="3754131"/>
            <a:ext cx="97373" cy="116068"/>
          </a:xfrm>
          <a:prstGeom prst="line">
            <a:avLst/>
          </a:prstGeom>
          <a:ln w="5786" cap="sq">
            <a:solidFill>
              <a:srgbClr val="CFD0D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50">
            <a:extLst>
              <a:ext uri="{FF2B5EF4-FFF2-40B4-BE49-F238E27FC236}">
                <a16:creationId xmlns:a16="http://schemas.microsoft.com/office/drawing/2014/main" id="{6F7D2995-236B-4C6C-AF6F-629213DA5E3B}"/>
              </a:ext>
            </a:extLst>
          </p:cNvPr>
          <p:cNvCxnSpPr>
            <a:cxnSpLocks/>
          </p:cNvCxnSpPr>
          <p:nvPr/>
        </p:nvCxnSpPr>
        <p:spPr>
          <a:xfrm>
            <a:off x="2143219" y="2065234"/>
            <a:ext cx="105365" cy="129003"/>
          </a:xfrm>
          <a:prstGeom prst="line">
            <a:avLst/>
          </a:prstGeom>
          <a:ln w="5786" cap="sq">
            <a:solidFill>
              <a:srgbClr val="CFD0D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47">
            <a:extLst>
              <a:ext uri="{FF2B5EF4-FFF2-40B4-BE49-F238E27FC236}">
                <a16:creationId xmlns:a16="http://schemas.microsoft.com/office/drawing/2014/main" id="{F2BAD1B5-A476-3114-5A3A-6D10773B6B37}"/>
              </a:ext>
            </a:extLst>
          </p:cNvPr>
          <p:cNvCxnSpPr>
            <a:cxnSpLocks/>
          </p:cNvCxnSpPr>
          <p:nvPr/>
        </p:nvCxnSpPr>
        <p:spPr>
          <a:xfrm>
            <a:off x="1304615" y="2065235"/>
            <a:ext cx="834936" cy="0"/>
          </a:xfrm>
          <a:prstGeom prst="line">
            <a:avLst/>
          </a:prstGeom>
          <a:ln w="5786" cap="sq">
            <a:solidFill>
              <a:srgbClr val="CFD0D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50">
            <a:extLst>
              <a:ext uri="{FF2B5EF4-FFF2-40B4-BE49-F238E27FC236}">
                <a16:creationId xmlns:a16="http://schemas.microsoft.com/office/drawing/2014/main" id="{920F5FD1-3B31-9C57-EA20-B4D2077F4BDA}"/>
              </a:ext>
            </a:extLst>
          </p:cNvPr>
          <p:cNvCxnSpPr>
            <a:cxnSpLocks/>
          </p:cNvCxnSpPr>
          <p:nvPr/>
        </p:nvCxnSpPr>
        <p:spPr>
          <a:xfrm flipH="1" flipV="1">
            <a:off x="2453185" y="3834100"/>
            <a:ext cx="101116" cy="102623"/>
          </a:xfrm>
          <a:prstGeom prst="line">
            <a:avLst/>
          </a:prstGeom>
          <a:ln w="5786" cap="sq">
            <a:solidFill>
              <a:srgbClr val="CFD0D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47">
            <a:extLst>
              <a:ext uri="{FF2B5EF4-FFF2-40B4-BE49-F238E27FC236}">
                <a16:creationId xmlns:a16="http://schemas.microsoft.com/office/drawing/2014/main" id="{4BF3E7F5-0205-EE6F-251F-E69C3E0D71E9}"/>
              </a:ext>
            </a:extLst>
          </p:cNvPr>
          <p:cNvCxnSpPr>
            <a:cxnSpLocks/>
          </p:cNvCxnSpPr>
          <p:nvPr/>
        </p:nvCxnSpPr>
        <p:spPr>
          <a:xfrm>
            <a:off x="2557869" y="3939880"/>
            <a:ext cx="1006825" cy="0"/>
          </a:xfrm>
          <a:prstGeom prst="line">
            <a:avLst/>
          </a:prstGeom>
          <a:ln w="5786" cap="sq">
            <a:solidFill>
              <a:srgbClr val="CFD0D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7" name="Group 1036">
            <a:extLst>
              <a:ext uri="{FF2B5EF4-FFF2-40B4-BE49-F238E27FC236}">
                <a16:creationId xmlns:a16="http://schemas.microsoft.com/office/drawing/2014/main" id="{E3D5A4D1-CD48-94CC-F1AB-E4434A3C9D69}"/>
              </a:ext>
            </a:extLst>
          </p:cNvPr>
          <p:cNvGrpSpPr/>
          <p:nvPr/>
        </p:nvGrpSpPr>
        <p:grpSpPr>
          <a:xfrm>
            <a:off x="169932" y="4279683"/>
            <a:ext cx="1441012" cy="643768"/>
            <a:chOff x="380630" y="5706244"/>
            <a:chExt cx="1921349" cy="858357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21C0BFDB-B1E3-4B44-61BC-2FDFBC9EA062}"/>
                </a:ext>
              </a:extLst>
            </p:cNvPr>
            <p:cNvSpPr/>
            <p:nvPr/>
          </p:nvSpPr>
          <p:spPr>
            <a:xfrm>
              <a:off x="1804375" y="5914146"/>
              <a:ext cx="497604" cy="20814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0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25" b="0" i="0" u="none" strike="noStrike" kern="1200" cap="none" spc="0" normalizeH="0" baseline="0" noProof="0">
                  <a:ln>
                    <a:noFill/>
                  </a:ln>
                  <a:solidFill>
                    <a:srgbClr val="E7E6E6">
                      <a:lumMod val="50000"/>
                    </a:srgbClr>
                  </a:solidFill>
                  <a:effectLst/>
                  <a:uLnTx/>
                  <a:uFillTx/>
                  <a:latin typeface="Neue Haas Grotesk Text Pro" panose="020B0504020202020204" pitchFamily="34" charset="77"/>
                  <a:ea typeface="+mn-ea"/>
                  <a:cs typeface="+mn-cs"/>
                </a:rPr>
                <a:t>9 ft 1  in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234AC6E-0CB4-D4F8-F175-FDF4CD6A9FA7}"/>
                </a:ext>
              </a:extLst>
            </p:cNvPr>
            <p:cNvSpPr/>
            <p:nvPr/>
          </p:nvSpPr>
          <p:spPr>
            <a:xfrm>
              <a:off x="550422" y="6303186"/>
              <a:ext cx="455074" cy="26141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68580" rtlCol="0" anchor="ctr" anchorCtr="1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25" b="0" i="0" u="none" strike="noStrike" kern="1200" cap="none" spc="0" normalizeH="0" baseline="0" noProof="0">
                  <a:ln>
                    <a:noFill/>
                  </a:ln>
                  <a:solidFill>
                    <a:srgbClr val="E7E6E6">
                      <a:lumMod val="50000"/>
                    </a:srgbClr>
                  </a:solidFill>
                  <a:effectLst/>
                  <a:uLnTx/>
                  <a:uFillTx/>
                  <a:latin typeface="Neue Haas Grotesk Text Pro" panose="020B0504020202020204" pitchFamily="34" charset="77"/>
                  <a:ea typeface="+mn-ea"/>
                  <a:cs typeface="+mn-cs"/>
                </a:rPr>
                <a:t>8 ft 2 in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285419A-BA45-41A6-881A-80A4A6D7891E}"/>
                </a:ext>
              </a:extLst>
            </p:cNvPr>
            <p:cNvSpPr/>
            <p:nvPr/>
          </p:nvSpPr>
          <p:spPr>
            <a:xfrm>
              <a:off x="1108464" y="6303185"/>
              <a:ext cx="497604" cy="26141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68580" rtlCol="0" anchor="ctr" anchorCtr="1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525" b="0" i="0" u="none" strike="noStrike" kern="1200" cap="none" spc="0" normalizeH="0" baseline="0" noProof="0">
                  <a:ln>
                    <a:noFill/>
                  </a:ln>
                  <a:solidFill>
                    <a:srgbClr val="E7E6E6">
                      <a:lumMod val="50000"/>
                    </a:srgbClr>
                  </a:solidFill>
                  <a:effectLst/>
                  <a:uLnTx/>
                  <a:uFillTx/>
                  <a:latin typeface="Neue Haas Grotesk Text Pro" panose="020B0504020202020204" pitchFamily="34" charset="77"/>
                  <a:ea typeface="+mn-ea"/>
                  <a:cs typeface="+mn-cs"/>
                </a:rPr>
                <a:t>16 ft 3 in</a:t>
              </a:r>
            </a:p>
          </p:txBody>
        </p:sp>
        <p:pic>
          <p:nvPicPr>
            <p:cNvPr id="54" name="Grafik 51">
              <a:extLst>
                <a:ext uri="{FF2B5EF4-FFF2-40B4-BE49-F238E27FC236}">
                  <a16:creationId xmlns:a16="http://schemas.microsoft.com/office/drawing/2014/main" id="{EE2F1473-4F86-09E2-10F6-957C5C55A16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13915" b="16490"/>
            <a:stretch/>
          </p:blipFill>
          <p:spPr>
            <a:xfrm>
              <a:off x="380630" y="5706244"/>
              <a:ext cx="1418424" cy="609608"/>
            </a:xfrm>
            <a:prstGeom prst="rect">
              <a:avLst/>
            </a:prstGeom>
          </p:spPr>
        </p:pic>
      </p:grpSp>
      <p:cxnSp>
        <p:nvCxnSpPr>
          <p:cNvPr id="58" name="Gerade Verbindung 50">
            <a:extLst>
              <a:ext uri="{FF2B5EF4-FFF2-40B4-BE49-F238E27FC236}">
                <a16:creationId xmlns:a16="http://schemas.microsoft.com/office/drawing/2014/main" id="{ADAC985F-C143-5F5C-F1DE-CD22C4828E8D}"/>
              </a:ext>
            </a:extLst>
          </p:cNvPr>
          <p:cNvCxnSpPr>
            <a:cxnSpLocks/>
          </p:cNvCxnSpPr>
          <p:nvPr/>
        </p:nvCxnSpPr>
        <p:spPr>
          <a:xfrm>
            <a:off x="4368473" y="2031662"/>
            <a:ext cx="105365" cy="129003"/>
          </a:xfrm>
          <a:prstGeom prst="line">
            <a:avLst/>
          </a:prstGeom>
          <a:ln w="5786" cap="sq">
            <a:solidFill>
              <a:srgbClr val="CFD0D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47">
            <a:extLst>
              <a:ext uri="{FF2B5EF4-FFF2-40B4-BE49-F238E27FC236}">
                <a16:creationId xmlns:a16="http://schemas.microsoft.com/office/drawing/2014/main" id="{C05C3460-AEA6-6465-45D8-ED856D086178}"/>
              </a:ext>
            </a:extLst>
          </p:cNvPr>
          <p:cNvCxnSpPr>
            <a:cxnSpLocks/>
          </p:cNvCxnSpPr>
          <p:nvPr/>
        </p:nvCxnSpPr>
        <p:spPr>
          <a:xfrm>
            <a:off x="3529869" y="2031663"/>
            <a:ext cx="834936" cy="0"/>
          </a:xfrm>
          <a:prstGeom prst="line">
            <a:avLst/>
          </a:prstGeom>
          <a:ln w="5786" cap="sq">
            <a:solidFill>
              <a:srgbClr val="CFD0D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0">
            <a:extLst>
              <a:ext uri="{FF2B5EF4-FFF2-40B4-BE49-F238E27FC236}">
                <a16:creationId xmlns:a16="http://schemas.microsoft.com/office/drawing/2014/main" id="{5FDBF3BB-90B3-CC6A-DD8E-BAA8D550727B}"/>
              </a:ext>
            </a:extLst>
          </p:cNvPr>
          <p:cNvCxnSpPr>
            <a:cxnSpLocks/>
          </p:cNvCxnSpPr>
          <p:nvPr/>
        </p:nvCxnSpPr>
        <p:spPr>
          <a:xfrm>
            <a:off x="6401892" y="1974113"/>
            <a:ext cx="105365" cy="129003"/>
          </a:xfrm>
          <a:prstGeom prst="line">
            <a:avLst/>
          </a:prstGeom>
          <a:ln w="5786" cap="sq">
            <a:solidFill>
              <a:srgbClr val="CFD0D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47">
            <a:extLst>
              <a:ext uri="{FF2B5EF4-FFF2-40B4-BE49-F238E27FC236}">
                <a16:creationId xmlns:a16="http://schemas.microsoft.com/office/drawing/2014/main" id="{61F47039-BAB9-EDF3-4024-525FE5C678E7}"/>
              </a:ext>
            </a:extLst>
          </p:cNvPr>
          <p:cNvCxnSpPr>
            <a:cxnSpLocks/>
          </p:cNvCxnSpPr>
          <p:nvPr/>
        </p:nvCxnSpPr>
        <p:spPr>
          <a:xfrm>
            <a:off x="5563288" y="1974113"/>
            <a:ext cx="834936" cy="0"/>
          </a:xfrm>
          <a:prstGeom prst="line">
            <a:avLst/>
          </a:prstGeom>
          <a:ln w="5786" cap="sq">
            <a:solidFill>
              <a:srgbClr val="CFD0D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47">
            <a:extLst>
              <a:ext uri="{FF2B5EF4-FFF2-40B4-BE49-F238E27FC236}">
                <a16:creationId xmlns:a16="http://schemas.microsoft.com/office/drawing/2014/main" id="{0A25EDAA-7C8A-2F7E-744D-A25E309B6203}"/>
              </a:ext>
            </a:extLst>
          </p:cNvPr>
          <p:cNvCxnSpPr>
            <a:cxnSpLocks/>
          </p:cNvCxnSpPr>
          <p:nvPr/>
        </p:nvCxnSpPr>
        <p:spPr>
          <a:xfrm>
            <a:off x="7447469" y="2015559"/>
            <a:ext cx="1099394" cy="0"/>
          </a:xfrm>
          <a:prstGeom prst="line">
            <a:avLst/>
          </a:prstGeom>
          <a:ln w="5786" cap="sq">
            <a:solidFill>
              <a:srgbClr val="CFD0D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4" name="Gerade Verbindung 50">
            <a:extLst>
              <a:ext uri="{FF2B5EF4-FFF2-40B4-BE49-F238E27FC236}">
                <a16:creationId xmlns:a16="http://schemas.microsoft.com/office/drawing/2014/main" id="{C9B91070-8DD5-C090-F3A1-302D0EFFC038}"/>
              </a:ext>
            </a:extLst>
          </p:cNvPr>
          <p:cNvCxnSpPr>
            <a:cxnSpLocks/>
          </p:cNvCxnSpPr>
          <p:nvPr/>
        </p:nvCxnSpPr>
        <p:spPr>
          <a:xfrm flipH="1">
            <a:off x="7319594" y="2015559"/>
            <a:ext cx="127876" cy="125258"/>
          </a:xfrm>
          <a:prstGeom prst="line">
            <a:avLst/>
          </a:prstGeom>
          <a:ln w="5786" cap="sq">
            <a:solidFill>
              <a:srgbClr val="CFD0D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9" name="Gerade Verbindung 47">
            <a:extLst>
              <a:ext uri="{FF2B5EF4-FFF2-40B4-BE49-F238E27FC236}">
                <a16:creationId xmlns:a16="http://schemas.microsoft.com/office/drawing/2014/main" id="{3EC1D503-307C-7B47-0166-B9CE0F2F5741}"/>
              </a:ext>
            </a:extLst>
          </p:cNvPr>
          <p:cNvCxnSpPr>
            <a:cxnSpLocks/>
          </p:cNvCxnSpPr>
          <p:nvPr/>
        </p:nvCxnSpPr>
        <p:spPr>
          <a:xfrm>
            <a:off x="7488823" y="2822382"/>
            <a:ext cx="1360598" cy="0"/>
          </a:xfrm>
          <a:prstGeom prst="line">
            <a:avLst/>
          </a:prstGeom>
          <a:ln w="5786" cap="sq">
            <a:solidFill>
              <a:srgbClr val="CFD0D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1" name="Gerade Verbindung 50">
            <a:extLst>
              <a:ext uri="{FF2B5EF4-FFF2-40B4-BE49-F238E27FC236}">
                <a16:creationId xmlns:a16="http://schemas.microsoft.com/office/drawing/2014/main" id="{F9DB7158-DC13-F757-6E55-F96B3AF27E5B}"/>
              </a:ext>
            </a:extLst>
          </p:cNvPr>
          <p:cNvCxnSpPr>
            <a:cxnSpLocks/>
          </p:cNvCxnSpPr>
          <p:nvPr/>
        </p:nvCxnSpPr>
        <p:spPr>
          <a:xfrm flipH="1" flipV="1">
            <a:off x="7427190" y="3939154"/>
            <a:ext cx="141893" cy="116068"/>
          </a:xfrm>
          <a:prstGeom prst="line">
            <a:avLst/>
          </a:prstGeom>
          <a:ln w="5786" cap="sq">
            <a:solidFill>
              <a:srgbClr val="CFD0D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2" name="Gerade Verbindung 47">
            <a:extLst>
              <a:ext uri="{FF2B5EF4-FFF2-40B4-BE49-F238E27FC236}">
                <a16:creationId xmlns:a16="http://schemas.microsoft.com/office/drawing/2014/main" id="{2C529C55-14BF-BA08-2B6D-EF7D13AD911D}"/>
              </a:ext>
            </a:extLst>
          </p:cNvPr>
          <p:cNvCxnSpPr>
            <a:cxnSpLocks/>
          </p:cNvCxnSpPr>
          <p:nvPr/>
        </p:nvCxnSpPr>
        <p:spPr>
          <a:xfrm>
            <a:off x="7565827" y="4051555"/>
            <a:ext cx="1006825" cy="0"/>
          </a:xfrm>
          <a:prstGeom prst="line">
            <a:avLst/>
          </a:prstGeom>
          <a:ln w="5786" cap="sq">
            <a:solidFill>
              <a:srgbClr val="CFD0D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B75DE4D4-1F32-3FFC-DBCE-505910B84C26}"/>
              </a:ext>
            </a:extLst>
          </p:cNvPr>
          <p:cNvSpPr/>
          <p:nvPr/>
        </p:nvSpPr>
        <p:spPr>
          <a:xfrm>
            <a:off x="3415178" y="4592209"/>
            <a:ext cx="2630259" cy="2224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b" anchorCtr="0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1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Accessible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10.6” Step-In Height</a:t>
            </a:r>
            <a:b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</a:b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Automatic ADA-compliant Wheelchair Ramp &amp; Restraints</a:t>
            </a:r>
          </a:p>
        </p:txBody>
      </p:sp>
      <p:cxnSp>
        <p:nvCxnSpPr>
          <p:cNvPr id="17" name="Gerade Verbindung 47">
            <a:extLst>
              <a:ext uri="{FF2B5EF4-FFF2-40B4-BE49-F238E27FC236}">
                <a16:creationId xmlns:a16="http://schemas.microsoft.com/office/drawing/2014/main" id="{B477E5BA-B684-6927-8A35-4C2F3D19BB63}"/>
              </a:ext>
            </a:extLst>
          </p:cNvPr>
          <p:cNvCxnSpPr>
            <a:cxnSpLocks/>
          </p:cNvCxnSpPr>
          <p:nvPr/>
        </p:nvCxnSpPr>
        <p:spPr>
          <a:xfrm>
            <a:off x="3426387" y="4511897"/>
            <a:ext cx="1097065" cy="0"/>
          </a:xfrm>
          <a:prstGeom prst="line">
            <a:avLst/>
          </a:prstGeom>
          <a:ln w="5786" cap="sq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50">
            <a:extLst>
              <a:ext uri="{FF2B5EF4-FFF2-40B4-BE49-F238E27FC236}">
                <a16:creationId xmlns:a16="http://schemas.microsoft.com/office/drawing/2014/main" id="{3CD4AD55-4A27-7824-7B6F-6F67DA76B09A}"/>
              </a:ext>
            </a:extLst>
          </p:cNvPr>
          <p:cNvCxnSpPr>
            <a:cxnSpLocks/>
          </p:cNvCxnSpPr>
          <p:nvPr/>
        </p:nvCxnSpPr>
        <p:spPr>
          <a:xfrm flipH="1">
            <a:off x="4522452" y="4348655"/>
            <a:ext cx="199672" cy="166995"/>
          </a:xfrm>
          <a:prstGeom prst="line">
            <a:avLst/>
          </a:prstGeom>
          <a:ln w="5786" cap="sq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29063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>
            <a:extLst>
              <a:ext uri="{FF2B5EF4-FFF2-40B4-BE49-F238E27FC236}">
                <a16:creationId xmlns:a16="http://schemas.microsoft.com/office/drawing/2014/main" id="{4786F3F8-4063-8576-208A-CBD63A0F6B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342901"/>
            <a:ext cx="5734795" cy="521804"/>
          </a:xfrm>
        </p:spPr>
        <p:txBody>
          <a:bodyPr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Integrated Beep AutonomOS</a:t>
            </a:r>
            <a:r>
              <a:rPr lang="en-US" baseline="30000"/>
              <a:t>™</a:t>
            </a:r>
            <a:r>
              <a:rPr lang="en-US"/>
              <a:t> Service Governance &amp; Passenger Experienc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72F1129-CBD2-317E-144F-CF0FC6D835C4}"/>
              </a:ext>
            </a:extLst>
          </p:cNvPr>
          <p:cNvGrpSpPr/>
          <p:nvPr/>
        </p:nvGrpSpPr>
        <p:grpSpPr>
          <a:xfrm>
            <a:off x="-148219" y="969765"/>
            <a:ext cx="5316142" cy="3278981"/>
            <a:chOff x="0" y="1293019"/>
            <a:chExt cx="7088189" cy="4371975"/>
          </a:xfrm>
        </p:grpSpPr>
        <p:pic>
          <p:nvPicPr>
            <p:cNvPr id="9" name="Picture 8" descr="A black and white bus with green lights&#10;&#10;Description automatically generated">
              <a:extLst>
                <a:ext uri="{FF2B5EF4-FFF2-40B4-BE49-F238E27FC236}">
                  <a16:creationId xmlns:a16="http://schemas.microsoft.com/office/drawing/2014/main" id="{8B18AFA8-62F1-5191-74A7-D74EE3FCA32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1293019"/>
              <a:ext cx="7088189" cy="4371975"/>
            </a:xfrm>
            <a:prstGeom prst="rect">
              <a:avLst/>
            </a:prstGeom>
          </p:spPr>
        </p:pic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9D93D801-DFA0-1C2F-2FEA-C4326EE90E0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84726" y="3523364"/>
              <a:ext cx="480273" cy="237322"/>
            </a:xfrm>
            <a:prstGeom prst="rect">
              <a:avLst/>
            </a:prstGeom>
          </p:spPr>
        </p:pic>
      </p:grpSp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89A9BA01-BAC2-4321-BCD3-856E5AFCE9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359" imgH="358" progId="TCLayout.ActiveDocument.1">
                  <p:embed/>
                </p:oleObj>
              </mc:Choice>
              <mc:Fallback>
                <p:oleObj name="think-cell Folie" r:id="rId7" imgW="359" imgH="358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89A9BA01-BAC2-4321-BCD3-856E5AFCE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BF6BC2D8-C80A-9C29-5FA2-73D6B0B32A64}"/>
              </a:ext>
            </a:extLst>
          </p:cNvPr>
          <p:cNvSpPr/>
          <p:nvPr/>
        </p:nvSpPr>
        <p:spPr>
          <a:xfrm>
            <a:off x="5009398" y="758881"/>
            <a:ext cx="1594621" cy="2398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1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Revenue Generating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Targeted advertising platform commands premium CPM rates</a:t>
            </a:r>
          </a:p>
        </p:txBody>
      </p:sp>
      <p:cxnSp>
        <p:nvCxnSpPr>
          <p:cNvPr id="14" name="Gerade Verbindung 50">
            <a:extLst>
              <a:ext uri="{FF2B5EF4-FFF2-40B4-BE49-F238E27FC236}">
                <a16:creationId xmlns:a16="http://schemas.microsoft.com/office/drawing/2014/main" id="{EBA5AFEA-6A35-CD5F-E415-4CD719E62594}"/>
              </a:ext>
            </a:extLst>
          </p:cNvPr>
          <p:cNvCxnSpPr>
            <a:cxnSpLocks/>
          </p:cNvCxnSpPr>
          <p:nvPr/>
        </p:nvCxnSpPr>
        <p:spPr>
          <a:xfrm>
            <a:off x="6245628" y="1017681"/>
            <a:ext cx="301306" cy="368899"/>
          </a:xfrm>
          <a:prstGeom prst="line">
            <a:avLst/>
          </a:prstGeom>
          <a:ln w="5786" cap="sq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47">
            <a:extLst>
              <a:ext uri="{FF2B5EF4-FFF2-40B4-BE49-F238E27FC236}">
                <a16:creationId xmlns:a16="http://schemas.microsoft.com/office/drawing/2014/main" id="{7E614B4D-6E87-E7DA-7C17-55A0F1DA0FBD}"/>
              </a:ext>
            </a:extLst>
          </p:cNvPr>
          <p:cNvCxnSpPr>
            <a:cxnSpLocks/>
          </p:cNvCxnSpPr>
          <p:nvPr/>
        </p:nvCxnSpPr>
        <p:spPr>
          <a:xfrm>
            <a:off x="5009398" y="1018165"/>
            <a:ext cx="1236230" cy="0"/>
          </a:xfrm>
          <a:prstGeom prst="line">
            <a:avLst/>
          </a:prstGeom>
          <a:ln w="5786" cap="sq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F57A6CD6-AE45-66A0-20DA-85F54E8AD2AC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05192" y="1334852"/>
            <a:ext cx="3803912" cy="2494199"/>
          </a:xfrm>
          <a:prstGeom prst="roundRect">
            <a:avLst>
              <a:gd name="adj" fmla="val 12176"/>
            </a:avLst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A82909D2-35BB-3B78-7BEE-AC31191D4B9D}"/>
              </a:ext>
            </a:extLst>
          </p:cNvPr>
          <p:cNvSpPr/>
          <p:nvPr/>
        </p:nvSpPr>
        <p:spPr>
          <a:xfrm>
            <a:off x="414515" y="4398045"/>
            <a:ext cx="1594621" cy="2398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1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Supervised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AI-enabled in-cabin monitoring for passenger safety, medical emergencies and uncivil behavior</a:t>
            </a:r>
          </a:p>
        </p:txBody>
      </p:sp>
      <p:cxnSp>
        <p:nvCxnSpPr>
          <p:cNvPr id="21" name="Gerade Verbindung 47">
            <a:extLst>
              <a:ext uri="{FF2B5EF4-FFF2-40B4-BE49-F238E27FC236}">
                <a16:creationId xmlns:a16="http://schemas.microsoft.com/office/drawing/2014/main" id="{18B5F64A-AD78-D7E9-590E-E4CC72F627EE}"/>
              </a:ext>
            </a:extLst>
          </p:cNvPr>
          <p:cNvCxnSpPr>
            <a:cxnSpLocks/>
          </p:cNvCxnSpPr>
          <p:nvPr/>
        </p:nvCxnSpPr>
        <p:spPr>
          <a:xfrm>
            <a:off x="417853" y="4202864"/>
            <a:ext cx="1097065" cy="0"/>
          </a:xfrm>
          <a:prstGeom prst="line">
            <a:avLst/>
          </a:prstGeom>
          <a:ln w="5786" cap="sq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50">
            <a:extLst>
              <a:ext uri="{FF2B5EF4-FFF2-40B4-BE49-F238E27FC236}">
                <a16:creationId xmlns:a16="http://schemas.microsoft.com/office/drawing/2014/main" id="{EA4F7E17-D3F1-DC84-A12F-E0CD98DE3DBB}"/>
              </a:ext>
            </a:extLst>
          </p:cNvPr>
          <p:cNvCxnSpPr>
            <a:cxnSpLocks/>
          </p:cNvCxnSpPr>
          <p:nvPr/>
        </p:nvCxnSpPr>
        <p:spPr>
          <a:xfrm flipH="1">
            <a:off x="1514035" y="3358558"/>
            <a:ext cx="1114865" cy="844307"/>
          </a:xfrm>
          <a:prstGeom prst="line">
            <a:avLst/>
          </a:prstGeom>
          <a:ln w="5786" cap="sq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47">
            <a:extLst>
              <a:ext uri="{FF2B5EF4-FFF2-40B4-BE49-F238E27FC236}">
                <a16:creationId xmlns:a16="http://schemas.microsoft.com/office/drawing/2014/main" id="{E5AE3CAA-92CA-B2AD-EDC3-575B73535D7D}"/>
              </a:ext>
            </a:extLst>
          </p:cNvPr>
          <p:cNvCxnSpPr>
            <a:cxnSpLocks/>
          </p:cNvCxnSpPr>
          <p:nvPr/>
        </p:nvCxnSpPr>
        <p:spPr>
          <a:xfrm>
            <a:off x="3693642" y="4202864"/>
            <a:ext cx="1097065" cy="0"/>
          </a:xfrm>
          <a:prstGeom prst="line">
            <a:avLst/>
          </a:prstGeom>
          <a:ln w="5786" cap="sq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50">
            <a:extLst>
              <a:ext uri="{FF2B5EF4-FFF2-40B4-BE49-F238E27FC236}">
                <a16:creationId xmlns:a16="http://schemas.microsoft.com/office/drawing/2014/main" id="{1D1EE29C-B8C5-4134-D8AB-997566C3D856}"/>
              </a:ext>
            </a:extLst>
          </p:cNvPr>
          <p:cNvCxnSpPr>
            <a:cxnSpLocks/>
          </p:cNvCxnSpPr>
          <p:nvPr/>
        </p:nvCxnSpPr>
        <p:spPr>
          <a:xfrm>
            <a:off x="3247218" y="3791032"/>
            <a:ext cx="446425" cy="411833"/>
          </a:xfrm>
          <a:prstGeom prst="line">
            <a:avLst/>
          </a:prstGeom>
          <a:ln w="5786" cap="sq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E300AA9E-5A14-5CBC-67B1-6AD5EB2DAFBC}"/>
              </a:ext>
            </a:extLst>
          </p:cNvPr>
          <p:cNvSpPr/>
          <p:nvPr/>
        </p:nvSpPr>
        <p:spPr>
          <a:xfrm>
            <a:off x="3683009" y="4517955"/>
            <a:ext cx="1594621" cy="2398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1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Service Governance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AutonomOS On Board module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provides mission monitoring and data collection for deep learning and service optimization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C30932B-1548-63A8-F017-999A4850EBB4}"/>
              </a:ext>
            </a:extLst>
          </p:cNvPr>
          <p:cNvSpPr/>
          <p:nvPr/>
        </p:nvSpPr>
        <p:spPr>
          <a:xfrm>
            <a:off x="7070581" y="758881"/>
            <a:ext cx="1730519" cy="2398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1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Virtual Steward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Passenger-friendly AI persona and UI provides service information</a:t>
            </a:r>
          </a:p>
        </p:txBody>
      </p:sp>
      <p:cxnSp>
        <p:nvCxnSpPr>
          <p:cNvPr id="35" name="Gerade Verbindung 50">
            <a:extLst>
              <a:ext uri="{FF2B5EF4-FFF2-40B4-BE49-F238E27FC236}">
                <a16:creationId xmlns:a16="http://schemas.microsoft.com/office/drawing/2014/main" id="{8DBE69D9-DCC9-E945-3682-12D0C91856CF}"/>
              </a:ext>
            </a:extLst>
          </p:cNvPr>
          <p:cNvCxnSpPr>
            <a:cxnSpLocks/>
          </p:cNvCxnSpPr>
          <p:nvPr/>
        </p:nvCxnSpPr>
        <p:spPr>
          <a:xfrm>
            <a:off x="7984149" y="1017681"/>
            <a:ext cx="301306" cy="368899"/>
          </a:xfrm>
          <a:prstGeom prst="line">
            <a:avLst/>
          </a:prstGeom>
          <a:ln w="5786" cap="sq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47">
            <a:extLst>
              <a:ext uri="{FF2B5EF4-FFF2-40B4-BE49-F238E27FC236}">
                <a16:creationId xmlns:a16="http://schemas.microsoft.com/office/drawing/2014/main" id="{1537C73D-9A41-4C4A-2D3C-C4C411BCB673}"/>
              </a:ext>
            </a:extLst>
          </p:cNvPr>
          <p:cNvCxnSpPr>
            <a:cxnSpLocks/>
          </p:cNvCxnSpPr>
          <p:nvPr/>
        </p:nvCxnSpPr>
        <p:spPr>
          <a:xfrm>
            <a:off x="7070583" y="1018165"/>
            <a:ext cx="909770" cy="0"/>
          </a:xfrm>
          <a:prstGeom prst="line">
            <a:avLst/>
          </a:prstGeom>
          <a:ln w="5786" cap="sq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33392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E72F1129-CBD2-317E-144F-CF0FC6D835C4}"/>
              </a:ext>
            </a:extLst>
          </p:cNvPr>
          <p:cNvGrpSpPr/>
          <p:nvPr/>
        </p:nvGrpSpPr>
        <p:grpSpPr>
          <a:xfrm>
            <a:off x="0" y="969765"/>
            <a:ext cx="9144000" cy="4173736"/>
            <a:chOff x="0" y="1293019"/>
            <a:chExt cx="12192000" cy="5564981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B0055866-CE37-3650-DDA1-5811FF46E208}"/>
                </a:ext>
              </a:extLst>
            </p:cNvPr>
            <p:cNvSpPr/>
            <p:nvPr/>
          </p:nvSpPr>
          <p:spPr>
            <a:xfrm>
              <a:off x="0" y="5664994"/>
              <a:ext cx="12192000" cy="1193006"/>
            </a:xfrm>
            <a:prstGeom prst="rect">
              <a:avLst/>
            </a:prstGeom>
            <a:solidFill>
              <a:srgbClr val="E6F0E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9" name="Picture 8" descr="A black and white bus with green lights&#10;&#10;Description automatically generated">
              <a:extLst>
                <a:ext uri="{FF2B5EF4-FFF2-40B4-BE49-F238E27FC236}">
                  <a16:creationId xmlns:a16="http://schemas.microsoft.com/office/drawing/2014/main" id="{8B18AFA8-62F1-5191-74A7-D74EE3FCA32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1293019"/>
              <a:ext cx="7088189" cy="4371975"/>
            </a:xfrm>
            <a:prstGeom prst="rect">
              <a:avLst/>
            </a:prstGeom>
          </p:spPr>
        </p:pic>
        <p:pic>
          <p:nvPicPr>
            <p:cNvPr id="3" name="Graphic 2">
              <a:extLst>
                <a:ext uri="{FF2B5EF4-FFF2-40B4-BE49-F238E27FC236}">
                  <a16:creationId xmlns:a16="http://schemas.microsoft.com/office/drawing/2014/main" id="{9D93D801-DFA0-1C2F-2FEA-C4326EE90E0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84726" y="3523364"/>
              <a:ext cx="480273" cy="237322"/>
            </a:xfrm>
            <a:prstGeom prst="rect">
              <a:avLst/>
            </a:prstGeom>
          </p:spPr>
        </p:pic>
      </p:grp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675E3B38-2231-1CB6-13E4-D2188F4C7BD1}"/>
              </a:ext>
            </a:extLst>
          </p:cNvPr>
          <p:cNvSpPr/>
          <p:nvPr/>
        </p:nvSpPr>
        <p:spPr>
          <a:xfrm rot="5400000">
            <a:off x="4829771" y="829271"/>
            <a:ext cx="4457700" cy="3484959"/>
          </a:xfrm>
          <a:prstGeom prst="roundRect">
            <a:avLst>
              <a:gd name="adj" fmla="val 7067"/>
            </a:avLst>
          </a:prstGeom>
          <a:solidFill>
            <a:srgbClr val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norite" pitchFamily="2" charset="0"/>
              <a:ea typeface="+mn-ea"/>
              <a:cs typeface="Calibri" panose="020F0502020204030204" pitchFamily="34" charset="0"/>
            </a:endParaRPr>
          </a:p>
        </p:txBody>
      </p:sp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89A9BA01-BAC2-4321-BCD3-856E5AFCE9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359" imgH="358" progId="TCLayout.ActiveDocument.1">
                  <p:embed/>
                </p:oleObj>
              </mc:Choice>
              <mc:Fallback>
                <p:oleObj name="think-cell Folie" r:id="rId7" imgW="359" imgH="358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89A9BA01-BAC2-4321-BCD3-856E5AFCE9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0559A29E-BFB8-F131-CE9D-D8AE20979FFF}"/>
              </a:ext>
            </a:extLst>
          </p:cNvPr>
          <p:cNvGraphicFramePr>
            <a:graphicFrameLocks noGrp="1"/>
          </p:cNvGraphicFramePr>
          <p:nvPr>
            <p:ph sz="quarter" idx="4294967295"/>
          </p:nvPr>
        </p:nvGraphicFramePr>
        <p:xfrm>
          <a:off x="5432670" y="688898"/>
          <a:ext cx="3251903" cy="382547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90387">
                  <a:extLst>
                    <a:ext uri="{9D8B030D-6E8A-4147-A177-3AD203B41FA5}">
                      <a16:colId xmlns:a16="http://schemas.microsoft.com/office/drawing/2014/main" val="1845071046"/>
                    </a:ext>
                  </a:extLst>
                </a:gridCol>
                <a:gridCol w="1761516">
                  <a:extLst>
                    <a:ext uri="{9D8B030D-6E8A-4147-A177-3AD203B41FA5}">
                      <a16:colId xmlns:a16="http://schemas.microsoft.com/office/drawing/2014/main" val="3720939645"/>
                    </a:ext>
                  </a:extLst>
                </a:gridCol>
              </a:tblGrid>
              <a:tr h="415571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4D2D"/>
                          </a:solidFill>
                          <a:latin typeface="Neue Haas Grotesk Text Pro" panose="020B0504020202020204" pitchFamily="34" charset="77"/>
                          <a:cs typeface="Calibri" panose="020F0502020204030204" pitchFamily="34" charset="0"/>
                        </a:rPr>
                        <a:t>Top Speed</a:t>
                      </a:r>
                    </a:p>
                  </a:txBody>
                  <a:tcPr marL="68580" marR="68580" marT="34290" marB="34290"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  <a:latin typeface="Neue Haas Grotesk Text Pro" panose="020B0504020202020204" pitchFamily="34" charset="77"/>
                          <a:cs typeface="Calibri" panose="020F0502020204030204" pitchFamily="34" charset="0"/>
                        </a:rPr>
                        <a:t>37 mph</a:t>
                      </a:r>
                    </a:p>
                  </a:txBody>
                  <a:tcPr marL="68580" marR="68580" marT="34290" marB="3429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94167123"/>
                  </a:ext>
                </a:extLst>
              </a:tr>
              <a:tr h="415571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4D2D"/>
                          </a:solidFill>
                          <a:latin typeface="Neue Haas Grotesk Text Pro" panose="020B0504020202020204" pitchFamily="34" charset="77"/>
                          <a:cs typeface="Calibri" panose="020F0502020204030204" pitchFamily="34" charset="0"/>
                        </a:rPr>
                        <a:t>Range</a:t>
                      </a:r>
                    </a:p>
                  </a:txBody>
                  <a:tcPr marL="68580" marR="68580" marT="34290" marB="34290"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  <a:latin typeface="Neue Haas Grotesk Text Pro" panose="020B0504020202020204" pitchFamily="34" charset="77"/>
                          <a:cs typeface="Calibri" panose="020F0502020204030204" pitchFamily="34" charset="0"/>
                        </a:rPr>
                        <a:t>180 miles</a:t>
                      </a:r>
                    </a:p>
                  </a:txBody>
                  <a:tcPr marL="68580" marR="68580" marT="34290" marB="3429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508649"/>
                  </a:ext>
                </a:extLst>
              </a:tr>
              <a:tr h="415571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4D2D"/>
                          </a:solidFill>
                          <a:latin typeface="Neue Haas Grotesk Text Pro" panose="020B0504020202020204" pitchFamily="34" charset="77"/>
                          <a:cs typeface="Calibri" panose="020F0502020204030204" pitchFamily="34" charset="0"/>
                        </a:rPr>
                        <a:t>Power</a:t>
                      </a:r>
                    </a:p>
                  </a:txBody>
                  <a:tcPr marL="68580" marR="68580" marT="34290" marB="34290"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  <a:latin typeface="Neue Haas Grotesk Text Pro" panose="020B0504020202020204" pitchFamily="34" charset="77"/>
                          <a:cs typeface="Calibri" panose="020F0502020204030204" pitchFamily="34" charset="0"/>
                        </a:rPr>
                        <a:t>150 kW</a:t>
                      </a:r>
                    </a:p>
                  </a:txBody>
                  <a:tcPr marL="68580" marR="68580" marT="34290" marB="3429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0198082"/>
                  </a:ext>
                </a:extLst>
              </a:tr>
              <a:tr h="415571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4D2D"/>
                          </a:solidFill>
                          <a:latin typeface="Neue Haas Grotesk Text Pro" panose="020B0504020202020204" pitchFamily="34" charset="77"/>
                          <a:cs typeface="Calibri" panose="020F0502020204030204" pitchFamily="34" charset="0"/>
                        </a:rPr>
                        <a:t>Capacity</a:t>
                      </a:r>
                    </a:p>
                  </a:txBody>
                  <a:tcPr marL="68580" marR="68580" marT="34290" marB="34290"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  <a:latin typeface="Neue Haas Grotesk Text Pro" panose="020B0504020202020204" pitchFamily="34" charset="77"/>
                          <a:cs typeface="Calibri" panose="020F0502020204030204" pitchFamily="34" charset="0"/>
                        </a:rPr>
                        <a:t>11 seated + 4 standing</a:t>
                      </a:r>
                    </a:p>
                  </a:txBody>
                  <a:tcPr marL="68580" marR="68580" marT="34290" marB="3429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9353048"/>
                  </a:ext>
                </a:extLst>
              </a:tr>
              <a:tr h="415571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4D2D"/>
                          </a:solidFill>
                          <a:latin typeface="Neue Haas Grotesk Text Pro" panose="020B0504020202020204" pitchFamily="34" charset="77"/>
                          <a:cs typeface="Calibri" panose="020F0502020204030204" pitchFamily="34" charset="0"/>
                        </a:rPr>
                        <a:t>GVWR</a:t>
                      </a:r>
                    </a:p>
                  </a:txBody>
                  <a:tcPr marL="68580" marR="68580" marT="34290" marB="34290"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  <a:latin typeface="Neue Haas Grotesk Text Pro" panose="020B0504020202020204" pitchFamily="34" charset="77"/>
                          <a:cs typeface="Calibri" panose="020F0502020204030204" pitchFamily="34" charset="0"/>
                        </a:rPr>
                        <a:t>&gt;10,000 lb</a:t>
                      </a:r>
                    </a:p>
                  </a:txBody>
                  <a:tcPr marL="68580" marR="68580" marT="34290" marB="3429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9731579"/>
                  </a:ext>
                </a:extLst>
              </a:tr>
              <a:tr h="415571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4D2D"/>
                          </a:solidFill>
                          <a:latin typeface="Neue Haas Grotesk Text Pro" panose="020B0504020202020204" pitchFamily="34" charset="77"/>
                          <a:cs typeface="Calibri" panose="020F0502020204030204" pitchFamily="34" charset="0"/>
                        </a:rPr>
                        <a:t>Dimensions</a:t>
                      </a:r>
                    </a:p>
                  </a:txBody>
                  <a:tcPr marL="68580" marR="68580" marT="34290" marB="34290"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  <a:latin typeface="Neue Haas Grotesk Text Pro" panose="020B0504020202020204" pitchFamily="34" charset="77"/>
                          <a:cs typeface="Calibri" panose="020F0502020204030204" pitchFamily="34" charset="0"/>
                        </a:rPr>
                        <a:t>16.3’ L x 8.2’ W x 9.2’ H</a:t>
                      </a:r>
                    </a:p>
                  </a:txBody>
                  <a:tcPr marL="68580" marR="68580" marT="34290" marB="3429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0138271"/>
                  </a:ext>
                </a:extLst>
              </a:tr>
              <a:tr h="500906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4D2D"/>
                          </a:solidFill>
                          <a:latin typeface="Neue Haas Grotesk Text Pro" panose="020B0504020202020204" pitchFamily="34" charset="77"/>
                          <a:cs typeface="Calibri" panose="020F0502020204030204" pitchFamily="34" charset="0"/>
                        </a:rPr>
                        <a:t>Step-In Height</a:t>
                      </a:r>
                    </a:p>
                  </a:txBody>
                  <a:tcPr marL="68580" marR="68580" marT="34290" marB="34290"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  <a:latin typeface="Neue Haas Grotesk Text Pro" panose="020B0504020202020204" pitchFamily="34" charset="77"/>
                          <a:cs typeface="Calibri" panose="020F0502020204030204" pitchFamily="34" charset="0"/>
                        </a:rPr>
                        <a:t>10.6”</a:t>
                      </a:r>
                    </a:p>
                  </a:txBody>
                  <a:tcPr marL="68580" marR="68580" marT="34290" marB="3429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1406064"/>
                  </a:ext>
                </a:extLst>
              </a:tr>
              <a:tr h="415571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4D2D"/>
                          </a:solidFill>
                          <a:latin typeface="Neue Haas Grotesk Text Pro" panose="020B0504020202020204" pitchFamily="34" charset="77"/>
                          <a:cs typeface="Calibri" panose="020F0502020204030204" pitchFamily="34" charset="0"/>
                        </a:rPr>
                        <a:t>ADS</a:t>
                      </a:r>
                    </a:p>
                  </a:txBody>
                  <a:tcPr marL="68580" marR="68580" marT="34290" marB="34290"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  <a:latin typeface="Neue Haas Grotesk Text Pro" panose="020B0504020202020204" pitchFamily="34" charset="77"/>
                          <a:cs typeface="Calibri" panose="020F0502020204030204" pitchFamily="34" charset="0"/>
                        </a:rPr>
                        <a:t>Mobileye Drive</a:t>
                      </a:r>
                    </a:p>
                  </a:txBody>
                  <a:tcPr marL="68580" marR="68580" marT="34290" marB="3429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9558785"/>
                  </a:ext>
                </a:extLst>
              </a:tr>
              <a:tr h="415571">
                <a:tc>
                  <a:txBody>
                    <a:bodyPr/>
                    <a:lstStyle/>
                    <a:p>
                      <a:r>
                        <a:rPr lang="en-US" sz="1100" b="1">
                          <a:solidFill>
                            <a:srgbClr val="004D2D"/>
                          </a:solidFill>
                          <a:latin typeface="Neue Haas Grotesk Text Pro" panose="020B0504020202020204" pitchFamily="34" charset="77"/>
                          <a:cs typeface="Calibri" panose="020F0502020204030204" pitchFamily="34" charset="0"/>
                        </a:rPr>
                        <a:t>Service Governance</a:t>
                      </a:r>
                    </a:p>
                  </a:txBody>
                  <a:tcPr marL="68580" marR="68580" marT="34290" marB="34290"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100">
                          <a:solidFill>
                            <a:schemeClr val="tx1"/>
                          </a:solidFill>
                          <a:latin typeface="Neue Haas Grotesk Text Pro" panose="020B0504020202020204" pitchFamily="34" charset="77"/>
                          <a:cs typeface="Calibri" panose="020F0502020204030204" pitchFamily="34" charset="0"/>
                        </a:rPr>
                        <a:t>Beep AutonomOS</a:t>
                      </a:r>
                    </a:p>
                  </a:txBody>
                  <a:tcPr marL="68580" marR="68580" marT="34290" marB="3429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7276387"/>
                  </a:ext>
                </a:extLst>
              </a:tr>
            </a:tbl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E3EB11E4-4154-5610-93C8-2FC7FF47FF58}"/>
              </a:ext>
            </a:extLst>
          </p:cNvPr>
          <p:cNvSpPr/>
          <p:nvPr/>
        </p:nvSpPr>
        <p:spPr>
          <a:xfrm>
            <a:off x="761671" y="4362427"/>
            <a:ext cx="2630259" cy="2224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b" anchorCtr="0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1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Accessible</a:t>
            </a:r>
            <a:r>
              <a:rPr kumimoji="0" lang="en-US" sz="75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10.6” Step-In Height</a:t>
            </a:r>
            <a:br>
              <a:rPr kumimoji="0" lang="en-US" sz="75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</a:br>
            <a:r>
              <a:rPr kumimoji="0" lang="en-US" sz="75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Automatic ADA-compliant Wheelchair Ramp &amp; Restraints</a:t>
            </a:r>
          </a:p>
        </p:txBody>
      </p:sp>
      <p:cxnSp>
        <p:nvCxnSpPr>
          <p:cNvPr id="6" name="Gerade Verbindung 47">
            <a:extLst>
              <a:ext uri="{FF2B5EF4-FFF2-40B4-BE49-F238E27FC236}">
                <a16:creationId xmlns:a16="http://schemas.microsoft.com/office/drawing/2014/main" id="{A5009FFD-748E-CFFA-30FE-F7F825F086B1}"/>
              </a:ext>
            </a:extLst>
          </p:cNvPr>
          <p:cNvCxnSpPr>
            <a:cxnSpLocks/>
          </p:cNvCxnSpPr>
          <p:nvPr/>
        </p:nvCxnSpPr>
        <p:spPr>
          <a:xfrm>
            <a:off x="772881" y="4202864"/>
            <a:ext cx="1097065" cy="0"/>
          </a:xfrm>
          <a:prstGeom prst="line">
            <a:avLst/>
          </a:prstGeom>
          <a:ln w="5786" cap="sq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50">
            <a:extLst>
              <a:ext uri="{FF2B5EF4-FFF2-40B4-BE49-F238E27FC236}">
                <a16:creationId xmlns:a16="http://schemas.microsoft.com/office/drawing/2014/main" id="{2339C517-6F5E-07BC-332B-16DCE34AA023}"/>
              </a:ext>
            </a:extLst>
          </p:cNvPr>
          <p:cNvCxnSpPr>
            <a:cxnSpLocks/>
          </p:cNvCxnSpPr>
          <p:nvPr/>
        </p:nvCxnSpPr>
        <p:spPr>
          <a:xfrm flipH="1">
            <a:off x="1868945" y="4039622"/>
            <a:ext cx="199672" cy="166995"/>
          </a:xfrm>
          <a:prstGeom prst="line">
            <a:avLst/>
          </a:prstGeom>
          <a:ln w="5786" cap="sq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BF6BC2D8-C80A-9C29-5FA2-73D6B0B32A64}"/>
              </a:ext>
            </a:extLst>
          </p:cNvPr>
          <p:cNvSpPr/>
          <p:nvPr/>
        </p:nvSpPr>
        <p:spPr>
          <a:xfrm>
            <a:off x="573990" y="527864"/>
            <a:ext cx="1594621" cy="2398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1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Supervised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+mn-cs"/>
              </a:rPr>
              <a:t>AI-enhanced in-cabin monitoring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F275FBFB-0B2D-873F-AD2A-B1C8FCC6E41C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47450" y="814558"/>
            <a:ext cx="567931" cy="280636"/>
          </a:xfrm>
          <a:prstGeom prst="rect">
            <a:avLst/>
          </a:prstGeom>
        </p:spPr>
      </p:pic>
      <p:cxnSp>
        <p:nvCxnSpPr>
          <p:cNvPr id="14" name="Gerade Verbindung 50">
            <a:extLst>
              <a:ext uri="{FF2B5EF4-FFF2-40B4-BE49-F238E27FC236}">
                <a16:creationId xmlns:a16="http://schemas.microsoft.com/office/drawing/2014/main" id="{EBA5AFEA-6A35-CD5F-E415-4CD719E62594}"/>
              </a:ext>
            </a:extLst>
          </p:cNvPr>
          <p:cNvCxnSpPr>
            <a:cxnSpLocks/>
          </p:cNvCxnSpPr>
          <p:nvPr/>
        </p:nvCxnSpPr>
        <p:spPr>
          <a:xfrm>
            <a:off x="1487757" y="805422"/>
            <a:ext cx="929221" cy="1137678"/>
          </a:xfrm>
          <a:prstGeom prst="line">
            <a:avLst/>
          </a:prstGeom>
          <a:ln w="5786" cap="sq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47">
            <a:extLst>
              <a:ext uri="{FF2B5EF4-FFF2-40B4-BE49-F238E27FC236}">
                <a16:creationId xmlns:a16="http://schemas.microsoft.com/office/drawing/2014/main" id="{7E614B4D-6E87-E7DA-7C17-55A0F1DA0FBD}"/>
              </a:ext>
            </a:extLst>
          </p:cNvPr>
          <p:cNvCxnSpPr>
            <a:cxnSpLocks/>
          </p:cNvCxnSpPr>
          <p:nvPr/>
        </p:nvCxnSpPr>
        <p:spPr>
          <a:xfrm>
            <a:off x="573991" y="805423"/>
            <a:ext cx="909770" cy="0"/>
          </a:xfrm>
          <a:prstGeom prst="line">
            <a:avLst/>
          </a:prstGeom>
          <a:ln w="5786" cap="sq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273895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0B01F3-A773-563F-0591-65B7ACCB093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68930" y="2362294"/>
            <a:ext cx="6103620" cy="348766"/>
          </a:xfrm>
        </p:spPr>
        <p:txBody>
          <a:bodyPr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Brandon Corsentino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B025BB9-7C2E-526D-2693-062A72B6321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irector, US East</a:t>
            </a:r>
          </a:p>
          <a:p>
            <a:r>
              <a:rPr lang="en-US" dirty="0"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randon.Corsentino@ridebeep.com</a:t>
            </a:r>
            <a:endParaRPr lang="en-US" dirty="0"/>
          </a:p>
          <a:p>
            <a:r>
              <a:rPr lang="en-US" dirty="0"/>
              <a:t>631-645-3850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265E77F1-EC0C-94E0-5B14-7D39A430FE58}"/>
              </a:ext>
            </a:extLst>
          </p:cNvPr>
          <p:cNvSpPr txBox="1">
            <a:spLocks/>
          </p:cNvSpPr>
          <p:nvPr/>
        </p:nvSpPr>
        <p:spPr>
          <a:xfrm>
            <a:off x="1520190" y="4605357"/>
            <a:ext cx="6103620" cy="327634"/>
          </a:xfrm>
          <a:prstGeom prst="rect">
            <a:avLst/>
          </a:prstGeom>
        </p:spPr>
        <p:txBody>
          <a:bodyPr vert="horz" lIns="0" tIns="34290" rIns="68580" bIns="34290" rtlCol="0" anchor="t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dirty="0"/>
              <a:t>See you May 16</a:t>
            </a:r>
            <a:r>
              <a:rPr lang="en-US" sz="2400" baseline="30000" dirty="0"/>
              <a:t>th</a:t>
            </a:r>
            <a:r>
              <a:rPr lang="en-US" sz="2400" dirty="0"/>
              <a:t>! 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4B5125F9-39C0-B33E-F7D7-9515855FD8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4840" y="210510"/>
            <a:ext cx="1622032" cy="15546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2679032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1" name="Rectangle 70">
            <a:extLst>
              <a:ext uri="{FF2B5EF4-FFF2-40B4-BE49-F238E27FC236}">
                <a16:creationId xmlns:a16="http://schemas.microsoft.com/office/drawing/2014/main" id="{9F4872A9-B8AB-4468-A644-63D8946D62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51435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endParaRPr lang="en-US" sz="1350" kern="1200">
              <a:solidFill>
                <a:srgbClr val="F4F2EC"/>
              </a:solidFill>
              <a:latin typeface="Arial Nova Light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F0C09AB9-049D-4CCE-84FB-B46523237A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5943599" cy="51510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endParaRPr lang="en-US" sz="1350" kern="1200">
              <a:solidFill>
                <a:srgbClr val="F4F2EC"/>
              </a:solidFill>
              <a:latin typeface="Arial Nova Ligh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30099F5-F536-4273-A978-4F160215A02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5799" y="428477"/>
            <a:ext cx="4534469" cy="1893094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ry Sunshine House</a:t>
            </a:r>
          </a:p>
        </p:txBody>
      </p:sp>
      <p:sp>
        <p:nvSpPr>
          <p:cNvPr id="75" name="Freeform: Shape 74">
            <a:extLst>
              <a:ext uri="{FF2B5EF4-FFF2-40B4-BE49-F238E27FC236}">
                <a16:creationId xmlns:a16="http://schemas.microsoft.com/office/drawing/2014/main" id="{1955AA43-884C-4A56-A86B-FAF15EB56C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5057025" y="2444667"/>
            <a:ext cx="1764879" cy="3647939"/>
          </a:xfrm>
          <a:custGeom>
            <a:avLst/>
            <a:gdLst>
              <a:gd name="connsiteX0" fmla="*/ 2352312 w 2353172"/>
              <a:gd name="connsiteY0" fmla="*/ 0 h 4863918"/>
              <a:gd name="connsiteX1" fmla="*/ 2353172 w 2353172"/>
              <a:gd name="connsiteY1" fmla="*/ 0 h 4863918"/>
              <a:gd name="connsiteX2" fmla="*/ 2353172 w 2353172"/>
              <a:gd name="connsiteY2" fmla="*/ 4863918 h 4863918"/>
              <a:gd name="connsiteX3" fmla="*/ 2352312 w 2353172"/>
              <a:gd name="connsiteY3" fmla="*/ 4863918 h 4863918"/>
              <a:gd name="connsiteX4" fmla="*/ 2340504 w 2353172"/>
              <a:gd name="connsiteY4" fmla="*/ 4630072 h 4863918"/>
              <a:gd name="connsiteX5" fmla="*/ 134816 w 2353172"/>
              <a:gd name="connsiteY5" fmla="*/ 2438342 h 4863918"/>
              <a:gd name="connsiteX6" fmla="*/ 0 w 2353172"/>
              <a:gd name="connsiteY6" fmla="*/ 2431959 h 4863918"/>
              <a:gd name="connsiteX7" fmla="*/ 134816 w 2353172"/>
              <a:gd name="connsiteY7" fmla="*/ 2425576 h 4863918"/>
              <a:gd name="connsiteX8" fmla="*/ 2340504 w 2353172"/>
              <a:gd name="connsiteY8" fmla="*/ 233845 h 4863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53172" h="4863918">
                <a:moveTo>
                  <a:pt x="2352312" y="0"/>
                </a:moveTo>
                <a:lnTo>
                  <a:pt x="2353172" y="0"/>
                </a:lnTo>
                <a:lnTo>
                  <a:pt x="2353172" y="4863918"/>
                </a:lnTo>
                <a:lnTo>
                  <a:pt x="2352312" y="4863918"/>
                </a:lnTo>
                <a:lnTo>
                  <a:pt x="2340504" y="4630072"/>
                </a:lnTo>
                <a:cubicBezTo>
                  <a:pt x="2222700" y="3470082"/>
                  <a:pt x="1296917" y="2548952"/>
                  <a:pt x="134816" y="2438342"/>
                </a:cubicBezTo>
                <a:lnTo>
                  <a:pt x="0" y="2431959"/>
                </a:lnTo>
                <a:lnTo>
                  <a:pt x="134816" y="2425576"/>
                </a:lnTo>
                <a:cubicBezTo>
                  <a:pt x="1296917" y="2314966"/>
                  <a:pt x="2222700" y="1393835"/>
                  <a:pt x="2340504" y="23384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buClrTx/>
            </a:pPr>
            <a:endParaRPr lang="en-US" sz="1350" kern="1200">
              <a:solidFill>
                <a:srgbClr val="F4F2EC"/>
              </a:solidFill>
              <a:latin typeface="Arial Nova Light"/>
            </a:endParaRPr>
          </a:p>
        </p:txBody>
      </p:sp>
      <p:sp>
        <p:nvSpPr>
          <p:cNvPr id="77" name="Freeform: Shape 76">
            <a:extLst>
              <a:ext uri="{FF2B5EF4-FFF2-40B4-BE49-F238E27FC236}">
                <a16:creationId xmlns:a16="http://schemas.microsoft.com/office/drawing/2014/main" id="{8398466B-CED3-4787-ACF2-13E617B757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5057025" y="2444667"/>
            <a:ext cx="1764879" cy="3647939"/>
          </a:xfrm>
          <a:custGeom>
            <a:avLst/>
            <a:gdLst>
              <a:gd name="connsiteX0" fmla="*/ 2352312 w 2353172"/>
              <a:gd name="connsiteY0" fmla="*/ 0 h 4863918"/>
              <a:gd name="connsiteX1" fmla="*/ 2353172 w 2353172"/>
              <a:gd name="connsiteY1" fmla="*/ 0 h 4863918"/>
              <a:gd name="connsiteX2" fmla="*/ 2353172 w 2353172"/>
              <a:gd name="connsiteY2" fmla="*/ 4863918 h 4863918"/>
              <a:gd name="connsiteX3" fmla="*/ 2352312 w 2353172"/>
              <a:gd name="connsiteY3" fmla="*/ 4863918 h 4863918"/>
              <a:gd name="connsiteX4" fmla="*/ 2340504 w 2353172"/>
              <a:gd name="connsiteY4" fmla="*/ 4630072 h 4863918"/>
              <a:gd name="connsiteX5" fmla="*/ 134816 w 2353172"/>
              <a:gd name="connsiteY5" fmla="*/ 2438342 h 4863918"/>
              <a:gd name="connsiteX6" fmla="*/ 0 w 2353172"/>
              <a:gd name="connsiteY6" fmla="*/ 2431959 h 4863918"/>
              <a:gd name="connsiteX7" fmla="*/ 134816 w 2353172"/>
              <a:gd name="connsiteY7" fmla="*/ 2425576 h 4863918"/>
              <a:gd name="connsiteX8" fmla="*/ 2340504 w 2353172"/>
              <a:gd name="connsiteY8" fmla="*/ 233845 h 4863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353172" h="4863918">
                <a:moveTo>
                  <a:pt x="2352312" y="0"/>
                </a:moveTo>
                <a:lnTo>
                  <a:pt x="2353172" y="0"/>
                </a:lnTo>
                <a:lnTo>
                  <a:pt x="2353172" y="4863918"/>
                </a:lnTo>
                <a:lnTo>
                  <a:pt x="2352312" y="4863918"/>
                </a:lnTo>
                <a:lnTo>
                  <a:pt x="2340504" y="4630072"/>
                </a:lnTo>
                <a:cubicBezTo>
                  <a:pt x="2222700" y="3470082"/>
                  <a:pt x="1296917" y="2548952"/>
                  <a:pt x="134816" y="2438342"/>
                </a:cubicBezTo>
                <a:lnTo>
                  <a:pt x="0" y="2431959"/>
                </a:lnTo>
                <a:lnTo>
                  <a:pt x="134816" y="2425576"/>
                </a:lnTo>
                <a:cubicBezTo>
                  <a:pt x="1296917" y="2314966"/>
                  <a:pt x="2222700" y="1393835"/>
                  <a:pt x="2340504" y="233845"/>
                </a:cubicBezTo>
                <a:close/>
              </a:path>
            </a:pathLst>
          </a:custGeom>
          <a:solidFill>
            <a:schemeClr val="accent2">
              <a:lumMod val="7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buClrTx/>
            </a:pPr>
            <a:endParaRPr lang="en-US" sz="1350" kern="1200">
              <a:solidFill>
                <a:srgbClr val="F4F2EC"/>
              </a:solidFill>
              <a:latin typeface="Arial Nova Light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37BB301-75BB-4A57-BC72-2121A3DC493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5800" y="2786005"/>
            <a:ext cx="5133976" cy="807230"/>
          </a:xfrm>
        </p:spPr>
        <p:txBody>
          <a:bodyPr>
            <a:noAutofit/>
          </a:bodyPr>
          <a:lstStyle/>
          <a:p>
            <a:r>
              <a:rPr lang="en-US" sz="1500" dirty="0">
                <a:solidFill>
                  <a:srgbClr val="FFFFFF"/>
                </a:solidFill>
              </a:rPr>
              <a:t>Comprehensive independent living community for adults with neurodevelopmental/autism spectrum disorders</a:t>
            </a:r>
          </a:p>
        </p:txBody>
      </p:sp>
      <p:pic>
        <p:nvPicPr>
          <p:cNvPr id="5" name="Picture 4" descr="Logo, company name&#10;&#10;Description automatically generated">
            <a:extLst>
              <a:ext uri="{FF2B5EF4-FFF2-40B4-BE49-F238E27FC236}">
                <a16:creationId xmlns:a16="http://schemas.microsoft.com/office/drawing/2014/main" id="{673BC3C9-A09E-184C-8091-385C6411510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5773" y="595886"/>
            <a:ext cx="3067246" cy="1660144"/>
          </a:xfrm>
          <a:prstGeom prst="rect">
            <a:avLst/>
          </a:prstGeom>
        </p:spPr>
      </p:pic>
      <p:pic>
        <p:nvPicPr>
          <p:cNvPr id="6" name="Picture 5" descr="A sign with text on it">
            <a:extLst>
              <a:ext uri="{FF2B5EF4-FFF2-40B4-BE49-F238E27FC236}">
                <a16:creationId xmlns:a16="http://schemas.microsoft.com/office/drawing/2014/main" id="{96D80966-7318-13F2-45C2-EF23A6E6354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4794" y="2331721"/>
            <a:ext cx="3209206" cy="281178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4D93DB9-415F-EF65-0EB6-A62856BA6ED1}"/>
              </a:ext>
            </a:extLst>
          </p:cNvPr>
          <p:cNvSpPr txBox="1"/>
          <p:nvPr/>
        </p:nvSpPr>
        <p:spPr>
          <a:xfrm>
            <a:off x="685799" y="4177933"/>
            <a:ext cx="4773168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buClrTx/>
            </a:pPr>
            <a:r>
              <a:rPr lang="en-US" sz="1500" b="1" kern="1200" dirty="0">
                <a:solidFill>
                  <a:srgbClr val="FFFFFF"/>
                </a:solidFill>
                <a:latin typeface="Arial Nova Light"/>
                <a:ea typeface="+mn-ea"/>
                <a:cs typeface="+mn-cs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ebsite</a:t>
            </a:r>
            <a:r>
              <a:rPr lang="en-US" sz="1500" b="1" u="sng" kern="1200" dirty="0">
                <a:solidFill>
                  <a:srgbClr val="FFFFFF"/>
                </a:solidFill>
                <a:latin typeface="Arial Nova Light"/>
                <a:ea typeface="+mn-ea"/>
                <a:cs typeface="+mn-cs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: </a:t>
            </a:r>
            <a:r>
              <a:rPr lang="en-US" sz="1500" b="1" kern="1200" dirty="0">
                <a:solidFill>
                  <a:srgbClr val="FFFFFF"/>
                </a:solidFill>
                <a:latin typeface="Arial Nova Light"/>
                <a:ea typeface="+mn-ea"/>
                <a:cs typeface="+mn-cs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Marysunshinehouse.org</a:t>
            </a:r>
            <a:endParaRPr lang="en-US" sz="1500" b="1" kern="1200" dirty="0">
              <a:solidFill>
                <a:srgbClr val="FFFFFF"/>
              </a:solidFill>
              <a:latin typeface="Arial Nova Light"/>
              <a:ea typeface="+mn-ea"/>
              <a:cs typeface="+mn-cs"/>
            </a:endParaRPr>
          </a:p>
          <a:p>
            <a:pPr defTabSz="685800">
              <a:buClrTx/>
            </a:pPr>
            <a:r>
              <a:rPr lang="en-US" sz="1500" b="1" u="sng" kern="1200" dirty="0">
                <a:solidFill>
                  <a:srgbClr val="FFFFFF"/>
                </a:solidFill>
                <a:latin typeface="Arial Nova Light"/>
                <a:ea typeface="+mn-ea"/>
                <a:cs typeface="+mn-cs"/>
              </a:rPr>
              <a:t>Email: </a:t>
            </a:r>
            <a:r>
              <a:rPr lang="en-US" sz="1500" b="1" kern="1200" dirty="0">
                <a:solidFill>
                  <a:srgbClr val="FFFFFF"/>
                </a:solidFill>
                <a:latin typeface="Arial Nova Light"/>
                <a:ea typeface="+mn-ea"/>
                <a:cs typeface="+mn-cs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@marysunshinehouse.org</a:t>
            </a:r>
            <a:endParaRPr lang="en-US" sz="1500" b="1" kern="1200" dirty="0">
              <a:solidFill>
                <a:srgbClr val="FFFFFF"/>
              </a:solidFill>
              <a:latin typeface="Arial Nova Light"/>
              <a:ea typeface="+mn-ea"/>
              <a:cs typeface="+mn-cs"/>
            </a:endParaRPr>
          </a:p>
          <a:p>
            <a:pPr defTabSz="685800">
              <a:buClrTx/>
            </a:pPr>
            <a:endParaRPr lang="en-US" sz="1500" b="1" kern="1200" dirty="0">
              <a:solidFill>
                <a:prstClr val="black"/>
              </a:solidFill>
              <a:latin typeface="Arial Nova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063364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>
            <a:extLst>
              <a:ext uri="{FF2B5EF4-FFF2-40B4-BE49-F238E27FC236}">
                <a16:creationId xmlns:a16="http://schemas.microsoft.com/office/drawing/2014/main" id="{5A57F96D-AA13-4CCA-8FEF-60C3E4173186}"/>
              </a:ext>
            </a:extLst>
          </p:cNvPr>
          <p:cNvSpPr/>
          <p:nvPr/>
        </p:nvSpPr>
        <p:spPr>
          <a:xfrm>
            <a:off x="4653135" y="1050676"/>
            <a:ext cx="3860932" cy="269696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endParaRPr lang="en-US" sz="1350" kern="1200">
              <a:solidFill>
                <a:srgbClr val="F4F2EC"/>
              </a:solidFill>
              <a:latin typeface="Arial Nova Ligh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BAFA34-63A3-4C11-B6D2-D335FBC246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1956" y="989248"/>
            <a:ext cx="4968468" cy="3942348"/>
          </a:xfrm>
        </p:spPr>
        <p:txBody>
          <a:bodyPr>
            <a:normAutofit lnSpcReduction="10000"/>
          </a:bodyPr>
          <a:lstStyle/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b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tional Challenge-</a:t>
            </a:r>
          </a:p>
          <a:p>
            <a:pPr marL="0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imited choices for families</a:t>
            </a:r>
          </a:p>
          <a:p>
            <a:pPr marL="0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imited access with a growing need</a:t>
            </a:r>
          </a:p>
          <a:p>
            <a:pPr marL="0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adequate housing options</a:t>
            </a:r>
          </a:p>
          <a:p>
            <a:pPr marL="0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st prohibitive</a:t>
            </a:r>
          </a:p>
          <a:p>
            <a:pPr marL="0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ow availability and increasing wait lists</a:t>
            </a: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US"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b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SH Response</a:t>
            </a:r>
            <a:r>
              <a:rPr lang="en-US" b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</a:t>
            </a:r>
          </a:p>
          <a:p>
            <a:pPr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35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 the Southeast, few options exist for semi-independent living that offer full wraparound programs like MSH.  </a:t>
            </a:r>
          </a:p>
          <a:p>
            <a:pPr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35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SH is meeting a growing need as more autistic youth enter adulthood.</a:t>
            </a:r>
          </a:p>
          <a:p>
            <a:pPr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35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SH provides a cost effective and proven strategy to encourage healthy, safe living for adults with autism.</a:t>
            </a:r>
            <a:endParaRPr lang="en-US" sz="135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AEA7082-4895-487A-9B2C-A95689B0D2E4}"/>
              </a:ext>
            </a:extLst>
          </p:cNvPr>
          <p:cNvSpPr txBox="1"/>
          <p:nvPr/>
        </p:nvSpPr>
        <p:spPr>
          <a:xfrm>
            <a:off x="5117427" y="1637411"/>
            <a:ext cx="2932346" cy="15465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>
              <a:buClrTx/>
            </a:pPr>
            <a:r>
              <a:rPr lang="en-US" sz="1575" b="1" i="1" kern="1200">
                <a:solidFill>
                  <a:srgbClr val="FFFFFF"/>
                </a:solidFill>
                <a:latin typeface="Arial Nova Light"/>
                <a:ea typeface="+mn-ea"/>
                <a:cs typeface="+mn-cs"/>
              </a:rPr>
              <a:t>Housing</a:t>
            </a:r>
            <a:r>
              <a:rPr lang="en-US" sz="1575" i="1" kern="1200">
                <a:solidFill>
                  <a:srgbClr val="FFFFFF"/>
                </a:solidFill>
                <a:latin typeface="Arial Nova Light"/>
                <a:ea typeface="+mn-ea"/>
                <a:cs typeface="+mn-cs"/>
              </a:rPr>
              <a:t> is a powerful social determinant of health; lack of housing for people with ASD has an even greater impact as it leads to displacement from one’s community of support.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DE2A663-6698-4C78-816E-75E607AC1D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1956" y="0"/>
            <a:ext cx="7436144" cy="996753"/>
          </a:xfrm>
        </p:spPr>
        <p:txBody>
          <a:bodyPr>
            <a:normAutofit/>
          </a:bodyPr>
          <a:lstStyle/>
          <a:p>
            <a:pPr algn="ctr"/>
            <a:r>
              <a:rPr lang="en-US" sz="3300" b="1">
                <a:latin typeface="Calibri" panose="020F0502020204030204" pitchFamily="34" charset="0"/>
                <a:cs typeface="Calibri" panose="020F0502020204030204" pitchFamily="34" charset="0"/>
              </a:rPr>
              <a:t>Why the need for Mary Sunshine House?</a:t>
            </a:r>
          </a:p>
        </p:txBody>
      </p:sp>
    </p:spTree>
    <p:extLst>
      <p:ext uri="{BB962C8B-B14F-4D97-AF65-F5344CB8AC3E}">
        <p14:creationId xmlns:p14="http://schemas.microsoft.com/office/powerpoint/2010/main" val="114684172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8" name="Rectangle 37">
            <a:extLst>
              <a:ext uri="{FF2B5EF4-FFF2-40B4-BE49-F238E27FC236}">
                <a16:creationId xmlns:a16="http://schemas.microsoft.com/office/drawing/2014/main" id="{266A3FE7-60D1-46EB-85C0-DA73D11FB8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51435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endParaRPr lang="en-US" sz="1350" kern="1200">
              <a:solidFill>
                <a:srgbClr val="F4F2EC"/>
              </a:solidFill>
              <a:latin typeface="Arial Nova Light"/>
            </a:endParaRPr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7C294D02-7B12-44A2-ADE7-D17811CC16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5100498" cy="5143500"/>
          </a:xfrm>
          <a:custGeom>
            <a:avLst/>
            <a:gdLst>
              <a:gd name="connsiteX0" fmla="*/ 0 w 6800664"/>
              <a:gd name="connsiteY0" fmla="*/ 0 h 6858000"/>
              <a:gd name="connsiteX1" fmla="*/ 1849345 w 6800664"/>
              <a:gd name="connsiteY1" fmla="*/ 0 h 6858000"/>
              <a:gd name="connsiteX2" fmla="*/ 1849345 w 6800664"/>
              <a:gd name="connsiteY2" fmla="*/ 1 h 6858000"/>
              <a:gd name="connsiteX3" fmla="*/ 6800664 w 6800664"/>
              <a:gd name="connsiteY3" fmla="*/ 1 h 6858000"/>
              <a:gd name="connsiteX4" fmla="*/ 3369709 w 6800664"/>
              <a:gd name="connsiteY4" fmla="*/ 3430956 h 6858000"/>
              <a:gd name="connsiteX5" fmla="*/ 6624108 w 6800664"/>
              <a:gd name="connsiteY5" fmla="*/ 6857447 h 6858000"/>
              <a:gd name="connsiteX6" fmla="*/ 6645980 w 6800664"/>
              <a:gd name="connsiteY6" fmla="*/ 6858000 h 6858000"/>
              <a:gd name="connsiteX7" fmla="*/ 0 w 6800664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00664" h="6858000">
                <a:moveTo>
                  <a:pt x="0" y="0"/>
                </a:moveTo>
                <a:lnTo>
                  <a:pt x="1849345" y="0"/>
                </a:lnTo>
                <a:lnTo>
                  <a:pt x="1849345" y="1"/>
                </a:lnTo>
                <a:lnTo>
                  <a:pt x="6800664" y="1"/>
                </a:lnTo>
                <a:cubicBezTo>
                  <a:pt x="4905801" y="1"/>
                  <a:pt x="3369709" y="1536092"/>
                  <a:pt x="3369709" y="3430956"/>
                </a:cubicBezTo>
                <a:cubicBezTo>
                  <a:pt x="3369709" y="5266605"/>
                  <a:pt x="4811294" y="6765555"/>
                  <a:pt x="6624108" y="6857447"/>
                </a:cubicBezTo>
                <a:lnTo>
                  <a:pt x="664598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buClrTx/>
            </a:pPr>
            <a:endParaRPr lang="en-US" sz="1350" kern="1200">
              <a:solidFill>
                <a:srgbClr val="F4F2EC"/>
              </a:solidFill>
              <a:latin typeface="Arial Nova Light"/>
            </a:endParaRPr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0F743AA9-AD4A-4C7C-A2F8-D376FD29CC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5100498" cy="5143500"/>
          </a:xfrm>
          <a:custGeom>
            <a:avLst/>
            <a:gdLst>
              <a:gd name="connsiteX0" fmla="*/ 0 w 6800664"/>
              <a:gd name="connsiteY0" fmla="*/ 0 h 6858000"/>
              <a:gd name="connsiteX1" fmla="*/ 1849345 w 6800664"/>
              <a:gd name="connsiteY1" fmla="*/ 0 h 6858000"/>
              <a:gd name="connsiteX2" fmla="*/ 1849345 w 6800664"/>
              <a:gd name="connsiteY2" fmla="*/ 1 h 6858000"/>
              <a:gd name="connsiteX3" fmla="*/ 6800664 w 6800664"/>
              <a:gd name="connsiteY3" fmla="*/ 1 h 6858000"/>
              <a:gd name="connsiteX4" fmla="*/ 3369709 w 6800664"/>
              <a:gd name="connsiteY4" fmla="*/ 3430956 h 6858000"/>
              <a:gd name="connsiteX5" fmla="*/ 6624108 w 6800664"/>
              <a:gd name="connsiteY5" fmla="*/ 6857447 h 6858000"/>
              <a:gd name="connsiteX6" fmla="*/ 6645980 w 6800664"/>
              <a:gd name="connsiteY6" fmla="*/ 6858000 h 6858000"/>
              <a:gd name="connsiteX7" fmla="*/ 0 w 6800664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00664" h="6858000">
                <a:moveTo>
                  <a:pt x="0" y="0"/>
                </a:moveTo>
                <a:lnTo>
                  <a:pt x="1849345" y="0"/>
                </a:lnTo>
                <a:lnTo>
                  <a:pt x="1849345" y="1"/>
                </a:lnTo>
                <a:lnTo>
                  <a:pt x="6800664" y="1"/>
                </a:lnTo>
                <a:cubicBezTo>
                  <a:pt x="4905801" y="1"/>
                  <a:pt x="3369709" y="1536092"/>
                  <a:pt x="3369709" y="3430956"/>
                </a:cubicBezTo>
                <a:cubicBezTo>
                  <a:pt x="3369709" y="5266605"/>
                  <a:pt x="4811294" y="6765555"/>
                  <a:pt x="6624108" y="6857447"/>
                </a:cubicBezTo>
                <a:lnTo>
                  <a:pt x="664598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2">
              <a:lumMod val="75000"/>
              <a:alpha val="7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buClrTx/>
            </a:pPr>
            <a:endParaRPr lang="en-US" sz="1350" kern="1200">
              <a:solidFill>
                <a:srgbClr val="F4F2EC"/>
              </a:solidFill>
              <a:latin typeface="Arial Nova Light"/>
            </a:endParaRPr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AE959701-876A-4201-8EE6-E65DF338A8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2514600" cy="5142063"/>
          </a:xfrm>
          <a:custGeom>
            <a:avLst/>
            <a:gdLst>
              <a:gd name="connsiteX0" fmla="*/ 0 w 3352800"/>
              <a:gd name="connsiteY0" fmla="*/ 0 h 6856084"/>
              <a:gd name="connsiteX1" fmla="*/ 3352800 w 3352800"/>
              <a:gd name="connsiteY1" fmla="*/ 0 h 6856084"/>
              <a:gd name="connsiteX2" fmla="*/ 3352800 w 3352800"/>
              <a:gd name="connsiteY2" fmla="*/ 3427044 h 6856084"/>
              <a:gd name="connsiteX3" fmla="*/ 3352800 w 3352800"/>
              <a:gd name="connsiteY3" fmla="*/ 3442336 h 6856084"/>
              <a:gd name="connsiteX4" fmla="*/ 3352413 w 3352800"/>
              <a:gd name="connsiteY4" fmla="*/ 3442336 h 6856084"/>
              <a:gd name="connsiteX5" fmla="*/ 3348336 w 3352800"/>
              <a:gd name="connsiteY5" fmla="*/ 3603600 h 6856084"/>
              <a:gd name="connsiteX6" fmla="*/ 92918 w 3352800"/>
              <a:gd name="connsiteY6" fmla="*/ 6853808 h 6856084"/>
              <a:gd name="connsiteX7" fmla="*/ 0 w 3352800"/>
              <a:gd name="connsiteY7" fmla="*/ 6856084 h 68560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52800" h="6856084">
                <a:moveTo>
                  <a:pt x="0" y="0"/>
                </a:moveTo>
                <a:lnTo>
                  <a:pt x="3352800" y="0"/>
                </a:lnTo>
                <a:lnTo>
                  <a:pt x="3352800" y="3427044"/>
                </a:lnTo>
                <a:lnTo>
                  <a:pt x="3352800" y="3442336"/>
                </a:lnTo>
                <a:lnTo>
                  <a:pt x="3352413" y="3442336"/>
                </a:lnTo>
                <a:lnTo>
                  <a:pt x="3348336" y="3603600"/>
                </a:lnTo>
                <a:cubicBezTo>
                  <a:pt x="3259315" y="5359763"/>
                  <a:pt x="1849804" y="6767537"/>
                  <a:pt x="92918" y="6853808"/>
                </a:cubicBezTo>
                <a:lnTo>
                  <a:pt x="0" y="6856084"/>
                </a:lnTo>
                <a:close/>
              </a:path>
            </a:pathLst>
          </a:cu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endParaRPr lang="en-US" sz="1350" kern="1200">
              <a:solidFill>
                <a:srgbClr val="F4F2EC"/>
              </a:solidFill>
              <a:latin typeface="Arial Nova Ligh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4FA8A2-6D9F-AA68-A102-C857AB3F39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514350"/>
            <a:ext cx="2011680" cy="2743200"/>
          </a:xfrm>
        </p:spPr>
        <p:txBody>
          <a:bodyPr anchor="t">
            <a:normAutofit/>
          </a:bodyPr>
          <a:lstStyle/>
          <a:p>
            <a:r>
              <a:rPr lang="en-US">
                <a:solidFill>
                  <a:srgbClr val="FFFFFF"/>
                </a:solidFill>
              </a:rPr>
              <a:t>Mary Sunshine House Programs</a:t>
            </a:r>
          </a:p>
        </p:txBody>
      </p:sp>
      <p:sp>
        <p:nvSpPr>
          <p:cNvPr id="42" name="Content Placeholder 2">
            <a:extLst>
              <a:ext uri="{FF2B5EF4-FFF2-40B4-BE49-F238E27FC236}">
                <a16:creationId xmlns:a16="http://schemas.microsoft.com/office/drawing/2014/main" id="{11C1BBE8-7025-B1B4-8D8A-2167DD72D46A}"/>
              </a:ext>
            </a:extLst>
          </p:cNvPr>
          <p:cNvSpPr>
            <a:spLocks/>
          </p:cNvSpPr>
          <p:nvPr/>
        </p:nvSpPr>
        <p:spPr>
          <a:xfrm>
            <a:off x="2964420" y="943331"/>
            <a:ext cx="4823446" cy="2005939"/>
          </a:xfrm>
          <a:prstGeom prst="rect">
            <a:avLst/>
          </a:prstGeom>
        </p:spPr>
        <p:txBody>
          <a:bodyPr/>
          <a:lstStyle/>
          <a:p>
            <a:pPr defTabSz="438912">
              <a:spcAft>
                <a:spcPts val="450"/>
              </a:spcAft>
              <a:buClrTx/>
            </a:pPr>
            <a:r>
              <a:rPr lang="en-US" sz="1500" b="1" kern="1200" dirty="0">
                <a:solidFill>
                  <a:prstClr val="black"/>
                </a:solidFill>
                <a:latin typeface="Arial Nova Light"/>
                <a:ea typeface="+mn-ea"/>
                <a:cs typeface="+mn-cs"/>
              </a:rPr>
              <a:t>Apartment Living</a:t>
            </a:r>
          </a:p>
          <a:p>
            <a:pPr defTabSz="438912">
              <a:spcAft>
                <a:spcPts val="450"/>
              </a:spcAft>
              <a:buClrTx/>
            </a:pPr>
            <a:r>
              <a:rPr lang="en-US" sz="1500" b="1" kern="1200" dirty="0">
                <a:solidFill>
                  <a:prstClr val="black"/>
                </a:solidFill>
                <a:latin typeface="Arial Nova Light"/>
                <a:ea typeface="+mn-ea"/>
                <a:cs typeface="+mn-cs"/>
              </a:rPr>
              <a:t>Socialization</a:t>
            </a:r>
          </a:p>
          <a:p>
            <a:pPr defTabSz="438912">
              <a:spcAft>
                <a:spcPts val="450"/>
              </a:spcAft>
              <a:buClrTx/>
            </a:pPr>
            <a:r>
              <a:rPr lang="en-US" sz="1500" b="1" kern="1200" dirty="0">
                <a:solidFill>
                  <a:prstClr val="black"/>
                </a:solidFill>
                <a:latin typeface="Arial Nova Light"/>
                <a:ea typeface="+mn-ea"/>
                <a:cs typeface="+mn-cs"/>
              </a:rPr>
              <a:t>Education</a:t>
            </a:r>
          </a:p>
          <a:p>
            <a:pPr defTabSz="438912">
              <a:spcAft>
                <a:spcPts val="450"/>
              </a:spcAft>
              <a:buClrTx/>
            </a:pPr>
            <a:r>
              <a:rPr lang="en-US" sz="1500" b="1" kern="1200" dirty="0">
                <a:solidFill>
                  <a:prstClr val="black"/>
                </a:solidFill>
                <a:latin typeface="Arial Nova Light"/>
                <a:ea typeface="+mn-ea"/>
                <a:cs typeface="+mn-cs"/>
              </a:rPr>
              <a:t>Employment Development</a:t>
            </a:r>
          </a:p>
          <a:p>
            <a:pPr defTabSz="438912">
              <a:spcAft>
                <a:spcPts val="450"/>
              </a:spcAft>
              <a:buClrTx/>
            </a:pPr>
            <a:r>
              <a:rPr lang="en-US" sz="1500" b="1" kern="1200" dirty="0">
                <a:solidFill>
                  <a:prstClr val="black"/>
                </a:solidFill>
                <a:latin typeface="Arial Nova Light"/>
                <a:ea typeface="+mn-ea"/>
                <a:cs typeface="+mn-cs"/>
              </a:rPr>
              <a:t>Community Integration</a:t>
            </a:r>
          </a:p>
          <a:p>
            <a:pPr defTabSz="438912">
              <a:spcAft>
                <a:spcPts val="450"/>
              </a:spcAft>
              <a:buClrTx/>
            </a:pPr>
            <a:endParaRPr lang="en-US" sz="864" kern="1200" dirty="0">
              <a:solidFill>
                <a:prstClr val="black"/>
              </a:solidFill>
              <a:latin typeface="Arial Nova Light"/>
              <a:ea typeface="+mn-ea"/>
              <a:cs typeface="+mn-cs"/>
            </a:endParaRPr>
          </a:p>
          <a:p>
            <a:pPr defTabSz="685800">
              <a:spcAft>
                <a:spcPts val="450"/>
              </a:spcAft>
              <a:buClrTx/>
            </a:pPr>
            <a:endParaRPr lang="en-US" sz="1350" kern="1200" dirty="0">
              <a:solidFill>
                <a:prstClr val="black"/>
              </a:solidFill>
              <a:latin typeface="Arial Nova Light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FD9151A-78C5-17ED-EEA2-699A40E151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68192" y="1"/>
            <a:ext cx="2057290" cy="2533181"/>
          </a:xfrm>
          <a:prstGeom prst="rect">
            <a:avLst/>
          </a:prstGeom>
        </p:spPr>
      </p:pic>
      <p:pic>
        <p:nvPicPr>
          <p:cNvPr id="5" name="Picture 4" descr="A group of people sitting around a table&#10;&#10;Description automatically generated">
            <a:extLst>
              <a:ext uri="{FF2B5EF4-FFF2-40B4-BE49-F238E27FC236}">
                <a16:creationId xmlns:a16="http://schemas.microsoft.com/office/drawing/2014/main" id="{D8D35B2E-4D91-ADC9-29C1-7A73FF45465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325481" y="1"/>
            <a:ext cx="1818519" cy="253318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C7E2971-D2E7-A17F-EA76-AD05FE175CE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65967" y="2533181"/>
            <a:ext cx="2080795" cy="2622223"/>
          </a:xfrm>
          <a:prstGeom prst="rect">
            <a:avLst/>
          </a:prstGeom>
        </p:spPr>
      </p:pic>
      <p:pic>
        <p:nvPicPr>
          <p:cNvPr id="10" name="Picture 9" descr="A sign with a sign on it&#10;&#10;Description automatically generated with medium confidence">
            <a:extLst>
              <a:ext uri="{FF2B5EF4-FFF2-40B4-BE49-F238E27FC236}">
                <a16:creationId xmlns:a16="http://schemas.microsoft.com/office/drawing/2014/main" id="{207C618B-0BBA-4DEE-BA14-A4CAF9853208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5481" y="2533180"/>
            <a:ext cx="1820744" cy="2610320"/>
          </a:xfrm>
          <a:prstGeom prst="rect">
            <a:avLst/>
          </a:prstGeom>
        </p:spPr>
      </p:pic>
      <p:pic>
        <p:nvPicPr>
          <p:cNvPr id="11" name="Picture 10" descr="A person on a exercise machine&#10;&#10;Description automatically generated">
            <a:extLst>
              <a:ext uri="{FF2B5EF4-FFF2-40B4-BE49-F238E27FC236}">
                <a16:creationId xmlns:a16="http://schemas.microsoft.com/office/drawing/2014/main" id="{4C3186CD-90FB-C498-103E-38BC99A993E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5890" y="2526510"/>
            <a:ext cx="1692096" cy="2622223"/>
          </a:xfrm>
          <a:prstGeom prst="rect">
            <a:avLst/>
          </a:prstGeom>
        </p:spPr>
      </p:pic>
      <p:pic>
        <p:nvPicPr>
          <p:cNvPr id="31" name="Picture 30" descr="Two men standing next to each other&#10;&#10;Description automatically generated">
            <a:extLst>
              <a:ext uri="{FF2B5EF4-FFF2-40B4-BE49-F238E27FC236}">
                <a16:creationId xmlns:a16="http://schemas.microsoft.com/office/drawing/2014/main" id="{3051AA34-6B79-30B5-4598-F0582E48E953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533180"/>
            <a:ext cx="2278265" cy="262222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54E1829-3408-6227-C61A-999F62BBB97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265635" y="2526510"/>
            <a:ext cx="1692707" cy="2622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778864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Freeform: Shape 11">
            <a:extLst>
              <a:ext uri="{FF2B5EF4-FFF2-40B4-BE49-F238E27FC236}">
                <a16:creationId xmlns:a16="http://schemas.microsoft.com/office/drawing/2014/main" id="{7A08E557-10DB-421A-876E-1AE58F8E07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633528" y="2799420"/>
            <a:ext cx="2514145" cy="2344080"/>
          </a:xfrm>
          <a:custGeom>
            <a:avLst/>
            <a:gdLst>
              <a:gd name="connsiteX0" fmla="*/ 0 w 3352193"/>
              <a:gd name="connsiteY0" fmla="*/ 3125374 h 3125440"/>
              <a:gd name="connsiteX1" fmla="*/ 2579 w 3352193"/>
              <a:gd name="connsiteY1" fmla="*/ 3125440 h 3125440"/>
              <a:gd name="connsiteX2" fmla="*/ 0 w 3352193"/>
              <a:gd name="connsiteY2" fmla="*/ 3125440 h 3125440"/>
              <a:gd name="connsiteX3" fmla="*/ 3352193 w 3352193"/>
              <a:gd name="connsiteY3" fmla="*/ 0 h 3125440"/>
              <a:gd name="connsiteX4" fmla="*/ 3352193 w 3352193"/>
              <a:gd name="connsiteY4" fmla="*/ 3125440 h 3125440"/>
              <a:gd name="connsiteX5" fmla="*/ 2579 w 3352193"/>
              <a:gd name="connsiteY5" fmla="*/ 3125440 h 3125440"/>
              <a:gd name="connsiteX6" fmla="*/ 3348685 w 3352193"/>
              <a:gd name="connsiteY6" fmla="*/ 47035 h 3125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52193" h="3125440">
                <a:moveTo>
                  <a:pt x="0" y="3125374"/>
                </a:moveTo>
                <a:lnTo>
                  <a:pt x="2579" y="3125440"/>
                </a:lnTo>
                <a:lnTo>
                  <a:pt x="0" y="3125440"/>
                </a:lnTo>
                <a:close/>
                <a:moveTo>
                  <a:pt x="3352193" y="0"/>
                </a:moveTo>
                <a:lnTo>
                  <a:pt x="3352193" y="3125440"/>
                </a:lnTo>
                <a:lnTo>
                  <a:pt x="2579" y="3125440"/>
                </a:lnTo>
                <a:cubicBezTo>
                  <a:pt x="1744073" y="3125440"/>
                  <a:pt x="3176441" y="1776129"/>
                  <a:pt x="3348685" y="47035"/>
                </a:cubicBezTo>
                <a:close/>
              </a:path>
            </a:pathLst>
          </a:custGeom>
          <a:solidFill>
            <a:schemeClr val="accent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buClrTx/>
            </a:pPr>
            <a:endParaRPr lang="en-US" sz="1350" kern="1200">
              <a:solidFill>
                <a:srgbClr val="F4F2EC"/>
              </a:solidFill>
              <a:latin typeface="Arial Nova Light"/>
            </a:endParaRPr>
          </a:p>
        </p:txBody>
      </p:sp>
      <p:sp useBgFill="1">
        <p:nvSpPr>
          <p:cNvPr id="49" name="Rectangle 13">
            <a:extLst>
              <a:ext uri="{FF2B5EF4-FFF2-40B4-BE49-F238E27FC236}">
                <a16:creationId xmlns:a16="http://schemas.microsoft.com/office/drawing/2014/main" id="{ED2D0E93-2666-4683-AF99-5A07ABCF44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51435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endParaRPr lang="en-US" sz="1350" kern="1200">
              <a:solidFill>
                <a:srgbClr val="F4F2EC"/>
              </a:solidFill>
              <a:latin typeface="Arial Nova Light"/>
            </a:endParaRPr>
          </a:p>
        </p:txBody>
      </p:sp>
      <p:sp>
        <p:nvSpPr>
          <p:cNvPr id="50" name="Freeform: Shape 15">
            <a:extLst>
              <a:ext uri="{FF2B5EF4-FFF2-40B4-BE49-F238E27FC236}">
                <a16:creationId xmlns:a16="http://schemas.microsoft.com/office/drawing/2014/main" id="{86AB017B-1DE4-4083-A7AC-D42A852419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6714888" y="85031"/>
            <a:ext cx="2514145" cy="2344080"/>
          </a:xfrm>
          <a:custGeom>
            <a:avLst/>
            <a:gdLst>
              <a:gd name="connsiteX0" fmla="*/ 0 w 3352193"/>
              <a:gd name="connsiteY0" fmla="*/ 3125374 h 3125440"/>
              <a:gd name="connsiteX1" fmla="*/ 2579 w 3352193"/>
              <a:gd name="connsiteY1" fmla="*/ 3125440 h 3125440"/>
              <a:gd name="connsiteX2" fmla="*/ 0 w 3352193"/>
              <a:gd name="connsiteY2" fmla="*/ 3125440 h 3125440"/>
              <a:gd name="connsiteX3" fmla="*/ 3352193 w 3352193"/>
              <a:gd name="connsiteY3" fmla="*/ 0 h 3125440"/>
              <a:gd name="connsiteX4" fmla="*/ 3352193 w 3352193"/>
              <a:gd name="connsiteY4" fmla="*/ 3125440 h 3125440"/>
              <a:gd name="connsiteX5" fmla="*/ 2579 w 3352193"/>
              <a:gd name="connsiteY5" fmla="*/ 3125440 h 3125440"/>
              <a:gd name="connsiteX6" fmla="*/ 3348685 w 3352193"/>
              <a:gd name="connsiteY6" fmla="*/ 47035 h 3125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52193" h="3125440">
                <a:moveTo>
                  <a:pt x="0" y="3125374"/>
                </a:moveTo>
                <a:lnTo>
                  <a:pt x="2579" y="3125440"/>
                </a:lnTo>
                <a:lnTo>
                  <a:pt x="0" y="3125440"/>
                </a:lnTo>
                <a:close/>
                <a:moveTo>
                  <a:pt x="3352193" y="0"/>
                </a:moveTo>
                <a:lnTo>
                  <a:pt x="3352193" y="3125440"/>
                </a:lnTo>
                <a:lnTo>
                  <a:pt x="2579" y="3125440"/>
                </a:lnTo>
                <a:cubicBezTo>
                  <a:pt x="1744073" y="3125440"/>
                  <a:pt x="3176441" y="1776129"/>
                  <a:pt x="3348685" y="47035"/>
                </a:cubicBezTo>
                <a:close/>
              </a:path>
            </a:pathLst>
          </a:custGeom>
          <a:solidFill>
            <a:schemeClr val="accent2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buClrTx/>
            </a:pPr>
            <a:endParaRPr lang="en-US" sz="1350" kern="1200">
              <a:solidFill>
                <a:srgbClr val="F4F2EC"/>
              </a:solidFill>
              <a:latin typeface="Arial Nova Light"/>
            </a:endParaRPr>
          </a:p>
        </p:txBody>
      </p:sp>
      <p:sp>
        <p:nvSpPr>
          <p:cNvPr id="51" name="Freeform: Shape 17">
            <a:extLst>
              <a:ext uri="{FF2B5EF4-FFF2-40B4-BE49-F238E27FC236}">
                <a16:creationId xmlns:a16="http://schemas.microsoft.com/office/drawing/2014/main" id="{10494BB2-D29A-43CB-9DF3-0A27F0E99A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-85033" y="2714387"/>
            <a:ext cx="2514145" cy="2344080"/>
          </a:xfrm>
          <a:custGeom>
            <a:avLst/>
            <a:gdLst>
              <a:gd name="connsiteX0" fmla="*/ 0 w 3352193"/>
              <a:gd name="connsiteY0" fmla="*/ 3125374 h 3125440"/>
              <a:gd name="connsiteX1" fmla="*/ 2579 w 3352193"/>
              <a:gd name="connsiteY1" fmla="*/ 3125440 h 3125440"/>
              <a:gd name="connsiteX2" fmla="*/ 0 w 3352193"/>
              <a:gd name="connsiteY2" fmla="*/ 3125440 h 3125440"/>
              <a:gd name="connsiteX3" fmla="*/ 3352193 w 3352193"/>
              <a:gd name="connsiteY3" fmla="*/ 0 h 3125440"/>
              <a:gd name="connsiteX4" fmla="*/ 3352193 w 3352193"/>
              <a:gd name="connsiteY4" fmla="*/ 3125440 h 3125440"/>
              <a:gd name="connsiteX5" fmla="*/ 2579 w 3352193"/>
              <a:gd name="connsiteY5" fmla="*/ 3125440 h 3125440"/>
              <a:gd name="connsiteX6" fmla="*/ 3348685 w 3352193"/>
              <a:gd name="connsiteY6" fmla="*/ 47035 h 3125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52193" h="3125440">
                <a:moveTo>
                  <a:pt x="0" y="3125374"/>
                </a:moveTo>
                <a:lnTo>
                  <a:pt x="2579" y="3125440"/>
                </a:lnTo>
                <a:lnTo>
                  <a:pt x="0" y="3125440"/>
                </a:lnTo>
                <a:close/>
                <a:moveTo>
                  <a:pt x="3352193" y="0"/>
                </a:moveTo>
                <a:lnTo>
                  <a:pt x="3352193" y="3125440"/>
                </a:lnTo>
                <a:lnTo>
                  <a:pt x="2579" y="3125440"/>
                </a:lnTo>
                <a:cubicBezTo>
                  <a:pt x="1744073" y="3125440"/>
                  <a:pt x="3176441" y="1776129"/>
                  <a:pt x="3348685" y="47035"/>
                </a:cubicBezTo>
                <a:close/>
              </a:path>
            </a:pathLst>
          </a:custGeom>
          <a:solidFill>
            <a:schemeClr val="accent2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defTabSz="685800">
              <a:buClrTx/>
            </a:pPr>
            <a:endParaRPr lang="en-US" sz="1350" kern="1200">
              <a:solidFill>
                <a:srgbClr val="F4F2EC"/>
              </a:solidFill>
              <a:latin typeface="Arial Nova Light"/>
            </a:endParaRPr>
          </a:p>
        </p:txBody>
      </p:sp>
      <p:pic>
        <p:nvPicPr>
          <p:cNvPr id="6" name="Picture 5" descr="A brick house with a driveway&#10;&#10;Description automatically generated">
            <a:extLst>
              <a:ext uri="{FF2B5EF4-FFF2-40B4-BE49-F238E27FC236}">
                <a16:creationId xmlns:a16="http://schemas.microsoft.com/office/drawing/2014/main" id="{9788884E-6CA5-EAF8-328A-593BFCC5325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78" y="67206"/>
            <a:ext cx="3955694" cy="257175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2CE1174-2228-345A-1A8F-EC11249003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84891" y="57605"/>
            <a:ext cx="4929896" cy="257174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3454B6E-1600-CE92-AAA5-53AA2103199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178" y="2678049"/>
            <a:ext cx="3955694" cy="241675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91330BE-B2F5-A1A7-BEEB-D2FBC39608A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81219" y="2686956"/>
            <a:ext cx="4929896" cy="24565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686771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C047E6-4307-48AD-B310-0F613D1C81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300" b="1">
                <a:latin typeface="Calibri" panose="020F0502020204030204" pitchFamily="34" charset="0"/>
                <a:cs typeface="Calibri" panose="020F0502020204030204" pitchFamily="34" charset="0"/>
              </a:rPr>
              <a:t>Key Contributors/Investors Upda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BA1E71-EDBD-41A8-B195-5EDB875782E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03660" y="1064363"/>
            <a:ext cx="3868340" cy="3917289"/>
          </a:xfrm>
        </p:spPr>
        <p:txBody>
          <a:bodyPr>
            <a:normAutofit/>
          </a:bodyPr>
          <a:lstStyle/>
          <a:p>
            <a:r>
              <a:rPr lang="en-US" sz="1350" dirty="0">
                <a:latin typeface="Arial Nova Light" panose="020B0304020202020204" pitchFamily="34" charset="0"/>
                <a:cs typeface="Arial" panose="020B0604020202020204" pitchFamily="34" charset="0"/>
              </a:rPr>
              <a:t>Sunshine Lady Foundation</a:t>
            </a:r>
          </a:p>
          <a:p>
            <a:r>
              <a:rPr lang="en-US" sz="1350" dirty="0">
                <a:latin typeface="Arial Nova Light" panose="020B0304020202020204" pitchFamily="34" charset="0"/>
                <a:cs typeface="Arial" panose="020B0604020202020204" pitchFamily="34" charset="0"/>
              </a:rPr>
              <a:t>Southern Wesleyan University</a:t>
            </a:r>
          </a:p>
          <a:p>
            <a:r>
              <a:rPr lang="en-US" sz="1350" dirty="0">
                <a:latin typeface="Arial Nova Light" panose="020B0304020202020204" pitchFamily="34" charset="0"/>
                <a:cs typeface="Arial" panose="020B0604020202020204" pitchFamily="34" charset="0"/>
              </a:rPr>
              <a:t>South Carolina Physicians Care Charity</a:t>
            </a:r>
          </a:p>
          <a:p>
            <a:r>
              <a:rPr lang="en-US" sz="1350" dirty="0">
                <a:latin typeface="Arial Nova Light" panose="020B0304020202020204" pitchFamily="34" charset="0"/>
                <a:cs typeface="Arial" panose="020B0604020202020204" pitchFamily="34" charset="0"/>
              </a:rPr>
              <a:t>Abney Foundation</a:t>
            </a:r>
          </a:p>
          <a:p>
            <a:r>
              <a:rPr lang="en-US" sz="1350" dirty="0">
                <a:latin typeface="Arial Nova Light" panose="020B0304020202020204" pitchFamily="34" charset="0"/>
                <a:cs typeface="Arial" panose="020B0604020202020204" pitchFamily="34" charset="0"/>
              </a:rPr>
              <a:t>Barbara Stone Foundation</a:t>
            </a:r>
          </a:p>
          <a:p>
            <a:r>
              <a:rPr lang="en-US" sz="1350" dirty="0">
                <a:latin typeface="Arial Nova Light" panose="020B0304020202020204" pitchFamily="34" charset="0"/>
                <a:cs typeface="Arial" panose="020B0604020202020204" pitchFamily="34" charset="0"/>
              </a:rPr>
              <a:t>Fellowship Greenville</a:t>
            </a:r>
          </a:p>
          <a:p>
            <a:pPr>
              <a:buClr>
                <a:srgbClr val="EA8168"/>
              </a:buClr>
            </a:pPr>
            <a:r>
              <a:rPr lang="en-US" sz="1350" dirty="0">
                <a:latin typeface="Arial Nova Light" panose="020B0304020202020204" pitchFamily="34" charset="0"/>
                <a:cs typeface="Arial" panose="020B0604020202020204" pitchFamily="34" charset="0"/>
              </a:rPr>
              <a:t>All In (Dabo’s) Foundation</a:t>
            </a:r>
          </a:p>
          <a:p>
            <a:pPr>
              <a:buClr>
                <a:srgbClr val="EA8168"/>
              </a:buClr>
            </a:pPr>
            <a:r>
              <a:rPr lang="en-US" sz="1350" dirty="0">
                <a:latin typeface="Arial Nova Light" panose="020B0304020202020204" pitchFamily="34" charset="0"/>
                <a:cs typeface="Arial" panose="020B0604020202020204" pitchFamily="34" charset="0"/>
              </a:rPr>
              <a:t>TD Bank</a:t>
            </a:r>
          </a:p>
          <a:p>
            <a:pPr>
              <a:buClr>
                <a:srgbClr val="EA8168"/>
              </a:buClr>
            </a:pPr>
            <a:r>
              <a:rPr lang="en-US" sz="1350" dirty="0">
                <a:latin typeface="Arial Nova Light" panose="020B0304020202020204" pitchFamily="34" charset="0"/>
                <a:cs typeface="Arial" panose="020B0604020202020204" pitchFamily="34" charset="0"/>
              </a:rPr>
              <a:t>Katherine Smith Family Foundation</a:t>
            </a:r>
          </a:p>
          <a:p>
            <a:pPr>
              <a:buClr>
                <a:srgbClr val="EA8168"/>
              </a:buClr>
            </a:pPr>
            <a:r>
              <a:rPr lang="en-US" sz="1350" dirty="0">
                <a:latin typeface="Arial Nova Light" panose="020B0304020202020204" pitchFamily="34" charset="0"/>
                <a:cs typeface="Arial" panose="020B0604020202020204" pitchFamily="34" charset="0"/>
              </a:rPr>
              <a:t>Board of Directors - MSH</a:t>
            </a:r>
          </a:p>
          <a:p>
            <a:pPr>
              <a:buClr>
                <a:srgbClr val="EA8168"/>
              </a:buClr>
            </a:pPr>
            <a:r>
              <a:rPr lang="en-US" sz="1350" dirty="0">
                <a:latin typeface="Arial Nova Light" panose="020B0304020202020204" pitchFamily="34" charset="0"/>
                <a:cs typeface="Arial" panose="020B0604020202020204" pitchFamily="34" charset="0"/>
              </a:rPr>
              <a:t>George Shinn</a:t>
            </a:r>
          </a:p>
          <a:p>
            <a:endParaRPr lang="en-US" sz="1200" dirty="0">
              <a:latin typeface="Arial Nova Light" panose="020B0304020202020204" pitchFamily="34" charset="0"/>
              <a:cs typeface="Arial" panose="020B0604020202020204" pitchFamily="34" charset="0"/>
            </a:endParaRPr>
          </a:p>
          <a:p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6C09F5F-2CC9-BE25-2C2D-BBB875DD75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65726" y="1370558"/>
            <a:ext cx="5174366" cy="349909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32499C3-952A-609D-14E7-B3F82BCC118B}"/>
              </a:ext>
            </a:extLst>
          </p:cNvPr>
          <p:cNvSpPr txBox="1"/>
          <p:nvPr/>
        </p:nvSpPr>
        <p:spPr>
          <a:xfrm>
            <a:off x="3865726" y="1064362"/>
            <a:ext cx="517436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buClrTx/>
            </a:pPr>
            <a:r>
              <a:rPr lang="en-US" sz="1350" kern="1200" dirty="0">
                <a:solidFill>
                  <a:prstClr val="black"/>
                </a:solidFill>
                <a:latin typeface="Arial Nova Light"/>
                <a:ea typeface="+mn-ea"/>
                <a:cs typeface="+mn-cs"/>
              </a:rPr>
              <a:t>https://www.gaaclassiccars.com/vehicles/39724/2012-ford-mustang</a:t>
            </a:r>
          </a:p>
        </p:txBody>
      </p:sp>
    </p:spTree>
    <p:extLst>
      <p:ext uri="{BB962C8B-B14F-4D97-AF65-F5344CB8AC3E}">
        <p14:creationId xmlns:p14="http://schemas.microsoft.com/office/powerpoint/2010/main" val="38903543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6B58459-F66B-C49F-7DEE-480E373895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41198" y="4468246"/>
            <a:ext cx="6103620" cy="422909"/>
          </a:xfrm>
        </p:spPr>
        <p:txBody>
          <a:bodyPr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TATT Chat</a:t>
            </a:r>
          </a:p>
        </p:txBody>
      </p:sp>
    </p:spTree>
    <p:extLst>
      <p:ext uri="{BB962C8B-B14F-4D97-AF65-F5344CB8AC3E}">
        <p14:creationId xmlns:p14="http://schemas.microsoft.com/office/powerpoint/2010/main" val="4768970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1">
            <a:extLst>
              <a:ext uri="{FF2B5EF4-FFF2-40B4-BE49-F238E27FC236}">
                <a16:creationId xmlns:a16="http://schemas.microsoft.com/office/drawing/2014/main" id="{4173DABB-53F6-4C72-80C3-76F1176BCB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trategic Focu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219DCD1-2C26-C64E-AD7B-AAB5F8E5B6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defPPr>
              <a:defRPr lang="en-US"/>
            </a:defPPr>
            <a:lvl1pPr marL="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7175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35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71525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870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85875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4305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00225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fld id="{6ED7B9B8-BEA5-5149-A074-6E2AF8E8A1DC}" type="slidenum">
              <a:rPr lang="en-US" noProof="0" smtClean="0"/>
              <a:pPr lvl="0"/>
              <a:t>3</a:t>
            </a:fld>
            <a:endParaRPr lang="en-US" noProof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F0A817A-648F-6344-8275-B8E90C0E2EEA}"/>
              </a:ext>
            </a:extLst>
          </p:cNvPr>
          <p:cNvSpPr txBox="1"/>
          <p:nvPr/>
        </p:nvSpPr>
        <p:spPr>
          <a:xfrm>
            <a:off x="-432148" y="3156559"/>
            <a:ext cx="138548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norite" pitchFamily="2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C162F8A-3BAF-D0AA-AA3B-723116F7D114}"/>
              </a:ext>
            </a:extLst>
          </p:cNvPr>
          <p:cNvGrpSpPr/>
          <p:nvPr/>
        </p:nvGrpSpPr>
        <p:grpSpPr>
          <a:xfrm>
            <a:off x="6116879" y="771262"/>
            <a:ext cx="2561994" cy="3996631"/>
            <a:chOff x="8155838" y="1028349"/>
            <a:chExt cx="3415992" cy="5328841"/>
          </a:xfrm>
        </p:grpSpPr>
        <p:sp>
          <p:nvSpPr>
            <p:cNvPr id="42" name="Rounded Rectangle 41">
              <a:extLst>
                <a:ext uri="{FF2B5EF4-FFF2-40B4-BE49-F238E27FC236}">
                  <a16:creationId xmlns:a16="http://schemas.microsoft.com/office/drawing/2014/main" id="{D2EED22E-1BDF-FB6D-9085-2177A782DFD8}"/>
                </a:ext>
              </a:extLst>
            </p:cNvPr>
            <p:cNvSpPr/>
            <p:nvPr/>
          </p:nvSpPr>
          <p:spPr>
            <a:xfrm>
              <a:off x="8155838" y="1028349"/>
              <a:ext cx="3415992" cy="5328841"/>
            </a:xfrm>
            <a:prstGeom prst="roundRect">
              <a:avLst>
                <a:gd name="adj" fmla="val 13475"/>
              </a:avLst>
            </a:prstGeom>
            <a:solidFill>
              <a:schemeClr val="bg1"/>
            </a:solidFill>
            <a:ln>
              <a:noFill/>
            </a:ln>
            <a:effectLst>
              <a:outerShdw blurRad="101600" dir="2700000" sx="95000" sy="95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norite" pitchFamily="2" charset="0"/>
                <a:cs typeface="Calibri" panose="020F0502020204030204" pitchFamily="34" charset="0"/>
              </a:endParaRPr>
            </a:p>
          </p:txBody>
        </p: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6B6792A8-9002-4120-0603-B6A9D607CF35}"/>
                </a:ext>
              </a:extLst>
            </p:cNvPr>
            <p:cNvGrpSpPr/>
            <p:nvPr/>
          </p:nvGrpSpPr>
          <p:grpSpPr>
            <a:xfrm>
              <a:off x="8296297" y="3881395"/>
              <a:ext cx="3134199" cy="1964146"/>
              <a:chOff x="699379" y="4470102"/>
              <a:chExt cx="3134199" cy="1964146"/>
            </a:xfrm>
          </p:grpSpPr>
          <p:sp>
            <p:nvSpPr>
              <p:cNvPr id="97" name="TextBox 96">
                <a:extLst>
                  <a:ext uri="{FF2B5EF4-FFF2-40B4-BE49-F238E27FC236}">
                    <a16:creationId xmlns:a16="http://schemas.microsoft.com/office/drawing/2014/main" id="{ACCC453C-3C85-0845-9FBC-5EB0B7D80AA5}"/>
                  </a:ext>
                </a:extLst>
              </p:cNvPr>
              <p:cNvSpPr txBox="1"/>
              <p:nvPr/>
            </p:nvSpPr>
            <p:spPr>
              <a:xfrm>
                <a:off x="946470" y="4470102"/>
                <a:ext cx="2640018" cy="369332"/>
              </a:xfrm>
              <a:prstGeom prst="rect">
                <a:avLst/>
              </a:prstGeom>
              <a:noFill/>
              <a:effectLst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13" b="1" i="0" u="none" strike="noStrike" kern="1200" spc="0" normalizeH="0" baseline="0" noProof="0">
                    <a:ln>
                      <a:noFill/>
                    </a:ln>
                    <a:solidFill>
                      <a:schemeClr val="accent2"/>
                    </a:solidFill>
                    <a:effectLst/>
                    <a:uLnTx/>
                    <a:uFillTx/>
                    <a:latin typeface="Tenorite" pitchFamily="2" charset="0"/>
                    <a:cs typeface="Calibri" panose="020F0502020204030204" pitchFamily="34" charset="0"/>
                  </a:rPr>
                  <a:t>Transform Public Transit</a:t>
                </a:r>
              </a:p>
            </p:txBody>
          </p:sp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BDC53D38-37CF-4C9D-998A-F2A42CB415D3}"/>
                  </a:ext>
                </a:extLst>
              </p:cNvPr>
              <p:cNvSpPr txBox="1"/>
              <p:nvPr/>
            </p:nvSpPr>
            <p:spPr>
              <a:xfrm>
                <a:off x="699379" y="4864588"/>
                <a:ext cx="3134199" cy="156966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70AD47"/>
                  </a:buClr>
                  <a:buSzTx/>
                  <a:buFontTx/>
                  <a:buNone/>
                  <a:tabLst/>
                  <a:defRPr/>
                </a:pPr>
                <a:r>
                  <a:rPr lang="en-US" sz="900" dirty="0">
                    <a:solidFill>
                      <a:prstClr val="black"/>
                    </a:solidFill>
                    <a:latin typeface="Tenorite" pitchFamily="2" charset="0"/>
                  </a:rPr>
                  <a:t>Leverage autonomous vehicle and smart city tech for improved service efficiency</a:t>
                </a:r>
              </a:p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70AD47"/>
                  </a:buClr>
                  <a:buSzTx/>
                  <a:buFontTx/>
                  <a:buNone/>
                  <a:tabLst/>
                  <a:defRPr/>
                </a:pPr>
                <a:endPara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enorite" pitchFamily="2" charset="0"/>
                </a:endParaRPr>
              </a:p>
              <a:p>
                <a:pPr algn="ctr">
                  <a:buClr>
                    <a:srgbClr val="70AD47"/>
                  </a:buClr>
                  <a:defRPr/>
                </a:pPr>
                <a:r>
                  <a:rPr lang="en-US" sz="900" b="0" dirty="0">
                    <a:solidFill>
                      <a:prstClr val="black"/>
                    </a:solidFill>
                    <a:latin typeface="Tenorite" pitchFamily="2" charset="0"/>
                  </a:rPr>
                  <a:t>Increase riders</a:t>
                </a:r>
                <a:r>
                  <a:rPr lang="en-US" sz="900" dirty="0">
                    <a:solidFill>
                      <a:prstClr val="black"/>
                    </a:solidFill>
                    <a:latin typeface="Tenorite" pitchFamily="2" charset="0"/>
                  </a:rPr>
                  <a:t>hip by improving passenger experience and extending reach</a:t>
                </a:r>
                <a:endPara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enorite" pitchFamily="2" charset="0"/>
                </a:endParaRPr>
              </a:p>
              <a:p>
                <a:pPr algn="ctr">
                  <a:buClr>
                    <a:srgbClr val="70AD47"/>
                  </a:buClr>
                  <a:defRPr/>
                </a:pPr>
                <a:endParaRPr lang="en-US" sz="900" dirty="0">
                  <a:solidFill>
                    <a:prstClr val="black"/>
                  </a:solidFill>
                  <a:latin typeface="Tenorite" pitchFamily="2" charset="0"/>
                </a:endParaRPr>
              </a:p>
              <a:p>
                <a:pPr algn="ctr">
                  <a:buClr>
                    <a:srgbClr val="70AD47"/>
                  </a:buClr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enorite" pitchFamily="2" charset="0"/>
                  </a:rPr>
                  <a:t>Supplement and extend existing modes with dynamic, data-driven services</a:t>
                </a:r>
              </a:p>
            </p:txBody>
          </p:sp>
        </p:grp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687B53E3-26DD-D29F-6807-FF1FA921CE8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 flipH="1">
              <a:off x="8413107" y="1175366"/>
              <a:ext cx="2941843" cy="2537693"/>
            </a:xfrm>
            <a:prstGeom prst="rect">
              <a:avLst/>
            </a:prstGeom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7A59F515-C8F4-DFAE-9B2B-F7C1AB19E24A}"/>
              </a:ext>
            </a:extLst>
          </p:cNvPr>
          <p:cNvGrpSpPr/>
          <p:nvPr/>
        </p:nvGrpSpPr>
        <p:grpSpPr>
          <a:xfrm>
            <a:off x="483521" y="771262"/>
            <a:ext cx="2561995" cy="3996631"/>
            <a:chOff x="644694" y="1028349"/>
            <a:chExt cx="3415993" cy="5328841"/>
          </a:xfrm>
        </p:grpSpPr>
        <p:sp>
          <p:nvSpPr>
            <p:cNvPr id="31" name="Rounded Rectangle 30">
              <a:extLst>
                <a:ext uri="{FF2B5EF4-FFF2-40B4-BE49-F238E27FC236}">
                  <a16:creationId xmlns:a16="http://schemas.microsoft.com/office/drawing/2014/main" id="{024D8CFF-A1DE-0586-5345-CDFB0774CF40}"/>
                </a:ext>
              </a:extLst>
            </p:cNvPr>
            <p:cNvSpPr/>
            <p:nvPr/>
          </p:nvSpPr>
          <p:spPr>
            <a:xfrm>
              <a:off x="644694" y="1028349"/>
              <a:ext cx="3415992" cy="5328841"/>
            </a:xfrm>
            <a:prstGeom prst="roundRect">
              <a:avLst>
                <a:gd name="adj" fmla="val 13475"/>
              </a:avLst>
            </a:prstGeom>
            <a:solidFill>
              <a:schemeClr val="bg1"/>
            </a:solidFill>
            <a:ln>
              <a:noFill/>
            </a:ln>
            <a:effectLst>
              <a:outerShdw blurRad="101600" dir="2700000" sx="95000" sy="95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norite" pitchFamily="2" charset="0"/>
                <a:cs typeface="Calibri" panose="020F0502020204030204" pitchFamily="34" charset="0"/>
              </a:endParaRP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AC8442F7-CA3A-AD44-F062-B11687ADC730}"/>
                </a:ext>
              </a:extLst>
            </p:cNvPr>
            <p:cNvGrpSpPr/>
            <p:nvPr/>
          </p:nvGrpSpPr>
          <p:grpSpPr>
            <a:xfrm>
              <a:off x="747624" y="3882421"/>
              <a:ext cx="3217672" cy="1963120"/>
              <a:chOff x="8295527" y="4471128"/>
              <a:chExt cx="3217672" cy="1963120"/>
            </a:xfrm>
          </p:grpSpPr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FE7F725C-FAF2-176D-3FE1-9C22CFFF1E0B}"/>
                  </a:ext>
                </a:extLst>
              </p:cNvPr>
              <p:cNvSpPr txBox="1"/>
              <p:nvPr/>
            </p:nvSpPr>
            <p:spPr>
              <a:xfrm>
                <a:off x="8746279" y="4471128"/>
                <a:ext cx="2237985" cy="369332"/>
              </a:xfrm>
              <a:prstGeom prst="rect">
                <a:avLst/>
              </a:prstGeom>
              <a:noFill/>
              <a:effectLst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13" b="1" i="0" u="none" strike="noStrike" kern="1200" spc="0" normalizeH="0" baseline="0" noProof="0">
                    <a:ln>
                      <a:noFill/>
                    </a:ln>
                    <a:solidFill>
                      <a:schemeClr val="accent2"/>
                    </a:solidFill>
                    <a:effectLst/>
                    <a:uLnTx/>
                    <a:uFillTx/>
                    <a:latin typeface="Tenorite" pitchFamily="2" charset="0"/>
                    <a:cs typeface="Calibri" panose="020F0502020204030204" pitchFamily="34" charset="0"/>
                  </a:rPr>
                  <a:t>Solve for Congestion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FE9F81F3-ACDC-0BFC-DD42-EC7413601C7F}"/>
                  </a:ext>
                </a:extLst>
              </p:cNvPr>
              <p:cNvSpPr txBox="1"/>
              <p:nvPr/>
            </p:nvSpPr>
            <p:spPr>
              <a:xfrm>
                <a:off x="8295527" y="4864588"/>
                <a:ext cx="3217672" cy="156966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70AD47"/>
                  </a:buClr>
                  <a:buSzTx/>
                  <a:buFontTx/>
                  <a:buNone/>
                  <a:tabLst/>
                  <a:defRPr/>
                </a:pPr>
                <a:r>
                  <a:rPr lang="en-US" sz="900" dirty="0">
                    <a:solidFill>
                      <a:prstClr val="black"/>
                    </a:solidFill>
                    <a:latin typeface="Tenorite" pitchFamily="2" charset="0"/>
                  </a:rPr>
                  <a:t>Pursue the root cause and force multiplier of major transportation issues – carbon emissions, noise pollution, road safety</a:t>
                </a:r>
              </a:p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70AD47"/>
                  </a:buClr>
                  <a:buSzTx/>
                  <a:buFontTx/>
                  <a:buNone/>
                  <a:tabLst/>
                  <a:defRPr/>
                </a:pPr>
                <a:endParaRPr lang="en-US" sz="900" dirty="0">
                  <a:solidFill>
                    <a:prstClr val="black"/>
                  </a:solidFill>
                  <a:latin typeface="Tenorite" pitchFamily="2" charset="0"/>
                </a:endParaRPr>
              </a:p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70AD47"/>
                  </a:buClr>
                  <a:buSzTx/>
                  <a:buFontTx/>
                  <a:buNone/>
                  <a:tabLst/>
                  <a:defRPr/>
                </a:pPr>
                <a:r>
                  <a:rPr lang="en-US" sz="900" dirty="0">
                    <a:solidFill>
                      <a:prstClr val="black"/>
                    </a:solidFill>
                    <a:latin typeface="Tenorite" pitchFamily="2" charset="0"/>
                  </a:rPr>
                  <a:t>Enables urban transformation: pedestrianization, green space, etc.</a:t>
                </a:r>
              </a:p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70AD47"/>
                  </a:buClr>
                  <a:buSzTx/>
                  <a:buFontTx/>
                  <a:buNone/>
                  <a:tabLst/>
                  <a:defRPr/>
                </a:pPr>
                <a:endParaRPr lang="en-US" sz="900" dirty="0">
                  <a:solidFill>
                    <a:prstClr val="black"/>
                  </a:solidFill>
                  <a:latin typeface="Tenorite" pitchFamily="2" charset="0"/>
                </a:endParaRPr>
              </a:p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70AD47"/>
                  </a:buClr>
                  <a:buSzTx/>
                  <a:buFontTx/>
                  <a:buNone/>
                  <a:tabLst/>
                  <a:defRPr/>
                </a:pPr>
                <a:r>
                  <a:rPr lang="en-US" sz="900" dirty="0">
                    <a:solidFill>
                      <a:prstClr val="black"/>
                    </a:solidFill>
                    <a:latin typeface="Tenorite" pitchFamily="2" charset="0"/>
                  </a:rPr>
                  <a:t>Reduce infrastructure needs and costs</a:t>
                </a:r>
              </a:p>
            </p:txBody>
          </p:sp>
        </p:grpSp>
        <p:pic>
          <p:nvPicPr>
            <p:cNvPr id="12" name="Picture 11" descr="A picture containing screenshot, scale model, LEGO&#10;&#10;Description automatically generated">
              <a:extLst>
                <a:ext uri="{FF2B5EF4-FFF2-40B4-BE49-F238E27FC236}">
                  <a16:creationId xmlns:a16="http://schemas.microsoft.com/office/drawing/2014/main" id="{169BFEF0-CBCA-2A03-0ADC-6275AE93589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495" t="23684" r="29759" b="12838"/>
            <a:stretch/>
          </p:blipFill>
          <p:spPr>
            <a:xfrm>
              <a:off x="644695" y="1028350"/>
              <a:ext cx="3415992" cy="2684710"/>
            </a:xfrm>
            <a:prstGeom prst="round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AC4C878F-E304-0209-D2E0-0AA04926F895}"/>
              </a:ext>
            </a:extLst>
          </p:cNvPr>
          <p:cNvGrpSpPr/>
          <p:nvPr/>
        </p:nvGrpSpPr>
        <p:grpSpPr>
          <a:xfrm>
            <a:off x="3165495" y="771262"/>
            <a:ext cx="2787827" cy="3996631"/>
            <a:chOff x="4220659" y="1028349"/>
            <a:chExt cx="3717103" cy="5328841"/>
          </a:xfrm>
        </p:grpSpPr>
        <p:sp>
          <p:nvSpPr>
            <p:cNvPr id="40" name="Rounded Rectangle 39">
              <a:extLst>
                <a:ext uri="{FF2B5EF4-FFF2-40B4-BE49-F238E27FC236}">
                  <a16:creationId xmlns:a16="http://schemas.microsoft.com/office/drawing/2014/main" id="{CA162054-7476-A7E6-FC4F-FA28077404D8}"/>
                </a:ext>
              </a:extLst>
            </p:cNvPr>
            <p:cNvSpPr/>
            <p:nvPr/>
          </p:nvSpPr>
          <p:spPr>
            <a:xfrm>
              <a:off x="4400266" y="1028349"/>
              <a:ext cx="3415992" cy="5328841"/>
            </a:xfrm>
            <a:prstGeom prst="roundRect">
              <a:avLst>
                <a:gd name="adj" fmla="val 13475"/>
              </a:avLst>
            </a:prstGeom>
            <a:solidFill>
              <a:schemeClr val="bg1"/>
            </a:solidFill>
            <a:ln>
              <a:noFill/>
            </a:ln>
            <a:effectLst>
              <a:outerShdw blurRad="101600" dir="2700000" sx="95000" sy="95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norite" pitchFamily="2" charset="0"/>
                <a:cs typeface="Calibri" panose="020F0502020204030204" pitchFamily="34" charset="0"/>
              </a:endParaRP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5489BE17-26AC-E0C7-714E-2C425D76D936}"/>
                </a:ext>
              </a:extLst>
            </p:cNvPr>
            <p:cNvGrpSpPr/>
            <p:nvPr/>
          </p:nvGrpSpPr>
          <p:grpSpPr>
            <a:xfrm>
              <a:off x="4220659" y="3887111"/>
              <a:ext cx="3717103" cy="1773765"/>
              <a:chOff x="4122485" y="4475818"/>
              <a:chExt cx="3717103" cy="1773765"/>
            </a:xfrm>
          </p:grpSpPr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488B84D6-861E-7121-9E72-7873FCF2DA0D}"/>
                  </a:ext>
                </a:extLst>
              </p:cNvPr>
              <p:cNvSpPr txBox="1"/>
              <p:nvPr/>
            </p:nvSpPr>
            <p:spPr>
              <a:xfrm>
                <a:off x="4122485" y="4475818"/>
                <a:ext cx="3717103" cy="369332"/>
              </a:xfrm>
              <a:prstGeom prst="rect">
                <a:avLst/>
              </a:prstGeom>
              <a:noFill/>
              <a:effectLst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1013" b="1" dirty="0">
                    <a:solidFill>
                      <a:schemeClr val="accent2"/>
                    </a:solidFill>
                    <a:latin typeface="Tenorite" pitchFamily="2" charset="0"/>
                    <a:cs typeface="Calibri" panose="020F0502020204030204" pitchFamily="34" charset="0"/>
                  </a:rPr>
                  <a:t>Enable </a:t>
                </a:r>
                <a:r>
                  <a:rPr lang="en-US" sz="1013" b="1">
                    <a:solidFill>
                      <a:schemeClr val="accent2"/>
                    </a:solidFill>
                    <a:latin typeface="Tenorite" pitchFamily="2" charset="0"/>
                    <a:cs typeface="Calibri" panose="020F0502020204030204" pitchFamily="34" charset="0"/>
                  </a:rPr>
                  <a:t>Mobility </a:t>
                </a:r>
                <a:endParaRPr kumimoji="0" lang="en-US" sz="1013" b="1" i="0" u="none" strike="noStrike" kern="1200" spc="0" normalizeH="0" baseline="0" noProof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Tenorite" pitchFamily="2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C3F3D587-6808-5F7D-B1C2-4424A3036939}"/>
                  </a:ext>
                </a:extLst>
              </p:cNvPr>
              <p:cNvSpPr txBox="1"/>
              <p:nvPr/>
            </p:nvSpPr>
            <p:spPr>
              <a:xfrm>
                <a:off x="4399064" y="4864588"/>
                <a:ext cx="3220528" cy="138499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70AD47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enorite" pitchFamily="2" charset="0"/>
                  </a:rPr>
                  <a:t>Connect underserved communities</a:t>
                </a:r>
                <a:endParaRPr lang="en-US" sz="900" dirty="0">
                  <a:solidFill>
                    <a:prstClr val="black"/>
                  </a:solidFill>
                  <a:latin typeface="Tenorite" pitchFamily="2" charset="0"/>
                </a:endParaRPr>
              </a:p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70AD47"/>
                  </a:buClr>
                  <a:buSzTx/>
                  <a:buFontTx/>
                  <a:buNone/>
                  <a:tabLst/>
                  <a:defRPr/>
                </a:pPr>
                <a:endParaRPr lang="en-US" sz="900" dirty="0">
                  <a:solidFill>
                    <a:prstClr val="black"/>
                  </a:solidFill>
                  <a:latin typeface="Tenorite" pitchFamily="2" charset="0"/>
                </a:endParaRPr>
              </a:p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70AD47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enorite" pitchFamily="2" charset="0"/>
                  </a:rPr>
                  <a:t>Deliver first and last-mile services to connect people, goods and services</a:t>
                </a:r>
              </a:p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70AD47"/>
                  </a:buClr>
                  <a:buSzTx/>
                  <a:buFontTx/>
                  <a:buNone/>
                  <a:tabLst/>
                  <a:defRPr/>
                </a:pPr>
                <a:endParaRPr lang="en-US" sz="900" dirty="0">
                  <a:solidFill>
                    <a:prstClr val="black"/>
                  </a:solidFill>
                  <a:latin typeface="Tenorite" pitchFamily="2" charset="0"/>
                </a:endParaRPr>
              </a:p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70AD47"/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Tenorite" pitchFamily="2" charset="0"/>
                  </a:rPr>
                  <a:t>Provide safe and accessible solutions designed around the passenger experience</a:t>
                </a:r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7276DA05-D720-00A6-A35D-2E3F9228DEA6}"/>
                </a:ext>
              </a:extLst>
            </p:cNvPr>
            <p:cNvGrpSpPr/>
            <p:nvPr/>
          </p:nvGrpSpPr>
          <p:grpSpPr>
            <a:xfrm>
              <a:off x="4723916" y="1197124"/>
              <a:ext cx="2767172" cy="2563635"/>
              <a:chOff x="6799399" y="486353"/>
              <a:chExt cx="6292774" cy="5829916"/>
            </a:xfrm>
          </p:grpSpPr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D288A56B-EED0-56AA-91A4-0366C71B84C7}"/>
                  </a:ext>
                </a:extLst>
              </p:cNvPr>
              <p:cNvGrpSpPr/>
              <p:nvPr/>
            </p:nvGrpSpPr>
            <p:grpSpPr>
              <a:xfrm>
                <a:off x="10175679" y="1308283"/>
                <a:ext cx="2916494" cy="5007986"/>
                <a:chOff x="10231839" y="996584"/>
                <a:chExt cx="2916494" cy="5007986"/>
              </a:xfrm>
            </p:grpSpPr>
            <p:pic>
              <p:nvPicPr>
                <p:cNvPr id="14" name="Picture 13">
                  <a:extLst>
                    <a:ext uri="{FF2B5EF4-FFF2-40B4-BE49-F238E27FC236}">
                      <a16:creationId xmlns:a16="http://schemas.microsoft.com/office/drawing/2014/main" id="{56DF9364-7B0D-8414-DB92-CCD89BDFF13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10387699" y="996584"/>
                  <a:ext cx="2604774" cy="5007986"/>
                </a:xfrm>
                <a:prstGeom prst="rect">
                  <a:avLst/>
                </a:prstGeom>
                <a:effectLst>
                  <a:outerShdw blurRad="101600" dir="2700000" sx="95000" sy="95000" algn="tl" rotWithShape="0">
                    <a:prstClr val="black">
                      <a:alpha val="50000"/>
                    </a:prstClr>
                  </a:outerShdw>
                </a:effectLst>
              </p:spPr>
            </p:pic>
            <p:sp>
              <p:nvSpPr>
                <p:cNvPr id="15" name="Rectangle 14">
                  <a:extLst>
                    <a:ext uri="{FF2B5EF4-FFF2-40B4-BE49-F238E27FC236}">
                      <a16:creationId xmlns:a16="http://schemas.microsoft.com/office/drawing/2014/main" id="{4DBE3B56-7B61-3EC6-AD7D-6BD9928A649D}"/>
                    </a:ext>
                  </a:extLst>
                </p:cNvPr>
                <p:cNvSpPr/>
                <p:nvPr/>
              </p:nvSpPr>
              <p:spPr>
                <a:xfrm>
                  <a:off x="10231839" y="4582712"/>
                  <a:ext cx="2916494" cy="1142763"/>
                </a:xfrm>
                <a:prstGeom prst="rect">
                  <a:avLst/>
                </a:prstGeom>
                <a:noFill/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205740" tIns="0" rIns="205740" bIns="0" rtlCol="0" anchor="ctr" anchorCtr="1"/>
                <a:lstStyle>
                  <a:defPPr>
                    <a:defRPr lang="en-US"/>
                  </a:defPPr>
                  <a:lvl1pPr marL="0" algn="l" defTabSz="685800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342900" algn="l" defTabSz="685800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685800" algn="l" defTabSz="685800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028700" algn="l" defTabSz="685800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371600" algn="l" defTabSz="685800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1714500" algn="l" defTabSz="685800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057400" algn="l" defTabSz="685800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2400300" algn="l" defTabSz="685800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2743200" algn="l" defTabSz="685800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525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Tenorite" pitchFamily="2" charset="0"/>
                      <a:ea typeface="+mn-ea"/>
                      <a:cs typeface="+mn-cs"/>
                    </a:rPr>
                    <a:t>&gt;25 million</a:t>
                  </a:r>
                  <a:br>
                    <a:rPr kumimoji="0" lang="en-US" sz="525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Tenorite" pitchFamily="2" charset="0"/>
                      <a:ea typeface="+mn-ea"/>
                      <a:cs typeface="+mn-cs"/>
                    </a:rPr>
                  </a:br>
                  <a:r>
                    <a:rPr kumimoji="0" lang="en-US" sz="525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Tenorite" pitchFamily="2" charset="0"/>
                      <a:ea typeface="+mn-ea"/>
                      <a:cs typeface="+mn-cs"/>
                    </a:rPr>
                    <a:t>disabled people in the US have difficulty traveling outside of home</a:t>
                  </a:r>
                </a:p>
              </p:txBody>
            </p:sp>
          </p:grp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813EE173-9199-255E-0C4C-2669B931E49E}"/>
                  </a:ext>
                </a:extLst>
              </p:cNvPr>
              <p:cNvGrpSpPr/>
              <p:nvPr/>
            </p:nvGrpSpPr>
            <p:grpSpPr>
              <a:xfrm>
                <a:off x="7282065" y="486353"/>
                <a:ext cx="4135505" cy="2090475"/>
                <a:chOff x="1391959" y="2000834"/>
                <a:chExt cx="5923145" cy="2994119"/>
              </a:xfrm>
            </p:grpSpPr>
            <p:pic>
              <p:nvPicPr>
                <p:cNvPr id="19" name="Picture 18">
                  <a:extLst>
                    <a:ext uri="{FF2B5EF4-FFF2-40B4-BE49-F238E27FC236}">
                      <a16:creationId xmlns:a16="http://schemas.microsoft.com/office/drawing/2014/main" id="{11580546-3472-626C-99AB-1C5C800325E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91959" y="2000834"/>
                  <a:ext cx="5923145" cy="2994119"/>
                </a:xfrm>
                <a:prstGeom prst="rect">
                  <a:avLst/>
                </a:prstGeom>
                <a:effectLst>
                  <a:outerShdw blurRad="101600" dir="2700000" sx="95000" sy="95000" algn="tl" rotWithShape="0">
                    <a:prstClr val="black">
                      <a:alpha val="50000"/>
                    </a:prstClr>
                  </a:outerShdw>
                </a:effectLst>
              </p:spPr>
            </p:pic>
            <p:sp>
              <p:nvSpPr>
                <p:cNvPr id="20" name="Rectangle 19">
                  <a:extLst>
                    <a:ext uri="{FF2B5EF4-FFF2-40B4-BE49-F238E27FC236}">
                      <a16:creationId xmlns:a16="http://schemas.microsoft.com/office/drawing/2014/main" id="{B0DA1665-F026-F808-0948-8F97E479DE1E}"/>
                    </a:ext>
                  </a:extLst>
                </p:cNvPr>
                <p:cNvSpPr/>
                <p:nvPr/>
              </p:nvSpPr>
              <p:spPr>
                <a:xfrm>
                  <a:off x="3164087" y="2508911"/>
                  <a:ext cx="3907546" cy="1867347"/>
                </a:xfrm>
                <a:prstGeom prst="rect">
                  <a:avLst/>
                </a:prstGeom>
                <a:noFill/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137160" rIns="0" bIns="34290" rtlCol="0" anchor="b" anchorCtr="1"/>
                <a:lstStyle>
                  <a:defPPr>
                    <a:defRPr lang="en-US"/>
                  </a:defPPr>
                  <a:lvl1pPr marL="0" algn="l" defTabSz="685800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342900" algn="l" defTabSz="685800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685800" algn="l" defTabSz="685800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028700" algn="l" defTabSz="685800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371600" algn="l" defTabSz="685800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1714500" algn="l" defTabSz="685800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057400" algn="l" defTabSz="685800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2400300" algn="l" defTabSz="685800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2743200" algn="l" defTabSz="685800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675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73535"/>
                      </a:solidFill>
                      <a:effectLst/>
                      <a:uLnTx/>
                      <a:uFillTx/>
                      <a:latin typeface="Tenorite" pitchFamily="2" charset="0"/>
                      <a:ea typeface="+mn-ea"/>
                      <a:cs typeface="+mn-cs"/>
                    </a:rPr>
                    <a:t>10% of US households</a:t>
                  </a:r>
                  <a:br>
                    <a:rPr kumimoji="0" lang="en-US" sz="675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73535"/>
                      </a:solidFill>
                      <a:effectLst/>
                      <a:uLnTx/>
                      <a:uFillTx/>
                      <a:latin typeface="Tenorite" pitchFamily="2" charset="0"/>
                      <a:ea typeface="+mn-ea"/>
                      <a:cs typeface="+mn-cs"/>
                    </a:rPr>
                  </a:br>
                  <a:r>
                    <a:rPr kumimoji="0" lang="en-US" sz="675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73535"/>
                      </a:solidFill>
                      <a:effectLst/>
                      <a:uLnTx/>
                      <a:uFillTx/>
                      <a:latin typeface="Tenorite" pitchFamily="2" charset="0"/>
                      <a:ea typeface="+mn-ea"/>
                      <a:cs typeface="+mn-cs"/>
                    </a:rPr>
                    <a:t>do not have personal transportation</a:t>
                  </a:r>
                </a:p>
              </p:txBody>
            </p:sp>
          </p:grpSp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id="{1B247EAB-6B9A-B991-FA26-DCB7E8824BEF}"/>
                  </a:ext>
                </a:extLst>
              </p:cNvPr>
              <p:cNvGrpSpPr/>
              <p:nvPr/>
            </p:nvGrpSpPr>
            <p:grpSpPr>
              <a:xfrm>
                <a:off x="6799399" y="2190182"/>
                <a:ext cx="3123700" cy="3308533"/>
                <a:chOff x="4959898" y="2698563"/>
                <a:chExt cx="3123700" cy="3308533"/>
              </a:xfrm>
            </p:grpSpPr>
            <p:pic>
              <p:nvPicPr>
                <p:cNvPr id="27" name="Picture 26">
                  <a:extLst>
                    <a:ext uri="{FF2B5EF4-FFF2-40B4-BE49-F238E27FC236}">
                      <a16:creationId xmlns:a16="http://schemas.microsoft.com/office/drawing/2014/main" id="{27E9BD6D-E2BF-E50B-D1CA-2FCBAF266F2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4959899" y="2698563"/>
                  <a:ext cx="3123699" cy="3308533"/>
                </a:xfrm>
                <a:prstGeom prst="rect">
                  <a:avLst/>
                </a:prstGeom>
                <a:effectLst>
                  <a:outerShdw blurRad="101600" dir="2700000" sx="94000" sy="94000" algn="tl" rotWithShape="0">
                    <a:prstClr val="black">
                      <a:alpha val="50000"/>
                    </a:prstClr>
                  </a:outerShdw>
                </a:effectLst>
              </p:spPr>
            </p:pic>
            <p:sp>
              <p:nvSpPr>
                <p:cNvPr id="28" name="Rectangle 27">
                  <a:extLst>
                    <a:ext uri="{FF2B5EF4-FFF2-40B4-BE49-F238E27FC236}">
                      <a16:creationId xmlns:a16="http://schemas.microsoft.com/office/drawing/2014/main" id="{52BBD352-7C51-88E1-9A7A-D2FBC2C363E1}"/>
                    </a:ext>
                  </a:extLst>
                </p:cNvPr>
                <p:cNvSpPr/>
                <p:nvPr/>
              </p:nvSpPr>
              <p:spPr>
                <a:xfrm>
                  <a:off x="4959898" y="4968769"/>
                  <a:ext cx="3123700" cy="965384"/>
                </a:xfrm>
                <a:prstGeom prst="rect">
                  <a:avLst/>
                </a:prstGeom>
                <a:noFill/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137160" rIns="0" bIns="34290" rtlCol="0" anchor="b" anchorCtr="1"/>
                <a:lstStyle>
                  <a:defPPr>
                    <a:defRPr lang="en-US"/>
                  </a:defPPr>
                  <a:lvl1pPr marL="0" algn="l" defTabSz="685800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342900" algn="l" defTabSz="685800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685800" algn="l" defTabSz="685800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028700" algn="l" defTabSz="685800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371600" algn="l" defTabSz="685800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1714500" algn="l" defTabSz="685800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057400" algn="l" defTabSz="685800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2400300" algn="l" defTabSz="685800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2743200" algn="l" defTabSz="685800" rtl="0" eaLnBrk="1" latinLnBrk="0" hangingPunct="1">
                    <a:defRPr sz="135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6858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675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Tenorite" pitchFamily="2" charset="0"/>
                      <a:ea typeface="+mn-ea"/>
                      <a:cs typeface="+mn-cs"/>
                    </a:rPr>
                    <a:t>45% of US households</a:t>
                  </a:r>
                  <a:br>
                    <a:rPr kumimoji="0" lang="en-US" sz="675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Tenorite" pitchFamily="2" charset="0"/>
                      <a:ea typeface="+mn-ea"/>
                      <a:cs typeface="+mn-cs"/>
                    </a:rPr>
                  </a:br>
                  <a:r>
                    <a:rPr kumimoji="0" lang="en-US" sz="675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Tenorite" pitchFamily="2" charset="0"/>
                      <a:ea typeface="+mn-ea"/>
                      <a:cs typeface="+mn-cs"/>
                    </a:rPr>
                    <a:t>do not have access to</a:t>
                  </a:r>
                  <a:br>
                    <a:rPr kumimoji="0" lang="en-US" sz="675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Tenorite" pitchFamily="2" charset="0"/>
                      <a:ea typeface="+mn-ea"/>
                      <a:cs typeface="+mn-cs"/>
                    </a:rPr>
                  </a:br>
                  <a:r>
                    <a:rPr kumimoji="0" lang="en-US" sz="675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Tenorite" pitchFamily="2" charset="0"/>
                      <a:ea typeface="+mn-ea"/>
                      <a:cs typeface="+mn-cs"/>
                    </a:rPr>
                    <a:t>public transportation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9554633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" name="Group 46">
            <a:extLst>
              <a:ext uri="{FF2B5EF4-FFF2-40B4-BE49-F238E27FC236}">
                <a16:creationId xmlns:a16="http://schemas.microsoft.com/office/drawing/2014/main" id="{F8D55820-167E-F66C-9CE0-42F618B52C3B}"/>
              </a:ext>
            </a:extLst>
          </p:cNvPr>
          <p:cNvGrpSpPr/>
          <p:nvPr/>
        </p:nvGrpSpPr>
        <p:grpSpPr>
          <a:xfrm>
            <a:off x="2647959" y="1852702"/>
            <a:ext cx="6204598" cy="3064589"/>
            <a:chOff x="3505199" y="2454377"/>
            <a:chExt cx="8272797" cy="4086119"/>
          </a:xfrm>
        </p:grpSpPr>
        <p:sp>
          <p:nvSpPr>
            <p:cNvPr id="48" name="Rounded Rectangle 47">
              <a:extLst>
                <a:ext uri="{FF2B5EF4-FFF2-40B4-BE49-F238E27FC236}">
                  <a16:creationId xmlns:a16="http://schemas.microsoft.com/office/drawing/2014/main" id="{F7384168-B1C9-836C-5754-B37CA66E046C}"/>
                </a:ext>
              </a:extLst>
            </p:cNvPr>
            <p:cNvSpPr/>
            <p:nvPr/>
          </p:nvSpPr>
          <p:spPr>
            <a:xfrm>
              <a:off x="3505199" y="2454377"/>
              <a:ext cx="8272797" cy="4086119"/>
            </a:xfrm>
            <a:prstGeom prst="roundRect">
              <a:avLst>
                <a:gd name="adj" fmla="val 8680"/>
              </a:avLst>
            </a:prstGeom>
            <a:solidFill>
              <a:schemeClr val="bg1"/>
            </a:solidFill>
            <a:ln>
              <a:noFill/>
            </a:ln>
            <a:effectLst>
              <a:outerShdw blurRad="101600" dir="2700000" sx="95000" sy="95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norite" pitchFamily="2" charset="0"/>
                <a:cs typeface="Calibri" panose="020F0502020204030204" pitchFamily="34" charset="0"/>
              </a:endParaRPr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24BC7058-D079-45C7-985F-73191D9A0D1F}"/>
                </a:ext>
              </a:extLst>
            </p:cNvPr>
            <p:cNvGrpSpPr/>
            <p:nvPr/>
          </p:nvGrpSpPr>
          <p:grpSpPr>
            <a:xfrm>
              <a:off x="3935010" y="2748493"/>
              <a:ext cx="7298291" cy="3458734"/>
              <a:chOff x="3935010" y="2748493"/>
              <a:chExt cx="7298291" cy="3458734"/>
            </a:xfrm>
          </p:grpSpPr>
          <p:pic>
            <p:nvPicPr>
              <p:cNvPr id="50" name="Picture 49">
                <a:extLst>
                  <a:ext uri="{FF2B5EF4-FFF2-40B4-BE49-F238E27FC236}">
                    <a16:creationId xmlns:a16="http://schemas.microsoft.com/office/drawing/2014/main" id="{E5C40C17-D9DB-7E70-0BF8-0B73033844B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935010" y="2860003"/>
                <a:ext cx="7298291" cy="3347224"/>
              </a:xfrm>
              <a:prstGeom prst="rect">
                <a:avLst/>
              </a:prstGeom>
            </p:spPr>
          </p:pic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5723903C-47B5-275E-D685-DF71C919C65A}"/>
                  </a:ext>
                </a:extLst>
              </p:cNvPr>
              <p:cNvSpPr txBox="1"/>
              <p:nvPr/>
            </p:nvSpPr>
            <p:spPr>
              <a:xfrm>
                <a:off x="3975351" y="2748493"/>
                <a:ext cx="2958849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200" b="1">
                    <a:solidFill>
                      <a:schemeClr val="accent2"/>
                    </a:solidFill>
                    <a:latin typeface="Tenorite" pitchFamily="2" charset="0"/>
                  </a:rPr>
                  <a:t>Fill the short-haul urban gap</a:t>
                </a:r>
              </a:p>
            </p:txBody>
          </p:sp>
        </p:grp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2C827540-0BE4-C2A7-E004-28DA2A86D02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4633" b="3459"/>
          <a:stretch/>
        </p:blipFill>
        <p:spPr>
          <a:xfrm>
            <a:off x="442361" y="2241316"/>
            <a:ext cx="709758" cy="64539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9F41D74-F733-F9D5-BAEC-B565E17B748D}"/>
              </a:ext>
            </a:extLst>
          </p:cNvPr>
          <p:cNvSpPr txBox="1"/>
          <p:nvPr/>
        </p:nvSpPr>
        <p:spPr>
          <a:xfrm>
            <a:off x="1605050" y="1210735"/>
            <a:ext cx="103046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50" b="1" dirty="0">
                <a:solidFill>
                  <a:schemeClr val="accent2"/>
                </a:solidFill>
                <a:latin typeface="Tenorite" pitchFamily="2" charset="0"/>
              </a:rPr>
              <a:t>Frequency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Tenorite" pitchFamily="2" charset="0"/>
              <a:ea typeface="+mn-ea"/>
              <a:cs typeface="+mn-cs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1BF3C0BF-B363-7C65-F43F-E076F0385EF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4771" y="1077400"/>
            <a:ext cx="709759" cy="498827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F3A01331-4FE0-4AD9-75DB-1981FB732C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Enabled by Autonomy: The Multi-Passenger Form Factor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6B95937E-1AFB-3738-D5E0-B805638005D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480013" y="1237579"/>
            <a:ext cx="163741" cy="160817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80DCE595-C18D-6554-24F8-0BBEA8ADEF2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161598" y="3263747"/>
            <a:ext cx="1272977" cy="1098096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F5D88E4B-2EF5-F1BD-45C3-35BD4EA74C7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475768" y="3749759"/>
            <a:ext cx="163741" cy="160817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CFF29808-C6C3-CC64-F260-AD79B849028D}"/>
              </a:ext>
            </a:extLst>
          </p:cNvPr>
          <p:cNvSpPr txBox="1"/>
          <p:nvPr/>
        </p:nvSpPr>
        <p:spPr>
          <a:xfrm>
            <a:off x="1597737" y="3722916"/>
            <a:ext cx="103046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50" b="1">
                <a:solidFill>
                  <a:schemeClr val="accent2"/>
                </a:solidFill>
                <a:latin typeface="Tenorite" pitchFamily="2" charset="0"/>
              </a:rPr>
              <a:t>Capacity</a:t>
            </a:r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Tenorite" pitchFamily="2" charset="0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B893807-CB55-453C-1C00-FF273AD3AC41}"/>
              </a:ext>
            </a:extLst>
          </p:cNvPr>
          <p:cNvSpPr txBox="1"/>
          <p:nvPr/>
        </p:nvSpPr>
        <p:spPr>
          <a:xfrm>
            <a:off x="2572431" y="735781"/>
            <a:ext cx="5551219" cy="115416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4313" indent="-214313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en-US" sz="1050">
                <a:solidFill>
                  <a:schemeClr val="tx2"/>
                </a:solidFill>
                <a:latin typeface="Tenorite" pitchFamily="2" charset="0"/>
              </a:rPr>
              <a:t>M</a:t>
            </a:r>
            <a:r>
              <a:rPr kumimoji="0" lang="en-US" sz="1050" b="0" i="0" u="none" strike="noStrike" kern="1200" cap="none" spc="0" normalizeH="0" baseline="0" noProof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norite" pitchFamily="2" charset="0"/>
              </a:rPr>
              <a:t>icromobility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norite" pitchFamily="2" charset="0"/>
              </a:rPr>
              <a:t> represents</a:t>
            </a:r>
            <a:r>
              <a:rPr lang="en-US" sz="1050">
                <a:solidFill>
                  <a:schemeClr val="tx2"/>
                </a:solidFill>
                <a:latin typeface="Tenorite" pitchFamily="2" charset="0"/>
              </a:rPr>
              <a:t> </a:t>
            </a:r>
            <a:r>
              <a:rPr lang="en-US" sz="1050" b="1">
                <a:solidFill>
                  <a:schemeClr val="tx2"/>
                </a:solidFill>
                <a:latin typeface="Tenorite" pitchFamily="2" charset="0"/>
              </a:rPr>
              <a:t>most underserved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norite" pitchFamily="2" charset="0"/>
              </a:rPr>
              <a:t> segment </a:t>
            </a:r>
            <a:r>
              <a:rPr lang="en-US" sz="1050">
                <a:solidFill>
                  <a:schemeClr val="tx2"/>
                </a:solidFill>
                <a:latin typeface="Tenorite" pitchFamily="2" charset="0"/>
              </a:rPr>
              <a:t>for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norite" pitchFamily="2" charset="0"/>
              </a:rPr>
              <a:t> U.S. transportation access </a:t>
            </a:r>
          </a:p>
          <a:p>
            <a:pPr marL="214313" indent="-214313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en-US" sz="1050" b="1">
                <a:solidFill>
                  <a:schemeClr val="tx2"/>
                </a:solidFill>
                <a:latin typeface="Tenorite" pitchFamily="2" charset="0"/>
              </a:rPr>
              <a:t>Multi-passenger form factor provides unique advantages</a:t>
            </a:r>
            <a:r>
              <a:rPr lang="en-US" sz="1050">
                <a:solidFill>
                  <a:schemeClr val="tx2"/>
                </a:solidFill>
                <a:latin typeface="Tenorite" pitchFamily="2" charset="0"/>
              </a:rPr>
              <a:t> for enabling mobility, reducing traffic, extending public transit access</a:t>
            </a:r>
            <a:endParaRPr kumimoji="0" lang="en-US" sz="105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Tenorite" pitchFamily="2" charset="0"/>
            </a:endParaRPr>
          </a:p>
          <a:p>
            <a:pPr marL="214313" indent="-214313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en-US" sz="105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norite" pitchFamily="2" charset="0"/>
                <a:cs typeface="Calibri"/>
              </a:rPr>
              <a:t>Autonomous vehicle platforms will first be adopted in </a:t>
            </a:r>
            <a:r>
              <a:rPr lang="en-US" sz="105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norite" pitchFamily="2" charset="0"/>
                <a:cs typeface="Calibri"/>
              </a:rPr>
              <a:t>more controlled ODDs </a:t>
            </a:r>
          </a:p>
          <a:p>
            <a:pPr marL="214313" indent="-214313">
              <a:lnSpc>
                <a:spcPct val="100000"/>
              </a:lnSpc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/>
            </a:pPr>
            <a:r>
              <a:rPr lang="en-US" sz="105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norite" pitchFamily="2" charset="0"/>
                <a:cs typeface="Calibri"/>
              </a:rPr>
              <a:t>Next-generation platforms </a:t>
            </a:r>
            <a:r>
              <a:rPr lang="en-US" sz="105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Tenorite" pitchFamily="2" charset="0"/>
                <a:cs typeface="Calibri"/>
              </a:rPr>
              <a:t>will transform mobility </a:t>
            </a:r>
          </a:p>
          <a:p>
            <a:pPr marL="128588" indent="-128588" algn="l"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en-US" sz="900">
              <a:solidFill>
                <a:schemeClr val="tx2"/>
              </a:solidFill>
              <a:latin typeface="Tenorite" pitchFamily="2" charset="0"/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D32DC745-C0F6-5668-8DC3-8C65E3560547}"/>
              </a:ext>
            </a:extLst>
          </p:cNvPr>
          <p:cNvGrpSpPr/>
          <p:nvPr/>
        </p:nvGrpSpPr>
        <p:grpSpPr>
          <a:xfrm>
            <a:off x="2682006" y="1849124"/>
            <a:ext cx="6170550" cy="3064589"/>
            <a:chOff x="3520351" y="2451389"/>
            <a:chExt cx="8227400" cy="4086119"/>
          </a:xfrm>
        </p:grpSpPr>
        <p:sp>
          <p:nvSpPr>
            <p:cNvPr id="46" name="Rounded Rectangle 45">
              <a:extLst>
                <a:ext uri="{FF2B5EF4-FFF2-40B4-BE49-F238E27FC236}">
                  <a16:creationId xmlns:a16="http://schemas.microsoft.com/office/drawing/2014/main" id="{8A4EFAD5-E690-38D3-B4F1-205B3C753837}"/>
                </a:ext>
              </a:extLst>
            </p:cNvPr>
            <p:cNvSpPr/>
            <p:nvPr/>
          </p:nvSpPr>
          <p:spPr>
            <a:xfrm>
              <a:off x="3520351" y="2451389"/>
              <a:ext cx="8227400" cy="4086119"/>
            </a:xfrm>
            <a:prstGeom prst="roundRect">
              <a:avLst>
                <a:gd name="adj" fmla="val 7881"/>
              </a:avLst>
            </a:prstGeom>
            <a:solidFill>
              <a:schemeClr val="bg1"/>
            </a:solidFill>
            <a:ln>
              <a:noFill/>
            </a:ln>
            <a:effectLst>
              <a:outerShdw blurRad="101600" dir="2700000" sx="95000" sy="95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norite" pitchFamily="2" charset="0"/>
                <a:cs typeface="Calibri" panose="020F0502020204030204" pitchFamily="34" charset="0"/>
              </a:endParaRPr>
            </a:p>
          </p:txBody>
        </p:sp>
        <p:pic>
          <p:nvPicPr>
            <p:cNvPr id="45" name="Picture 44">
              <a:extLst>
                <a:ext uri="{FF2B5EF4-FFF2-40B4-BE49-F238E27FC236}">
                  <a16:creationId xmlns:a16="http://schemas.microsoft.com/office/drawing/2014/main" id="{ADC394BE-3562-3137-8DD3-E3B24F07FBF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3975351" y="3560925"/>
              <a:ext cx="7772400" cy="1753866"/>
            </a:xfrm>
            <a:prstGeom prst="rect">
              <a:avLst/>
            </a:prstGeom>
          </p:spPr>
        </p:pic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73E2B1C5-B13F-0DD1-7CD6-952E1C220E9C}"/>
                </a:ext>
              </a:extLst>
            </p:cNvPr>
            <p:cNvSpPr txBox="1"/>
            <p:nvPr/>
          </p:nvSpPr>
          <p:spPr>
            <a:xfrm>
              <a:off x="3975351" y="2748493"/>
              <a:ext cx="340516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200" b="1">
                  <a:solidFill>
                    <a:schemeClr val="accent2"/>
                  </a:solidFill>
                  <a:latin typeface="Tenorite" pitchFamily="2" charset="0"/>
                </a:rPr>
                <a:t>Provide onramp to public transit</a:t>
              </a: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F783A853-7C57-304D-2AE7-71D54793C9FE}"/>
              </a:ext>
            </a:extLst>
          </p:cNvPr>
          <p:cNvGrpSpPr/>
          <p:nvPr/>
        </p:nvGrpSpPr>
        <p:grpSpPr>
          <a:xfrm>
            <a:off x="2655102" y="1838542"/>
            <a:ext cx="6170550" cy="3064589"/>
            <a:chOff x="3520351" y="2451389"/>
            <a:chExt cx="8227400" cy="4086119"/>
          </a:xfrm>
        </p:grpSpPr>
        <p:sp>
          <p:nvSpPr>
            <p:cNvPr id="54" name="Rounded Rectangle 53">
              <a:extLst>
                <a:ext uri="{FF2B5EF4-FFF2-40B4-BE49-F238E27FC236}">
                  <a16:creationId xmlns:a16="http://schemas.microsoft.com/office/drawing/2014/main" id="{3F68B7CF-2DFC-067F-C40E-BCEC99360510}"/>
                </a:ext>
              </a:extLst>
            </p:cNvPr>
            <p:cNvSpPr/>
            <p:nvPr/>
          </p:nvSpPr>
          <p:spPr>
            <a:xfrm>
              <a:off x="3520351" y="2451389"/>
              <a:ext cx="8227400" cy="4086119"/>
            </a:xfrm>
            <a:prstGeom prst="roundRect">
              <a:avLst>
                <a:gd name="adj" fmla="val 7881"/>
              </a:avLst>
            </a:prstGeom>
            <a:solidFill>
              <a:schemeClr val="bg1"/>
            </a:solidFill>
            <a:ln>
              <a:noFill/>
            </a:ln>
            <a:effectLst>
              <a:outerShdw blurRad="101600" dir="2700000" sx="95000" sy="95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norite" pitchFamily="2" charset="0"/>
                <a:cs typeface="Calibri" panose="020F0502020204030204" pitchFamily="34" charset="0"/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BFFDF38D-8D87-756E-CFDE-B14AE0A1FA6C}"/>
                </a:ext>
              </a:extLst>
            </p:cNvPr>
            <p:cNvSpPr txBox="1"/>
            <p:nvPr/>
          </p:nvSpPr>
          <p:spPr>
            <a:xfrm>
              <a:off x="3975351" y="2748493"/>
              <a:ext cx="340516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200" b="1">
                  <a:solidFill>
                    <a:schemeClr val="accent2"/>
                  </a:solidFill>
                  <a:latin typeface="Tenorite" pitchFamily="2" charset="0"/>
                </a:rPr>
                <a:t>Connect communities</a:t>
              </a:r>
            </a:p>
          </p:txBody>
        </p:sp>
        <p:pic>
          <p:nvPicPr>
            <p:cNvPr id="56" name="Picture 55">
              <a:extLst>
                <a:ext uri="{FF2B5EF4-FFF2-40B4-BE49-F238E27FC236}">
                  <a16:creationId xmlns:a16="http://schemas.microsoft.com/office/drawing/2014/main" id="{4FB2096C-231C-BFFC-361C-EC81EBF6D57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3810001" y="3387194"/>
              <a:ext cx="7772400" cy="2607844"/>
            </a:xfrm>
            <a:prstGeom prst="rect">
              <a:avLst/>
            </a:prstGeom>
          </p:spPr>
        </p:pic>
      </p:grpSp>
      <p:sp>
        <p:nvSpPr>
          <p:cNvPr id="58" name="TextBox 57">
            <a:extLst>
              <a:ext uri="{FF2B5EF4-FFF2-40B4-BE49-F238E27FC236}">
                <a16:creationId xmlns:a16="http://schemas.microsoft.com/office/drawing/2014/main" id="{2DCA6172-96D6-253E-977E-08303FCDBAB7}"/>
              </a:ext>
            </a:extLst>
          </p:cNvPr>
          <p:cNvSpPr txBox="1"/>
          <p:nvPr/>
        </p:nvSpPr>
        <p:spPr>
          <a:xfrm>
            <a:off x="1605138" y="2359044"/>
            <a:ext cx="103046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50" b="1">
                <a:solidFill>
                  <a:schemeClr val="accent2"/>
                </a:solidFill>
                <a:latin typeface="Tenorite" pitchFamily="2" charset="0"/>
              </a:rPr>
              <a:t>Frequency</a:t>
            </a:r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Tenorite" pitchFamily="2" charset="0"/>
              <a:ea typeface="+mn-ea"/>
              <a:cs typeface="+mn-cs"/>
            </a:endParaRPr>
          </a:p>
        </p:txBody>
      </p:sp>
      <p:pic>
        <p:nvPicPr>
          <p:cNvPr id="59" name="Graphic 58">
            <a:extLst>
              <a:ext uri="{FF2B5EF4-FFF2-40B4-BE49-F238E27FC236}">
                <a16:creationId xmlns:a16="http://schemas.microsoft.com/office/drawing/2014/main" id="{6A92C864-D9C5-4BF4-ED7B-38FB484B257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480101" y="2385888"/>
            <a:ext cx="163741" cy="160817"/>
          </a:xfrm>
          <a:prstGeom prst="rect">
            <a:avLst/>
          </a:prstGeom>
        </p:spPr>
      </p:pic>
      <p:sp>
        <p:nvSpPr>
          <p:cNvPr id="60" name="TextBox 59">
            <a:extLst>
              <a:ext uri="{FF2B5EF4-FFF2-40B4-BE49-F238E27FC236}">
                <a16:creationId xmlns:a16="http://schemas.microsoft.com/office/drawing/2014/main" id="{46E1E783-DF2F-368A-4A4E-D756A1EBBE41}"/>
              </a:ext>
            </a:extLst>
          </p:cNvPr>
          <p:cNvSpPr txBox="1"/>
          <p:nvPr/>
        </p:nvSpPr>
        <p:spPr>
          <a:xfrm>
            <a:off x="1597824" y="2564012"/>
            <a:ext cx="103046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50" b="1">
                <a:solidFill>
                  <a:schemeClr val="accent2"/>
                </a:solidFill>
                <a:latin typeface="Tenorite" pitchFamily="2" charset="0"/>
              </a:rPr>
              <a:t>Capacity</a:t>
            </a:r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Tenorite" pitchFamily="2" charset="0"/>
              <a:ea typeface="+mn-ea"/>
              <a:cs typeface="+mn-cs"/>
            </a:endParaRPr>
          </a:p>
        </p:txBody>
      </p:sp>
      <p:pic>
        <p:nvPicPr>
          <p:cNvPr id="61" name="Graphic 60">
            <a:extLst>
              <a:ext uri="{FF2B5EF4-FFF2-40B4-BE49-F238E27FC236}">
                <a16:creationId xmlns:a16="http://schemas.microsoft.com/office/drawing/2014/main" id="{72044580-23F0-B192-4BF0-FA8B2CA9C70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480101" y="2589995"/>
            <a:ext cx="163741" cy="160817"/>
          </a:xfrm>
          <a:prstGeom prst="rect">
            <a:avLst/>
          </a:prstGeom>
        </p:spPr>
      </p:pic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DF9CC2A9-2D5A-9090-6901-13508BA21D43}"/>
              </a:ext>
            </a:extLst>
          </p:cNvPr>
          <p:cNvCxnSpPr/>
          <p:nvPr/>
        </p:nvCxnSpPr>
        <p:spPr>
          <a:xfrm>
            <a:off x="2424793" y="808265"/>
            <a:ext cx="0" cy="4105448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426E9A0-7A16-7879-7B22-35906EC576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defPPr>
              <a:defRPr lang="en-US"/>
            </a:defPPr>
            <a:lvl1pPr marL="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7175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35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71525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870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85875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4305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00225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D62B0A7-7A19-8C4C-BF0B-AC6965798314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44485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385314E9-E8C2-338A-5571-62BD3BB0068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61" t="32890" r="44259" b="21785"/>
          <a:stretch/>
        </p:blipFill>
        <p:spPr>
          <a:xfrm>
            <a:off x="16317" y="1"/>
            <a:ext cx="9111366" cy="5143500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E90824C5-0472-E84A-82C4-2F370F02E9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Beyond Physics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F13FB7D-0E01-0D05-D3D5-9238707FFB81}"/>
              </a:ext>
            </a:extLst>
          </p:cNvPr>
          <p:cNvSpPr txBox="1"/>
          <p:nvPr/>
        </p:nvSpPr>
        <p:spPr>
          <a:xfrm>
            <a:off x="406739" y="840301"/>
            <a:ext cx="3168396" cy="357054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F6F"/>
              </a:buClr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4D2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dit waypoint, bypass obstacle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649FB7B2-149E-3EE5-D474-DB2FB5A350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23196" y="3375562"/>
            <a:ext cx="914370" cy="880815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7D02127A-2096-BEC3-9412-BE4DE928409B}"/>
              </a:ext>
            </a:extLst>
          </p:cNvPr>
          <p:cNvSpPr txBox="1"/>
          <p:nvPr/>
        </p:nvSpPr>
        <p:spPr>
          <a:xfrm>
            <a:off x="406739" y="840301"/>
            <a:ext cx="3168396" cy="357054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</p:spPr>
        <p:txBody>
          <a:bodyPr wrap="square" anchor="ctr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F6F"/>
              </a:buClr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4D2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ass via oncoming lane when safe to do so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A6F53B0-B453-2D38-F9B4-6A64408AF49D}"/>
              </a:ext>
            </a:extLst>
          </p:cNvPr>
          <p:cNvSpPr txBox="1"/>
          <p:nvPr/>
        </p:nvSpPr>
        <p:spPr>
          <a:xfrm>
            <a:off x="406739" y="840302"/>
            <a:ext cx="3168396" cy="357054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</p:spPr>
        <p:txBody>
          <a:bodyPr wrap="square" anchor="ctr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F6F"/>
              </a:buClr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4D2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lay an announcement, open doors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20C9404F-DBA6-0F5B-8377-468B10EAD5E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23196" y="2837049"/>
            <a:ext cx="1933575" cy="1419225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AFC67C4A-D1F8-14BF-6B67-7671C4C7A88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612566" y="2811436"/>
            <a:ext cx="1128252" cy="1128252"/>
          </a:xfrm>
          <a:prstGeom prst="rect">
            <a:avLst/>
          </a:prstGeom>
          <a:effectLst>
            <a:outerShdw blurRad="74035" dist="25400" dir="5400000" algn="tl" rotWithShape="0">
              <a:prstClr val="black">
                <a:alpha val="64748"/>
              </a:prstClr>
            </a:outerShdw>
          </a:effec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7FEE912-041C-DD39-F9F9-80717986682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083419" y="4422692"/>
            <a:ext cx="828879" cy="828879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405EFDEF-BD3F-5173-A2AE-CEABACFAD5A2}"/>
              </a:ext>
            </a:extLst>
          </p:cNvPr>
          <p:cNvSpPr txBox="1"/>
          <p:nvPr/>
        </p:nvSpPr>
        <p:spPr>
          <a:xfrm>
            <a:off x="406739" y="840301"/>
            <a:ext cx="3168396" cy="357054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</p:spPr>
        <p:txBody>
          <a:bodyPr wrap="square" anchor="ctr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BF6F"/>
              </a:buClr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4D2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ait until obstacle is cleared</a:t>
            </a:r>
          </a:p>
        </p:txBody>
      </p:sp>
      <p:pic>
        <p:nvPicPr>
          <p:cNvPr id="31" name="Picture 30" descr="A grey car with a black background&#10;&#10;Description automatically generated">
            <a:extLst>
              <a:ext uri="{FF2B5EF4-FFF2-40B4-BE49-F238E27FC236}">
                <a16:creationId xmlns:a16="http://schemas.microsoft.com/office/drawing/2014/main" id="{8787B65E-35B5-FFDD-B667-DCB40AF4243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6200" y="1226123"/>
            <a:ext cx="723626" cy="504728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73F17485-9FFF-942F-A960-4503F38C6BC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76106" y="3730083"/>
            <a:ext cx="834295" cy="834295"/>
          </a:xfrm>
          <a:prstGeom prst="rect">
            <a:avLst/>
          </a:prstGeom>
        </p:spPr>
      </p:pic>
      <p:pic>
        <p:nvPicPr>
          <p:cNvPr id="3" name="Picture 2" descr="A black car with a black background&#10;&#10;Description automatically generated">
            <a:extLst>
              <a:ext uri="{FF2B5EF4-FFF2-40B4-BE49-F238E27FC236}">
                <a16:creationId xmlns:a16="http://schemas.microsoft.com/office/drawing/2014/main" id="{B7EFBDE0-B85B-AD86-3D3D-A370B1B9EC5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689301" y="3329224"/>
            <a:ext cx="723900" cy="570071"/>
          </a:xfrm>
          <a:prstGeom prst="rect">
            <a:avLst/>
          </a:prstGeom>
        </p:spPr>
      </p:pic>
      <p:pic>
        <p:nvPicPr>
          <p:cNvPr id="6" name="Picture 5" descr="A white car with a black background&#10;&#10;Description automatically generated">
            <a:extLst>
              <a:ext uri="{FF2B5EF4-FFF2-40B4-BE49-F238E27FC236}">
                <a16:creationId xmlns:a16="http://schemas.microsoft.com/office/drawing/2014/main" id="{7DA8ED8F-FD04-3DBD-5B3D-8D2BCCACBF3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289930" y="2416337"/>
            <a:ext cx="723900" cy="566452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FCE07577-9029-5CBE-E895-EB758E47D62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724470" y="4072890"/>
            <a:ext cx="265773" cy="34394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A770126-CF60-3812-76EF-8B59FE0F6EE9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651998" y="2199564"/>
            <a:ext cx="1475686" cy="524491"/>
          </a:xfrm>
          <a:prstGeom prst="rect">
            <a:avLst/>
          </a:prstGeom>
        </p:spPr>
      </p:pic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C1CDFE8F-9433-7561-EE92-5A1C7492771D}"/>
              </a:ext>
            </a:extLst>
          </p:cNvPr>
          <p:cNvSpPr/>
          <p:nvPr/>
        </p:nvSpPr>
        <p:spPr>
          <a:xfrm>
            <a:off x="407120" y="1281610"/>
            <a:ext cx="3168015" cy="322326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4D2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s anyone waiting at or for the next stop?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89DAE116-405F-3666-57BF-2408E6EF632D}"/>
              </a:ext>
            </a:extLst>
          </p:cNvPr>
          <p:cNvSpPr/>
          <p:nvPr/>
        </p:nvSpPr>
        <p:spPr>
          <a:xfrm>
            <a:off x="407120" y="1281610"/>
            <a:ext cx="3168015" cy="322326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4D2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s the shuttle on time and at target headway?</a:t>
            </a: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9D18BDCC-E7D7-1E9B-E9F8-5D93EC165F8E}"/>
              </a:ext>
            </a:extLst>
          </p:cNvPr>
          <p:cNvSpPr/>
          <p:nvPr/>
        </p:nvSpPr>
        <p:spPr>
          <a:xfrm>
            <a:off x="407120" y="1281610"/>
            <a:ext cx="3168015" cy="322326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4D2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ow’s the weather?</a:t>
            </a:r>
          </a:p>
        </p:txBody>
      </p:sp>
      <p:pic>
        <p:nvPicPr>
          <p:cNvPr id="12" name="Picture 11" descr="A bus stop with a blue metal structure&#10;&#10;Description automatically generated">
            <a:extLst>
              <a:ext uri="{FF2B5EF4-FFF2-40B4-BE49-F238E27FC236}">
                <a16:creationId xmlns:a16="http://schemas.microsoft.com/office/drawing/2014/main" id="{21706117-9437-87BE-B397-92EBF30225AB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829639" y="2602617"/>
            <a:ext cx="795579" cy="712043"/>
          </a:xfrm>
          <a:prstGeom prst="rect">
            <a:avLst/>
          </a:prstGeom>
        </p:spPr>
      </p:pic>
      <p:pic>
        <p:nvPicPr>
          <p:cNvPr id="32" name="Picture 31" descr="A cartoon of a person&#10;&#10;Description automatically generated">
            <a:extLst>
              <a:ext uri="{FF2B5EF4-FFF2-40B4-BE49-F238E27FC236}">
                <a16:creationId xmlns:a16="http://schemas.microsoft.com/office/drawing/2014/main" id="{00DAA374-18DF-AC12-799B-DA7BD692B60B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6980914" y="3557087"/>
            <a:ext cx="132509" cy="360596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4F440AD1-3535-7828-BB7B-92A6025E70F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276106" y="3730082"/>
            <a:ext cx="834295" cy="834295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46D81ABD-CBFD-BE2A-D8A5-CEA300CB3CA4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286963" y="1249926"/>
            <a:ext cx="3507203" cy="384827"/>
          </a:xfrm>
          <a:prstGeom prst="rect">
            <a:avLst/>
          </a:prstGeom>
        </p:spPr>
      </p:pic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B82E7386-4A98-6336-62B3-5C87C71152FE}"/>
              </a:ext>
            </a:extLst>
          </p:cNvPr>
          <p:cNvSpPr/>
          <p:nvPr/>
        </p:nvSpPr>
        <p:spPr>
          <a:xfrm>
            <a:off x="407120" y="1281610"/>
            <a:ext cx="3168015" cy="322326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4D2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hat’s the truck driver doing?</a:t>
            </a:r>
          </a:p>
        </p:txBody>
      </p:sp>
    </p:spTree>
    <p:extLst>
      <p:ext uri="{BB962C8B-B14F-4D97-AF65-F5344CB8AC3E}">
        <p14:creationId xmlns:p14="http://schemas.microsoft.com/office/powerpoint/2010/main" val="11249963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91667E-6 7.40741E-7 L 0.13125 -0.13519 " pathEditMode="relative" rAng="0" ptsTypes="AA">
                                      <p:cBhvr>
                                        <p:cTn id="14" dur="3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6562" y="-675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0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00"/>
                            </p:stCondLst>
                            <p:childTnLst>
                              <p:par>
                                <p:cTn id="4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1000"/>
                            </p:stCondLst>
                            <p:childTnLst>
                              <p:par>
                                <p:cTn id="6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-5.55112E-17 L -0.12604 0.14583 " pathEditMode="relative" rAng="0" ptsTypes="AA">
                                      <p:cBhvr>
                                        <p:cTn id="64" dur="3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302" y="7292"/>
                                    </p:animMotion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1000"/>
                            </p:stCondLst>
                            <p:childTnLst>
                              <p:par>
                                <p:cTn id="9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>
                      <p:stCondLst>
                        <p:cond delay="indefinite"/>
                      </p:stCondLst>
                      <p:childTnLst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0" fill="hold">
                      <p:stCondLst>
                        <p:cond delay="indefinite"/>
                      </p:stCondLst>
                      <p:childTnLst>
                        <p:par>
                          <p:cTn id="101" fill="hold">
                            <p:stCondLst>
                              <p:cond delay="0"/>
                            </p:stCondLst>
                            <p:childTnLst>
                              <p:par>
                                <p:cTn id="10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4" fill="hold">
                      <p:stCondLst>
                        <p:cond delay="indefinite"/>
                      </p:stCondLst>
                      <p:childTnLst>
                        <p:par>
                          <p:cTn id="115" fill="hold">
                            <p:stCondLst>
                              <p:cond delay="0"/>
                            </p:stCondLst>
                            <p:childTnLst>
                              <p:par>
                                <p:cTn id="1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9" fill="hold">
                            <p:stCondLst>
                              <p:cond delay="500"/>
                            </p:stCondLst>
                            <p:childTnLst>
                              <p:par>
                                <p:cTn id="1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23" grpId="0" animBg="1"/>
      <p:bldP spid="26" grpId="0" animBg="1"/>
      <p:bldP spid="29" grpId="0" animBg="1"/>
      <p:bldP spid="22" grpId="0" animBg="1"/>
      <p:bldP spid="25" grpId="0" animBg="1"/>
      <p:bldP spid="24" grpId="0" animBg="1"/>
      <p:bldP spid="20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91AF8D61-D15E-486A-32DC-306A6A4DDC9D}"/>
              </a:ext>
            </a:extLst>
          </p:cNvPr>
          <p:cNvGrpSpPr/>
          <p:nvPr/>
        </p:nvGrpSpPr>
        <p:grpSpPr>
          <a:xfrm>
            <a:off x="262524" y="2578454"/>
            <a:ext cx="8618628" cy="2151550"/>
            <a:chOff x="350032" y="3437938"/>
            <a:chExt cx="11491504" cy="2868733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AF533619-31C3-DA08-532E-3FCCC1430CD8}"/>
                </a:ext>
              </a:extLst>
            </p:cNvPr>
            <p:cNvGrpSpPr/>
            <p:nvPr/>
          </p:nvGrpSpPr>
          <p:grpSpPr>
            <a:xfrm>
              <a:off x="350032" y="3437938"/>
              <a:ext cx="11491504" cy="2868733"/>
              <a:chOff x="350032" y="3437938"/>
              <a:chExt cx="11491504" cy="2868733"/>
            </a:xfrm>
          </p:grpSpPr>
          <p:sp>
            <p:nvSpPr>
              <p:cNvPr id="8" name="Rounded Rectangle 7">
                <a:extLst>
                  <a:ext uri="{FF2B5EF4-FFF2-40B4-BE49-F238E27FC236}">
                    <a16:creationId xmlns:a16="http://schemas.microsoft.com/office/drawing/2014/main" id="{C991F739-6019-22FA-D3F8-67953A6134AF}"/>
                  </a:ext>
                </a:extLst>
              </p:cNvPr>
              <p:cNvSpPr/>
              <p:nvPr/>
            </p:nvSpPr>
            <p:spPr>
              <a:xfrm>
                <a:off x="350032" y="3437938"/>
                <a:ext cx="11491504" cy="2868733"/>
              </a:xfrm>
              <a:prstGeom prst="round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101600" dir="2700000" sx="95000" sy="95000" algn="tl" rotWithShape="0">
                  <a:prstClr val="black">
                    <a:alpha val="2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10" name="Picture 9" descr="Jacksonville Transportation Authority logo">
                <a:hlinkClick r:id="rId2"/>
                <a:extLst>
                  <a:ext uri="{FF2B5EF4-FFF2-40B4-BE49-F238E27FC236}">
                    <a16:creationId xmlns:a16="http://schemas.microsoft.com/office/drawing/2014/main" id="{CF312000-B679-0400-6982-1255B6C1788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340865" y="4000050"/>
                <a:ext cx="1638591" cy="630901"/>
              </a:xfrm>
              <a:prstGeom prst="rect">
                <a:avLst/>
              </a:prstGeom>
            </p:spPr>
          </p:pic>
          <p:pic>
            <p:nvPicPr>
              <p:cNvPr id="11" name="Picture 10">
                <a:extLst>
                  <a:ext uri="{FF2B5EF4-FFF2-40B4-BE49-F238E27FC236}">
                    <a16:creationId xmlns:a16="http://schemas.microsoft.com/office/drawing/2014/main" id="{EBC08167-9965-ADE9-C921-7788A98B4BC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743920" y="5354688"/>
                <a:ext cx="1889179" cy="391659"/>
              </a:xfrm>
              <a:prstGeom prst="rect">
                <a:avLst/>
              </a:prstGeom>
            </p:spPr>
          </p:pic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1944EB2E-7513-C045-889E-30D22089D67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0852087" y="3922902"/>
                <a:ext cx="785693" cy="852477"/>
              </a:xfrm>
              <a:prstGeom prst="rect">
                <a:avLst/>
              </a:prstGeom>
            </p:spPr>
          </p:pic>
          <p:pic>
            <p:nvPicPr>
              <p:cNvPr id="13" name="Picture 12">
                <a:extLst>
                  <a:ext uri="{FF2B5EF4-FFF2-40B4-BE49-F238E27FC236}">
                    <a16:creationId xmlns:a16="http://schemas.microsoft.com/office/drawing/2014/main" id="{BC4A0A46-2E5C-6CCE-5F58-796F38114DC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-115"/>
              <a:stretch/>
            </p:blipFill>
            <p:spPr>
              <a:xfrm>
                <a:off x="3701555" y="5285608"/>
                <a:ext cx="1827616" cy="546959"/>
              </a:xfrm>
              <a:prstGeom prst="rect">
                <a:avLst/>
              </a:prstGeom>
            </p:spPr>
          </p:pic>
          <p:pic>
            <p:nvPicPr>
              <p:cNvPr id="14" name="Picture 13">
                <a:extLst>
                  <a:ext uri="{FF2B5EF4-FFF2-40B4-BE49-F238E27FC236}">
                    <a16:creationId xmlns:a16="http://schemas.microsoft.com/office/drawing/2014/main" id="{791CBD0A-837D-CB41-9821-AE3B04EB4A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750732" y="3748117"/>
                <a:ext cx="725499" cy="1036989"/>
              </a:xfrm>
              <a:prstGeom prst="rect">
                <a:avLst/>
              </a:prstGeom>
            </p:spPr>
          </p:pic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244E175C-C57E-DE5B-6385-18B5E1F01AF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screen">
                <a:extLst>
                  <a:ext uri="{BEBA8EAE-BF5A-486C-A8C5-ECC9F3942E4B}">
                    <a14:imgProps xmlns:a14="http://schemas.microsoft.com/office/drawing/2010/main">
                      <a14:imgLayer r:embed="rId9">
                        <a14:imgEffect>
                          <a14:backgroundRemoval t="9632" b="89802" l="2530" r="96280">
                            <a14:foregroundMark x1="31250" y1="44759" x2="28720" y2="32295"/>
                            <a14:foregroundMark x1="31101" y1="37394" x2="26042" y2="42493"/>
                            <a14:foregroundMark x1="25744" y1="45042" x2="12649" y2="44476"/>
                            <a14:foregroundMark x1="12649" y1="44476" x2="9077" y2="55807"/>
                            <a14:foregroundMark x1="11310" y1="45609" x2="23661" y2="43626"/>
                            <a14:foregroundMark x1="23363" y1="44759" x2="25000" y2="69405"/>
                            <a14:foregroundMark x1="25000" y1="69405" x2="18452" y2="44759"/>
                            <a14:foregroundMark x1="28571" y1="60907" x2="26339" y2="39093"/>
                            <a14:foregroundMark x1="26339" y1="39093" x2="27381" y2="54674"/>
                            <a14:foregroundMark x1="31101" y1="51558" x2="31845" y2="48159"/>
                            <a14:foregroundMark x1="32589" y1="56374" x2="34821" y2="63739"/>
                            <a14:foregroundMark x1="36607" y1="52125" x2="47173" y2="62890"/>
                            <a14:foregroundMark x1="47173" y1="62890" x2="40030" y2="37960"/>
                            <a14:foregroundMark x1="40030" y1="37960" x2="33929" y2="57507"/>
                            <a14:foregroundMark x1="33929" y1="57507" x2="36607" y2="65156"/>
                            <a14:foregroundMark x1="37649" y1="50708" x2="47470" y2="62606"/>
                            <a14:foregroundMark x1="47470" y1="62606" x2="55208" y2="45042"/>
                            <a14:foregroundMark x1="55208" y1="45042" x2="50149" y2="65156"/>
                            <a14:foregroundMark x1="50149" y1="65156" x2="61310" y2="45892"/>
                            <a14:foregroundMark x1="61310" y1="45892" x2="54762" y2="54958"/>
                            <a14:foregroundMark x1="51190" y1="50992" x2="59970" y2="33428"/>
                            <a14:foregroundMark x1="59970" y1="33428" x2="51339" y2="56091"/>
                            <a14:foregroundMark x1="51339" y1="56091" x2="54167" y2="39943"/>
                            <a14:foregroundMark x1="50298" y1="48159" x2="48661" y2="45892"/>
                            <a14:foregroundMark x1="57440" y1="60057" x2="55208" y2="62890"/>
                            <a14:foregroundMark x1="57887" y1="67139" x2="61161" y2="33994"/>
                            <a14:foregroundMark x1="61161" y1="33994" x2="56399" y2="61190"/>
                            <a14:foregroundMark x1="56399" y1="61190" x2="65476" y2="45609"/>
                            <a14:foregroundMark x1="65476" y1="45609" x2="67708" y2="38527"/>
                            <a14:foregroundMark x1="90030" y1="50992" x2="84673" y2="48442"/>
                            <a14:foregroundMark x1="88095" y1="51558" x2="93006" y2="58357"/>
                            <a14:foregroundMark x1="93899" y1="47592" x2="92560" y2="44476"/>
                            <a14:foregroundMark x1="95685" y1="41076" x2="93750" y2="63739"/>
                            <a14:foregroundMark x1="93750" y1="63739" x2="96280" y2="41643"/>
                            <a14:foregroundMark x1="96280" y1="41643" x2="94494" y2="45609"/>
                            <a14:foregroundMark x1="17708" y1="41360" x2="14435" y2="63456"/>
                            <a14:foregroundMark x1="14435" y1="63456" x2="15030" y2="60907"/>
                            <a14:foregroundMark x1="8185" y1="46459" x2="2530" y2="50142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950169" y="3922902"/>
                <a:ext cx="1476679" cy="775028"/>
              </a:xfrm>
              <a:prstGeom prst="rect">
                <a:avLst/>
              </a:prstGeom>
            </p:spPr>
          </p:pic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17D805FD-39F3-90F4-197D-17587227413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14650" y="3832746"/>
                <a:ext cx="849250" cy="849250"/>
              </a:xfrm>
              <a:prstGeom prst="rect">
                <a:avLst/>
              </a:prstGeom>
            </p:spPr>
          </p:pic>
          <p:pic>
            <p:nvPicPr>
              <p:cNvPr id="17" name="Picture 16">
                <a:extLst>
                  <a:ext uri="{FF2B5EF4-FFF2-40B4-BE49-F238E27FC236}">
                    <a16:creationId xmlns:a16="http://schemas.microsoft.com/office/drawing/2014/main" id="{AB8499CE-111F-BE8B-46DF-B8F451951B8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614913" y="4090785"/>
                <a:ext cx="1726684" cy="460381"/>
              </a:xfrm>
              <a:prstGeom prst="rect">
                <a:avLst/>
              </a:prstGeom>
            </p:spPr>
          </p:pic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id="{E17FD50F-BA16-2F6D-C3D9-617CCD0B998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614913" y="5204012"/>
                <a:ext cx="1932956" cy="664643"/>
              </a:xfrm>
              <a:prstGeom prst="rect">
                <a:avLst/>
              </a:prstGeom>
            </p:spPr>
          </p:pic>
          <p:pic>
            <p:nvPicPr>
              <p:cNvPr id="29" name="Picture 28">
                <a:extLst>
                  <a:ext uri="{FF2B5EF4-FFF2-40B4-BE49-F238E27FC236}">
                    <a16:creationId xmlns:a16="http://schemas.microsoft.com/office/drawing/2014/main" id="{11112D19-A88A-B2D9-2ED3-04A7AB4448B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83694" y="5169138"/>
                <a:ext cx="704556" cy="704556"/>
              </a:xfrm>
              <a:prstGeom prst="rect">
                <a:avLst/>
              </a:prstGeom>
            </p:spPr>
          </p:pic>
          <p:pic>
            <p:nvPicPr>
              <p:cNvPr id="30" name="Picture 29">
                <a:extLst>
                  <a:ext uri="{FF2B5EF4-FFF2-40B4-BE49-F238E27FC236}">
                    <a16:creationId xmlns:a16="http://schemas.microsoft.com/office/drawing/2014/main" id="{C1D1F215-68B7-3E0D-C793-A1C773B3A76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0938199" y="5088995"/>
                <a:ext cx="629891" cy="820621"/>
              </a:xfrm>
              <a:prstGeom prst="rect">
                <a:avLst/>
              </a:prstGeom>
            </p:spPr>
          </p:pic>
          <p:pic>
            <p:nvPicPr>
              <p:cNvPr id="31" name="Picture 30">
                <a:extLst>
                  <a:ext uri="{FF2B5EF4-FFF2-40B4-BE49-F238E27FC236}">
                    <a16:creationId xmlns:a16="http://schemas.microsoft.com/office/drawing/2014/main" id="{4A3E4A26-2F6C-0CFC-8B6A-94784C4D9AC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979456" y="5303077"/>
                <a:ext cx="1610778" cy="510079"/>
              </a:xfrm>
              <a:prstGeom prst="rect">
                <a:avLst/>
              </a:prstGeom>
            </p:spPr>
          </p:pic>
          <p:pic>
            <p:nvPicPr>
              <p:cNvPr id="33" name="Picture 2">
                <a:extLst>
                  <a:ext uri="{FF2B5EF4-FFF2-40B4-BE49-F238E27FC236}">
                    <a16:creationId xmlns:a16="http://schemas.microsoft.com/office/drawing/2014/main" id="{C37772A4-7423-E88F-5889-81140457C35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786387" y="5183185"/>
                <a:ext cx="910057" cy="76147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7" name="Picture 2" descr="Contact Us | Green Works Orlando">
              <a:extLst>
                <a:ext uri="{FF2B5EF4-FFF2-40B4-BE49-F238E27FC236}">
                  <a16:creationId xmlns:a16="http://schemas.microsoft.com/office/drawing/2014/main" id="{8A742B21-7EA7-738A-C61A-2EA6F99A796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92610" y="3769810"/>
              <a:ext cx="1310534" cy="9600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B3EAE25F-B80D-6947-884A-A1C8180718A5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cs typeface="Calibri"/>
              </a:rPr>
              <a:t>Industry Leadership</a:t>
            </a:r>
            <a:endParaRPr lang="en-US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B2D1655-C942-7AA0-C091-C75FCD008B4A}"/>
              </a:ext>
            </a:extLst>
          </p:cNvPr>
          <p:cNvGrpSpPr/>
          <p:nvPr/>
        </p:nvGrpSpPr>
        <p:grpSpPr>
          <a:xfrm>
            <a:off x="592126" y="895288"/>
            <a:ext cx="8654370" cy="1370183"/>
            <a:chOff x="789501" y="1193717"/>
            <a:chExt cx="11539160" cy="1826911"/>
          </a:xfrm>
        </p:grpSpPr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7DFF7C09-EF26-4F89-95E1-F76BDCA58FDE}"/>
                </a:ext>
              </a:extLst>
            </p:cNvPr>
            <p:cNvSpPr txBox="1"/>
            <p:nvPr/>
          </p:nvSpPr>
          <p:spPr>
            <a:xfrm>
              <a:off x="5734562" y="2219815"/>
              <a:ext cx="335066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Tenorite" pitchFamily="2" charset="0"/>
                  <a:cs typeface="Segoe UI" panose="020B0502040204020203" pitchFamily="34" charset="0"/>
                </a:rPr>
                <a:t>Passengers Carried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27FB5D4E-F159-4A01-B5CB-79F369560894}"/>
                </a:ext>
              </a:extLst>
            </p:cNvPr>
            <p:cNvSpPr txBox="1"/>
            <p:nvPr/>
          </p:nvSpPr>
          <p:spPr>
            <a:xfrm>
              <a:off x="5756478" y="1611027"/>
              <a:ext cx="2029658" cy="769441"/>
            </a:xfrm>
            <a:prstGeom prst="rect">
              <a:avLst/>
            </a:prstGeom>
            <a:noFill/>
          </p:spPr>
          <p:txBody>
            <a:bodyPr wrap="none" lIns="68580" tIns="34290" rIns="68580" bIns="34290" rtlCol="0" anchor="t">
              <a:spAutoFit/>
            </a:bodyPr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3300" b="1" spc="-53" dirty="0">
                  <a:solidFill>
                    <a:schemeClr val="accent2"/>
                  </a:solidFill>
                  <a:latin typeface="Tenorite" pitchFamily="2" charset="0"/>
                  <a:cs typeface="Segoe UI"/>
                </a:rPr>
                <a:t>154,000</a:t>
              </a:r>
              <a:endParaRPr kumimoji="0" lang="en-US" sz="3300" b="1" i="0" u="none" strike="noStrike" kern="1200" cap="none" spc="-53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Tenorite" pitchFamily="2" charset="0"/>
                <a:cs typeface="Segoe UI"/>
              </a:endParaRPr>
            </a:p>
          </p:txBody>
        </p:sp>
        <p:pic>
          <p:nvPicPr>
            <p:cNvPr id="98" name="Graphic 97">
              <a:extLst>
                <a:ext uri="{FF2B5EF4-FFF2-40B4-BE49-F238E27FC236}">
                  <a16:creationId xmlns:a16="http://schemas.microsoft.com/office/drawing/2014/main" id="{F421E755-9879-444F-B0D7-11B7739BB4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rcRect/>
            <a:stretch/>
          </p:blipFill>
          <p:spPr>
            <a:xfrm>
              <a:off x="4189452" y="1193717"/>
              <a:ext cx="1826911" cy="1826911"/>
            </a:xfrm>
            <a:prstGeom prst="rect">
              <a:avLst/>
            </a:prstGeom>
          </p:spPr>
        </p:pic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4FE9D541-2526-4524-AA18-E83D4ABFF0A6}"/>
                </a:ext>
              </a:extLst>
            </p:cNvPr>
            <p:cNvSpPr txBox="1"/>
            <p:nvPr/>
          </p:nvSpPr>
          <p:spPr>
            <a:xfrm>
              <a:off x="9086793" y="2219815"/>
              <a:ext cx="324186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Tenorite" pitchFamily="2" charset="0"/>
                  <a:cs typeface="Segoe UI" panose="020B0502040204020203" pitchFamily="34" charset="0"/>
                </a:rPr>
                <a:t>First Responders Trained 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77365086-72B0-4B65-8F10-DB761632E10D}"/>
                </a:ext>
              </a:extLst>
            </p:cNvPr>
            <p:cNvSpPr txBox="1"/>
            <p:nvPr/>
          </p:nvSpPr>
          <p:spPr>
            <a:xfrm>
              <a:off x="9102644" y="1611027"/>
              <a:ext cx="1042593" cy="769441"/>
            </a:xfrm>
            <a:prstGeom prst="rect">
              <a:avLst/>
            </a:prstGeom>
            <a:noFill/>
          </p:spPr>
          <p:txBody>
            <a:bodyPr wrap="none" lIns="68580" tIns="34290" rIns="68580" bIns="34290" rtlCol="0" anchor="t">
              <a:spAutoFit/>
            </a:bodyPr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3300" b="1" spc="-53" dirty="0">
                  <a:solidFill>
                    <a:schemeClr val="accent2"/>
                  </a:solidFill>
                  <a:latin typeface="Tenorite" pitchFamily="2" charset="0"/>
                  <a:cs typeface="Segoe UI"/>
                </a:rPr>
                <a:t>600</a:t>
              </a:r>
              <a:endParaRPr kumimoji="0" lang="en-US" sz="3300" b="1" i="0" u="none" strike="noStrike" kern="1200" cap="none" spc="-53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Tenorite" pitchFamily="2" charset="0"/>
                <a:cs typeface="Segoe UI"/>
              </a:endParaRPr>
            </a:p>
          </p:txBody>
        </p:sp>
        <p:pic>
          <p:nvPicPr>
            <p:cNvPr id="100" name="Graphic 99">
              <a:extLst>
                <a:ext uri="{FF2B5EF4-FFF2-40B4-BE49-F238E27FC236}">
                  <a16:creationId xmlns:a16="http://schemas.microsoft.com/office/drawing/2014/main" id="{DE04760F-EC67-4B44-B25F-5B3A510A5B9B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rcRect/>
            <a:stretch/>
          </p:blipFill>
          <p:spPr>
            <a:xfrm>
              <a:off x="8138555" y="1649427"/>
              <a:ext cx="956964" cy="956964"/>
            </a:xfrm>
            <a:prstGeom prst="rect">
              <a:avLst/>
            </a:prstGeom>
          </p:spPr>
        </p:pic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3B873C9C-A48A-9441-ADDC-EA141F26BBC7}"/>
                </a:ext>
              </a:extLst>
            </p:cNvPr>
            <p:cNvSpPr txBox="1"/>
            <p:nvPr/>
          </p:nvSpPr>
          <p:spPr>
            <a:xfrm>
              <a:off x="1975413" y="1611027"/>
              <a:ext cx="2034339" cy="769441"/>
            </a:xfrm>
            <a:prstGeom prst="rect">
              <a:avLst/>
            </a:prstGeom>
            <a:noFill/>
          </p:spPr>
          <p:txBody>
            <a:bodyPr wrap="none" lIns="68580" tIns="34290" rIns="68580" bIns="34290" rtlCol="0" anchor="t">
              <a:spAutoFit/>
            </a:bodyPr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300" b="1" i="0" u="none" strike="noStrike" kern="1200" cap="none" spc="-53" normalizeH="0" baseline="0" noProof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Tenorite" pitchFamily="2" charset="0"/>
                  <a:cs typeface="Segoe UI"/>
                </a:rPr>
                <a:t>179,300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27D7AAE8-D317-4445-BF6C-F9078CE5E701}"/>
                </a:ext>
              </a:extLst>
            </p:cNvPr>
            <p:cNvSpPr txBox="1"/>
            <p:nvPr/>
          </p:nvSpPr>
          <p:spPr>
            <a:xfrm>
              <a:off x="2005896" y="2219815"/>
              <a:ext cx="3444411" cy="338554"/>
            </a:xfrm>
            <a:prstGeom prst="rect">
              <a:avLst/>
            </a:prstGeom>
            <a:noFill/>
          </p:spPr>
          <p:txBody>
            <a:bodyPr wrap="square" lIns="68580" tIns="34290" rIns="68580" bIns="34290" rtlCol="0" anchor="t">
              <a:spAutoFit/>
            </a:bodyPr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Tenorite" pitchFamily="2" charset="0"/>
                  <a:cs typeface="Segoe UI"/>
                </a:rPr>
                <a:t>Live Road Hours</a:t>
              </a:r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A55FC2FD-349D-CC2F-B444-66AE713F55CC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89501" y="1605240"/>
              <a:ext cx="1134451" cy="10011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066956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3CD65EFB-A787-972B-D64A-817E26670AF3}"/>
              </a:ext>
            </a:extLst>
          </p:cNvPr>
          <p:cNvGrpSpPr/>
          <p:nvPr/>
        </p:nvGrpSpPr>
        <p:grpSpPr>
          <a:xfrm>
            <a:off x="5935840" y="940094"/>
            <a:ext cx="2792537" cy="3366453"/>
            <a:chOff x="7914453" y="1253459"/>
            <a:chExt cx="3723383" cy="4488604"/>
          </a:xfrm>
        </p:grpSpPr>
        <p:sp>
          <p:nvSpPr>
            <p:cNvPr id="6" name="Rounded Rectangle 5">
              <a:extLst>
                <a:ext uri="{FF2B5EF4-FFF2-40B4-BE49-F238E27FC236}">
                  <a16:creationId xmlns:a16="http://schemas.microsoft.com/office/drawing/2014/main" id="{95DCB323-0B25-2F6E-6F59-36661152A297}"/>
                </a:ext>
              </a:extLst>
            </p:cNvPr>
            <p:cNvSpPr/>
            <p:nvPr/>
          </p:nvSpPr>
          <p:spPr>
            <a:xfrm>
              <a:off x="7914453" y="1659746"/>
              <a:ext cx="3723383" cy="4082317"/>
            </a:xfrm>
            <a:prstGeom prst="roundRect">
              <a:avLst>
                <a:gd name="adj" fmla="val 9651"/>
              </a:avLst>
            </a:prstGeom>
            <a:solidFill>
              <a:schemeClr val="bg1"/>
            </a:solidFill>
            <a:ln>
              <a:noFill/>
            </a:ln>
            <a:effectLst>
              <a:outerShdw blurRad="101600" dir="2700000" sx="95000" sy="95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norite" pitchFamily="2" charset="0"/>
                <a:cs typeface="Calibri" panose="020F0502020204030204" pitchFamily="34" charset="0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2A88CC4-66D6-45B1-A2CC-B6E1C95570C3}"/>
                </a:ext>
              </a:extLst>
            </p:cNvPr>
            <p:cNvSpPr txBox="1"/>
            <p:nvPr/>
          </p:nvSpPr>
          <p:spPr>
            <a:xfrm>
              <a:off x="8429731" y="1854002"/>
              <a:ext cx="2672428" cy="677108"/>
            </a:xfrm>
            <a:prstGeom prst="rect">
              <a:avLst/>
            </a:prstGeom>
            <a:noFill/>
          </p:spPr>
          <p:txBody>
            <a:bodyPr wrap="square" rIns="411480">
              <a:noAutofit/>
            </a:bodyPr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6BD22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Tenorite" pitchFamily="2" charset="0"/>
                  <a:cs typeface="Arial" panose="020B0604020202020204" pitchFamily="34" charset="0"/>
                </a:rPr>
                <a:t>Planned Communities </a:t>
              </a:r>
            </a:p>
            <a:p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6BD22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Tenorite" pitchFamily="2" charset="0"/>
                  <a:cs typeface="Arial" panose="020B0604020202020204" pitchFamily="34" charset="0"/>
                </a:rPr>
                <a:t>Connect residential, retail and business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81A5C22A-5D56-4DF4-983F-9C2F5D20CF68}"/>
                </a:ext>
              </a:extLst>
            </p:cNvPr>
            <p:cNvSpPr txBox="1"/>
            <p:nvPr/>
          </p:nvSpPr>
          <p:spPr>
            <a:xfrm>
              <a:off x="8429731" y="2897367"/>
              <a:ext cx="2677670" cy="677108"/>
            </a:xfrm>
            <a:prstGeom prst="rect">
              <a:avLst/>
            </a:prstGeom>
            <a:noFill/>
          </p:spPr>
          <p:txBody>
            <a:bodyPr wrap="square" rIns="411480">
              <a:noAutofit/>
            </a:bodyPr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6BD22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Tenorite" pitchFamily="2" charset="0"/>
                  <a:cs typeface="Arial" panose="020B0604020202020204" pitchFamily="34" charset="0"/>
                </a:rPr>
                <a:t>Colleges &amp; Universities</a:t>
              </a:r>
            </a:p>
            <a:p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6BD22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Tenorite" pitchFamily="2" charset="0"/>
                  <a:cs typeface="Arial" panose="020B0604020202020204" pitchFamily="34" charset="0"/>
                </a:rPr>
                <a:t>Provide student, visitor and employee transportation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5A70C4CB-0FBE-4B32-BAE4-6B047210C372}"/>
                </a:ext>
              </a:extLst>
            </p:cNvPr>
            <p:cNvSpPr txBox="1"/>
            <p:nvPr/>
          </p:nvSpPr>
          <p:spPr>
            <a:xfrm>
              <a:off x="8334917" y="3914981"/>
              <a:ext cx="2772483" cy="677108"/>
            </a:xfrm>
            <a:prstGeom prst="rect">
              <a:avLst/>
            </a:prstGeom>
            <a:noFill/>
          </p:spPr>
          <p:txBody>
            <a:bodyPr wrap="square" rIns="411480">
              <a:noAutofit/>
            </a:bodyPr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6BD22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Tenorite" pitchFamily="2" charset="0"/>
                  <a:cs typeface="Arial" panose="020B0604020202020204" pitchFamily="34" charset="0"/>
                </a:rPr>
                <a:t>Healthcare &amp; Business </a:t>
              </a:r>
            </a:p>
            <a:p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6BD22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Tenorite" pitchFamily="2" charset="0"/>
                  <a:cs typeface="Arial" panose="020B0604020202020204" pitchFamily="34" charset="0"/>
                </a:rPr>
                <a:t>Service campus buildings and remote parking areas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1E759C7D-8FFD-42B8-BEAA-B0161EE8A3FE}"/>
                </a:ext>
              </a:extLst>
            </p:cNvPr>
            <p:cNvSpPr txBox="1"/>
            <p:nvPr/>
          </p:nvSpPr>
          <p:spPr>
            <a:xfrm>
              <a:off x="8514610" y="4926111"/>
              <a:ext cx="2587548" cy="677108"/>
            </a:xfrm>
            <a:prstGeom prst="rect">
              <a:avLst/>
            </a:prstGeom>
            <a:noFill/>
          </p:spPr>
          <p:txBody>
            <a:bodyPr wrap="square" rIns="411480">
              <a:noAutofit/>
            </a:bodyPr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6BD22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Tenorite" pitchFamily="2" charset="0"/>
                  <a:cs typeface="Arial" panose="020B0604020202020204" pitchFamily="34" charset="0"/>
                </a:rPr>
                <a:t>Senior Living</a:t>
              </a:r>
            </a:p>
            <a:p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6BD22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Tenorite" pitchFamily="2" charset="0"/>
                  <a:cs typeface="Arial" panose="020B0604020202020204" pitchFamily="34" charset="0"/>
                </a:rPr>
                <a:t>Address on and off property needs of residents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8C2F04C1-80AC-4C72-AF10-4CC6682DEEBF}"/>
                </a:ext>
              </a:extLst>
            </p:cNvPr>
            <p:cNvSpPr txBox="1"/>
            <p:nvPr/>
          </p:nvSpPr>
          <p:spPr>
            <a:xfrm>
              <a:off x="9683646" y="1253459"/>
              <a:ext cx="1800214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13" b="1" i="0" u="none" strike="noStrike" kern="1200" cap="small" spc="0" normalizeH="0" baseline="0" noProof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Tenorite" pitchFamily="2" charset="0"/>
                </a:rPr>
                <a:t>private sector</a:t>
              </a:r>
            </a:p>
          </p:txBody>
        </p:sp>
        <p:pic>
          <p:nvPicPr>
            <p:cNvPr id="58" name="Graphic 57">
              <a:extLst>
                <a:ext uri="{FF2B5EF4-FFF2-40B4-BE49-F238E27FC236}">
                  <a16:creationId xmlns:a16="http://schemas.microsoft.com/office/drawing/2014/main" id="{9E1798F2-6F5A-4D7F-9F34-3E789B33A18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10791740" y="1913954"/>
              <a:ext cx="436577" cy="512978"/>
            </a:xfrm>
            <a:prstGeom prst="rect">
              <a:avLst/>
            </a:prstGeom>
          </p:spPr>
        </p:pic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771F8FFE-CD5A-492E-ABD8-795A07DC52E1}"/>
                </a:ext>
              </a:extLst>
            </p:cNvPr>
            <p:cNvCxnSpPr>
              <a:cxnSpLocks/>
            </p:cNvCxnSpPr>
            <p:nvPr/>
          </p:nvCxnSpPr>
          <p:spPr>
            <a:xfrm>
              <a:off x="10665159" y="1934306"/>
              <a:ext cx="0" cy="516501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0" name="Graphic 59">
              <a:extLst>
                <a:ext uri="{FF2B5EF4-FFF2-40B4-BE49-F238E27FC236}">
                  <a16:creationId xmlns:a16="http://schemas.microsoft.com/office/drawing/2014/main" id="{CF79BD61-E02C-46B3-957F-D5CB5E7698B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10716056" y="2979432"/>
              <a:ext cx="603504" cy="512978"/>
            </a:xfrm>
            <a:prstGeom prst="rect">
              <a:avLst/>
            </a:prstGeom>
          </p:spPr>
        </p:pic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B79210D2-6AD5-4694-80B9-3167A81DD26F}"/>
                </a:ext>
              </a:extLst>
            </p:cNvPr>
            <p:cNvCxnSpPr>
              <a:cxnSpLocks/>
            </p:cNvCxnSpPr>
            <p:nvPr/>
          </p:nvCxnSpPr>
          <p:spPr>
            <a:xfrm>
              <a:off x="10665159" y="2977671"/>
              <a:ext cx="0" cy="516501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2" name="Graphic 61">
              <a:extLst>
                <a:ext uri="{FF2B5EF4-FFF2-40B4-BE49-F238E27FC236}">
                  <a16:creationId xmlns:a16="http://schemas.microsoft.com/office/drawing/2014/main" id="{5AFFC077-92CF-450B-8E2B-AEDB3B84AFB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747178" y="3951783"/>
              <a:ext cx="541259" cy="603504"/>
            </a:xfrm>
            <a:prstGeom prst="rect">
              <a:avLst/>
            </a:prstGeom>
          </p:spPr>
        </p:pic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77263AA-1D30-4141-8F89-72E021DA8695}"/>
                </a:ext>
              </a:extLst>
            </p:cNvPr>
            <p:cNvCxnSpPr>
              <a:cxnSpLocks/>
            </p:cNvCxnSpPr>
            <p:nvPr/>
          </p:nvCxnSpPr>
          <p:spPr>
            <a:xfrm>
              <a:off x="10665159" y="3995285"/>
              <a:ext cx="0" cy="516501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43AE33B6-7A31-493F-9F35-857F50629E47}"/>
                </a:ext>
              </a:extLst>
            </p:cNvPr>
            <p:cNvCxnSpPr>
              <a:cxnSpLocks/>
            </p:cNvCxnSpPr>
            <p:nvPr/>
          </p:nvCxnSpPr>
          <p:spPr>
            <a:xfrm>
              <a:off x="10665159" y="5027570"/>
              <a:ext cx="0" cy="516501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19A0DE34-B51E-BA8A-B401-B44415EE9BD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0811547" y="4908902"/>
              <a:ext cx="365406" cy="609010"/>
            </a:xfrm>
            <a:prstGeom prst="rect">
              <a:avLst/>
            </a:prstGeom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2156EAA5-0774-10FC-0DB4-385AF6504357}"/>
              </a:ext>
            </a:extLst>
          </p:cNvPr>
          <p:cNvGrpSpPr/>
          <p:nvPr/>
        </p:nvGrpSpPr>
        <p:grpSpPr>
          <a:xfrm>
            <a:off x="423397" y="940094"/>
            <a:ext cx="2792537" cy="3366453"/>
            <a:chOff x="564529" y="1253459"/>
            <a:chExt cx="3723383" cy="4488604"/>
          </a:xfrm>
        </p:grpSpPr>
        <p:sp>
          <p:nvSpPr>
            <p:cNvPr id="4" name="Rounded Rectangle 3">
              <a:extLst>
                <a:ext uri="{FF2B5EF4-FFF2-40B4-BE49-F238E27FC236}">
                  <a16:creationId xmlns:a16="http://schemas.microsoft.com/office/drawing/2014/main" id="{E172D79E-B465-34AE-0FF4-668CD8A433DD}"/>
                </a:ext>
              </a:extLst>
            </p:cNvPr>
            <p:cNvSpPr/>
            <p:nvPr/>
          </p:nvSpPr>
          <p:spPr>
            <a:xfrm>
              <a:off x="564529" y="1659746"/>
              <a:ext cx="3723383" cy="4082317"/>
            </a:xfrm>
            <a:prstGeom prst="roundRect">
              <a:avLst>
                <a:gd name="adj" fmla="val 9651"/>
              </a:avLst>
            </a:prstGeom>
            <a:solidFill>
              <a:schemeClr val="bg1"/>
            </a:solidFill>
            <a:ln>
              <a:noFill/>
            </a:ln>
            <a:effectLst>
              <a:outerShdw blurRad="101600" dir="2700000" sx="95000" sy="95000" algn="tl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norite" pitchFamily="2" charset="0"/>
                <a:cs typeface="Calibri" panose="020F0502020204030204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4C685C76-755A-4A45-9D88-5CC217398B77}"/>
                </a:ext>
              </a:extLst>
            </p:cNvPr>
            <p:cNvSpPr txBox="1"/>
            <p:nvPr/>
          </p:nvSpPr>
          <p:spPr>
            <a:xfrm>
              <a:off x="1511369" y="1854002"/>
              <a:ext cx="2374831" cy="677108"/>
            </a:xfrm>
            <a:prstGeom prst="rect">
              <a:avLst/>
            </a:prstGeom>
            <a:noFill/>
          </p:spPr>
          <p:txBody>
            <a:bodyPr wrap="square">
              <a:noAutofit/>
            </a:bodyPr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6BD22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Tenorite" pitchFamily="2" charset="0"/>
                  <a:cs typeface="Arial" panose="020B0604020202020204" pitchFamily="34" charset="0"/>
                </a:rPr>
                <a:t>Community Redevelopment</a:t>
              </a:r>
            </a:p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6BD22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Tenorite" pitchFamily="2" charset="0"/>
                  <a:cs typeface="Arial" panose="020B0604020202020204" pitchFamily="34" charset="0"/>
                </a:rPr>
                <a:t>Transform mobility accessibility</a:t>
              </a:r>
            </a:p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6BD22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Tenorite" pitchFamily="2" charset="0"/>
                  <a:cs typeface="Arial" panose="020B0604020202020204" pitchFamily="34" charset="0"/>
                </a:rPr>
                <a:t>and activate communities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6A8E1F48-1881-48D4-9423-50DF08E6FDA6}"/>
                </a:ext>
              </a:extLst>
            </p:cNvPr>
            <p:cNvSpPr txBox="1"/>
            <p:nvPr/>
          </p:nvSpPr>
          <p:spPr>
            <a:xfrm>
              <a:off x="1496129" y="2897367"/>
              <a:ext cx="2601736" cy="677108"/>
            </a:xfrm>
            <a:prstGeom prst="rect">
              <a:avLst/>
            </a:prstGeom>
            <a:noFill/>
          </p:spPr>
          <p:txBody>
            <a:bodyPr wrap="square" rIns="137160">
              <a:noAutofit/>
            </a:bodyPr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6BD22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Tenorite" pitchFamily="2" charset="0"/>
                  <a:cs typeface="Arial" panose="020B0604020202020204" pitchFamily="34" charset="0"/>
                </a:rPr>
                <a:t>Transit Extensions</a:t>
              </a:r>
            </a:p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6BD22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Tenorite" pitchFamily="2" charset="0"/>
                  <a:cs typeface="Arial" panose="020B0604020202020204" pitchFamily="34" charset="0"/>
                </a:rPr>
                <a:t>Extend first and last mile mobility routes to existing networks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5BA3FB74-B321-4964-8528-1CF2EE8EC9F9}"/>
                </a:ext>
              </a:extLst>
            </p:cNvPr>
            <p:cNvSpPr txBox="1"/>
            <p:nvPr/>
          </p:nvSpPr>
          <p:spPr>
            <a:xfrm>
              <a:off x="1511369" y="3914981"/>
              <a:ext cx="2380872" cy="677108"/>
            </a:xfrm>
            <a:prstGeom prst="rect">
              <a:avLst/>
            </a:prstGeom>
            <a:noFill/>
          </p:spPr>
          <p:txBody>
            <a:bodyPr wrap="square" rIns="137160">
              <a:noAutofit/>
            </a:bodyPr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6BD22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Tenorite" pitchFamily="2" charset="0"/>
                  <a:cs typeface="Arial" panose="020B0604020202020204" pitchFamily="34" charset="0"/>
                </a:rPr>
                <a:t>City Centers </a:t>
              </a:r>
            </a:p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6BD22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Tenorite" pitchFamily="2" charset="0"/>
                  <a:cs typeface="Arial" panose="020B0604020202020204" pitchFamily="34" charset="0"/>
                </a:rPr>
                <a:t>Reduce traffic congestion,  resolve parking constraints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61B14767-E19E-4FE5-BA5D-A458BFE4C092}"/>
                </a:ext>
              </a:extLst>
            </p:cNvPr>
            <p:cNvSpPr txBox="1"/>
            <p:nvPr/>
          </p:nvSpPr>
          <p:spPr>
            <a:xfrm>
              <a:off x="1511369" y="4853379"/>
              <a:ext cx="2443209" cy="677108"/>
            </a:xfrm>
            <a:prstGeom prst="rect">
              <a:avLst/>
            </a:prstGeom>
            <a:noFill/>
          </p:spPr>
          <p:txBody>
            <a:bodyPr wrap="square" rIns="68580">
              <a:noAutofit/>
            </a:bodyPr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6BD22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Tenorite" pitchFamily="2" charset="0"/>
                  <a:cs typeface="Arial" panose="020B0604020202020204" pitchFamily="34" charset="0"/>
                </a:rPr>
                <a:t>Airports and Event Centers </a:t>
              </a:r>
            </a:p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6BD22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Tenorite" pitchFamily="2" charset="0"/>
                  <a:cs typeface="Arial" panose="020B0604020202020204" pitchFamily="34" charset="0"/>
                </a:rPr>
                <a:t>Upgrade to eco-friendly platforms and enhance connectivity  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A65DB9FD-E88D-4C5C-9ABA-AB968AA2F527}"/>
                </a:ext>
              </a:extLst>
            </p:cNvPr>
            <p:cNvSpPr txBox="1"/>
            <p:nvPr/>
          </p:nvSpPr>
          <p:spPr>
            <a:xfrm>
              <a:off x="626006" y="1253459"/>
              <a:ext cx="1800214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13" b="1" i="0" u="none" strike="noStrike" kern="1200" cap="small" spc="0" normalizeH="0" baseline="0" noProof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Tenorite" pitchFamily="2" charset="0"/>
                </a:rPr>
                <a:t>public sector</a:t>
              </a:r>
            </a:p>
          </p:txBody>
        </p:sp>
        <p:pic>
          <p:nvPicPr>
            <p:cNvPr id="48" name="Graphic 47">
              <a:extLst>
                <a:ext uri="{FF2B5EF4-FFF2-40B4-BE49-F238E27FC236}">
                  <a16:creationId xmlns:a16="http://schemas.microsoft.com/office/drawing/2014/main" id="{A0F8B5A0-25E1-4585-97D4-D01D608B69D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34573" y="1948136"/>
              <a:ext cx="663108" cy="537117"/>
            </a:xfrm>
            <a:prstGeom prst="rect">
              <a:avLst/>
            </a:prstGeom>
          </p:spPr>
        </p:pic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61118B49-E57F-4E18-9E4B-3E5F6CCAA693}"/>
                </a:ext>
              </a:extLst>
            </p:cNvPr>
            <p:cNvCxnSpPr>
              <a:cxnSpLocks/>
            </p:cNvCxnSpPr>
            <p:nvPr/>
          </p:nvCxnSpPr>
          <p:spPr>
            <a:xfrm>
              <a:off x="1491547" y="1934306"/>
              <a:ext cx="0" cy="516501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0" name="Graphic 49">
              <a:extLst>
                <a:ext uri="{FF2B5EF4-FFF2-40B4-BE49-F238E27FC236}">
                  <a16:creationId xmlns:a16="http://schemas.microsoft.com/office/drawing/2014/main" id="{542A12C4-ABC1-4FDD-9A36-6F4869E0630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75788" y="2967362"/>
              <a:ext cx="603504" cy="537118"/>
            </a:xfrm>
            <a:prstGeom prst="rect">
              <a:avLst/>
            </a:prstGeom>
          </p:spPr>
        </p:pic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55241AB7-5755-43A4-A4FA-D7B4DAE6AB2C}"/>
                </a:ext>
              </a:extLst>
            </p:cNvPr>
            <p:cNvCxnSpPr>
              <a:cxnSpLocks/>
            </p:cNvCxnSpPr>
            <p:nvPr/>
          </p:nvCxnSpPr>
          <p:spPr>
            <a:xfrm>
              <a:off x="1484213" y="2977671"/>
              <a:ext cx="0" cy="516501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FC9FF602-48BD-42E3-B3ED-42A85BE3559A}"/>
                </a:ext>
              </a:extLst>
            </p:cNvPr>
            <p:cNvCxnSpPr>
              <a:cxnSpLocks/>
            </p:cNvCxnSpPr>
            <p:nvPr/>
          </p:nvCxnSpPr>
          <p:spPr>
            <a:xfrm>
              <a:off x="1502164" y="3995285"/>
              <a:ext cx="0" cy="516501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56" name="Graphic 55">
              <a:extLst>
                <a:ext uri="{FF2B5EF4-FFF2-40B4-BE49-F238E27FC236}">
                  <a16:creationId xmlns:a16="http://schemas.microsoft.com/office/drawing/2014/main" id="{3EEF9469-E7C0-4BFD-A781-848BF0B794A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86405" y="4961093"/>
              <a:ext cx="603504" cy="461680"/>
            </a:xfrm>
            <a:prstGeom prst="rect">
              <a:avLst/>
            </a:prstGeom>
          </p:spPr>
        </p:pic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191A82FF-77CB-418B-9003-72B0976C6E17}"/>
                </a:ext>
              </a:extLst>
            </p:cNvPr>
            <p:cNvCxnSpPr>
              <a:cxnSpLocks/>
            </p:cNvCxnSpPr>
            <p:nvPr/>
          </p:nvCxnSpPr>
          <p:spPr>
            <a:xfrm>
              <a:off x="1494830" y="4961093"/>
              <a:ext cx="0" cy="516501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E600FFDF-84D5-B36A-F36B-B767778FC84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82621" y="3840558"/>
              <a:ext cx="327136" cy="801245"/>
            </a:xfrm>
            <a:prstGeom prst="rect">
              <a:avLst/>
            </a:prstGeom>
          </p:spPr>
        </p:pic>
      </p:grpSp>
      <p:cxnSp>
        <p:nvCxnSpPr>
          <p:cNvPr id="78" name="Elbow Connector 10">
            <a:extLst>
              <a:ext uri="{FF2B5EF4-FFF2-40B4-BE49-F238E27FC236}">
                <a16:creationId xmlns:a16="http://schemas.microsoft.com/office/drawing/2014/main" id="{BAE90DE1-0339-BA42-A40C-D777D78E6D9E}"/>
              </a:ext>
            </a:extLst>
          </p:cNvPr>
          <p:cNvCxnSpPr>
            <a:cxnSpLocks/>
          </p:cNvCxnSpPr>
          <p:nvPr/>
        </p:nvCxnSpPr>
        <p:spPr>
          <a:xfrm rot="10800000" flipV="1">
            <a:off x="5265575" y="1502827"/>
            <a:ext cx="1056724" cy="717637"/>
          </a:xfrm>
          <a:prstGeom prst="bentConnector3">
            <a:avLst>
              <a:gd name="adj1" fmla="val 50000"/>
            </a:avLst>
          </a:prstGeom>
          <a:ln>
            <a:solidFill>
              <a:schemeClr val="accent1"/>
            </a:solidFill>
            <a:headEnd type="oval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Elbow Connector 10">
            <a:extLst>
              <a:ext uri="{FF2B5EF4-FFF2-40B4-BE49-F238E27FC236}">
                <a16:creationId xmlns:a16="http://schemas.microsoft.com/office/drawing/2014/main" id="{7C78A449-CCF7-104E-BE20-B143D8A8B57B}"/>
              </a:ext>
            </a:extLst>
          </p:cNvPr>
          <p:cNvCxnSpPr>
            <a:cxnSpLocks/>
          </p:cNvCxnSpPr>
          <p:nvPr/>
        </p:nvCxnSpPr>
        <p:spPr>
          <a:xfrm rot="10800000">
            <a:off x="5180772" y="3257550"/>
            <a:ext cx="1126026" cy="573968"/>
          </a:xfrm>
          <a:prstGeom prst="bentConnector3">
            <a:avLst>
              <a:gd name="adj1" fmla="val 50000"/>
            </a:avLst>
          </a:prstGeom>
          <a:ln>
            <a:solidFill>
              <a:schemeClr val="accent1"/>
            </a:solidFill>
            <a:headEnd type="oval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Elbow Connector 10">
            <a:extLst>
              <a:ext uri="{FF2B5EF4-FFF2-40B4-BE49-F238E27FC236}">
                <a16:creationId xmlns:a16="http://schemas.microsoft.com/office/drawing/2014/main" id="{E85631A5-3890-4C45-AC42-E6F27DABF879}"/>
              </a:ext>
            </a:extLst>
          </p:cNvPr>
          <p:cNvCxnSpPr>
            <a:cxnSpLocks/>
          </p:cNvCxnSpPr>
          <p:nvPr/>
        </p:nvCxnSpPr>
        <p:spPr>
          <a:xfrm flipH="1">
            <a:off x="5340038" y="2292142"/>
            <a:ext cx="982260" cy="350000"/>
          </a:xfrm>
          <a:prstGeom prst="bentConnector3">
            <a:avLst>
              <a:gd name="adj1" fmla="val 20738"/>
            </a:avLst>
          </a:prstGeom>
          <a:ln>
            <a:solidFill>
              <a:schemeClr val="accent1"/>
            </a:solidFill>
            <a:headEnd type="oval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Elbow Connector 10">
            <a:extLst>
              <a:ext uri="{FF2B5EF4-FFF2-40B4-BE49-F238E27FC236}">
                <a16:creationId xmlns:a16="http://schemas.microsoft.com/office/drawing/2014/main" id="{B3BB3F28-2941-C44D-80BF-75708E14ABF1}"/>
              </a:ext>
            </a:extLst>
          </p:cNvPr>
          <p:cNvCxnSpPr>
            <a:cxnSpLocks/>
          </p:cNvCxnSpPr>
          <p:nvPr/>
        </p:nvCxnSpPr>
        <p:spPr>
          <a:xfrm flipH="1" flipV="1">
            <a:off x="5350748" y="2775679"/>
            <a:ext cx="962326" cy="412757"/>
          </a:xfrm>
          <a:prstGeom prst="bentConnector3">
            <a:avLst>
              <a:gd name="adj1" fmla="val 20017"/>
            </a:avLst>
          </a:prstGeom>
          <a:ln>
            <a:solidFill>
              <a:schemeClr val="accent1"/>
            </a:solidFill>
            <a:headEnd type="oval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Elbow Connector 10">
            <a:extLst>
              <a:ext uri="{FF2B5EF4-FFF2-40B4-BE49-F238E27FC236}">
                <a16:creationId xmlns:a16="http://schemas.microsoft.com/office/drawing/2014/main" id="{E6DC16E1-BC5D-4F14-8C22-6274B638231A}"/>
              </a:ext>
            </a:extLst>
          </p:cNvPr>
          <p:cNvCxnSpPr>
            <a:cxnSpLocks/>
          </p:cNvCxnSpPr>
          <p:nvPr/>
        </p:nvCxnSpPr>
        <p:spPr>
          <a:xfrm>
            <a:off x="2914650" y="1504542"/>
            <a:ext cx="971551" cy="715922"/>
          </a:xfrm>
          <a:prstGeom prst="bentConnector3">
            <a:avLst>
              <a:gd name="adj1" fmla="val 45371"/>
            </a:avLst>
          </a:prstGeom>
          <a:ln>
            <a:solidFill>
              <a:schemeClr val="accent1"/>
            </a:solidFill>
            <a:headEnd type="oval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Elbow Connector 10">
            <a:extLst>
              <a:ext uri="{FF2B5EF4-FFF2-40B4-BE49-F238E27FC236}">
                <a16:creationId xmlns:a16="http://schemas.microsoft.com/office/drawing/2014/main" id="{92FBBB02-9668-47B4-BE8C-8C1A20C547E0}"/>
              </a:ext>
            </a:extLst>
          </p:cNvPr>
          <p:cNvCxnSpPr>
            <a:cxnSpLocks/>
          </p:cNvCxnSpPr>
          <p:nvPr/>
        </p:nvCxnSpPr>
        <p:spPr>
          <a:xfrm flipV="1">
            <a:off x="2910730" y="3257550"/>
            <a:ext cx="986180" cy="513128"/>
          </a:xfrm>
          <a:prstGeom prst="bentConnector3">
            <a:avLst>
              <a:gd name="adj1" fmla="val 50000"/>
            </a:avLst>
          </a:prstGeom>
          <a:ln>
            <a:solidFill>
              <a:schemeClr val="accent1"/>
            </a:solidFill>
            <a:headEnd type="oval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Elbow Connector 10">
            <a:extLst>
              <a:ext uri="{FF2B5EF4-FFF2-40B4-BE49-F238E27FC236}">
                <a16:creationId xmlns:a16="http://schemas.microsoft.com/office/drawing/2014/main" id="{53B2E37B-6886-4E61-AFAD-9CCC1E607173}"/>
              </a:ext>
            </a:extLst>
          </p:cNvPr>
          <p:cNvCxnSpPr>
            <a:cxnSpLocks/>
          </p:cNvCxnSpPr>
          <p:nvPr/>
        </p:nvCxnSpPr>
        <p:spPr>
          <a:xfrm>
            <a:off x="2914650" y="2293858"/>
            <a:ext cx="982260" cy="350000"/>
          </a:xfrm>
          <a:prstGeom prst="bentConnector3">
            <a:avLst>
              <a:gd name="adj1" fmla="val 20738"/>
            </a:avLst>
          </a:prstGeom>
          <a:ln>
            <a:solidFill>
              <a:schemeClr val="accent1"/>
            </a:solidFill>
            <a:headEnd type="oval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Elbow Connector 10">
            <a:extLst>
              <a:ext uri="{FF2B5EF4-FFF2-40B4-BE49-F238E27FC236}">
                <a16:creationId xmlns:a16="http://schemas.microsoft.com/office/drawing/2014/main" id="{351D44A2-4DF7-450D-B67F-AE8DAD690509}"/>
              </a:ext>
            </a:extLst>
          </p:cNvPr>
          <p:cNvCxnSpPr>
            <a:cxnSpLocks/>
            <a:stCxn id="20" idx="3"/>
          </p:cNvCxnSpPr>
          <p:nvPr/>
        </p:nvCxnSpPr>
        <p:spPr>
          <a:xfrm flipV="1">
            <a:off x="2919181" y="2777395"/>
            <a:ext cx="967019" cy="412757"/>
          </a:xfrm>
          <a:prstGeom prst="bentConnector3">
            <a:avLst>
              <a:gd name="adj1" fmla="val 20935"/>
            </a:avLst>
          </a:prstGeom>
          <a:ln>
            <a:solidFill>
              <a:schemeClr val="accent1"/>
            </a:solidFill>
            <a:headEnd type="oval" w="med" len="med"/>
            <a:tailEnd type="diamond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4">
            <a:extLst>
              <a:ext uri="{FF2B5EF4-FFF2-40B4-BE49-F238E27FC236}">
                <a16:creationId xmlns:a16="http://schemas.microsoft.com/office/drawing/2014/main" id="{E539F405-923B-B848-A740-7015EA29EA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Broad Range Of Use Cas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9422288-41E0-4824-9BF8-6F3AF65BE0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defPPr>
              <a:defRPr lang="en-US"/>
            </a:defPPr>
            <a:lvl1pPr marL="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7175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35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71525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870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85875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4305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00225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ED7B9B8-BEA5-5149-A074-6E2AF8E8A1DC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74BD43"/>
                </a:solidFill>
                <a:effectLst/>
                <a:uLnTx/>
                <a:uFillTx/>
                <a:latin typeface="+mn-lt"/>
              </a:rPr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750" b="0" i="0" u="none" strike="noStrike" kern="1200" cap="none" spc="0" normalizeH="0" baseline="0" noProof="0">
              <a:ln>
                <a:noFill/>
              </a:ln>
              <a:solidFill>
                <a:srgbClr val="74BD43"/>
              </a:solidFill>
              <a:effectLst/>
              <a:uLnTx/>
              <a:uFillTx/>
              <a:latin typeface="+mn-lt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A50A586-7753-C798-2E65-0AD2540A9BED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0255" t="22164" r="31105" b="25129"/>
          <a:stretch/>
        </p:blipFill>
        <p:spPr>
          <a:xfrm>
            <a:off x="3266043" y="1305844"/>
            <a:ext cx="2537632" cy="2620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9066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1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1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1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1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1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1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1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1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700"/>
                            </p:stCondLst>
                            <p:childTnLst>
                              <p:par>
                                <p:cTn id="3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9D5282-956C-92CB-D57B-5A9ADE2872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defPPr>
              <a:defRPr lang="en-US"/>
            </a:defPPr>
            <a:lvl1pPr marL="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7175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35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71525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870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85875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4305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00225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DBF1F57-840B-F544-8438-6A497ABB4DB9}" type="slidenum">
              <a:rPr lang="en-US" smtClean="0"/>
              <a:pPr/>
              <a:t>8</a:t>
            </a:fld>
            <a:endParaRPr lang="en-US"/>
          </a:p>
        </p:txBody>
      </p:sp>
      <p:grpSp>
        <p:nvGrpSpPr>
          <p:cNvPr id="16" name="Graphic 13">
            <a:extLst>
              <a:ext uri="{FF2B5EF4-FFF2-40B4-BE49-F238E27FC236}">
                <a16:creationId xmlns:a16="http://schemas.microsoft.com/office/drawing/2014/main" id="{825C19D8-DB6F-BC5C-84C8-6C1D7AD3621C}"/>
              </a:ext>
            </a:extLst>
          </p:cNvPr>
          <p:cNvGrpSpPr/>
          <p:nvPr/>
        </p:nvGrpSpPr>
        <p:grpSpPr>
          <a:xfrm>
            <a:off x="1162760" y="697230"/>
            <a:ext cx="6525101" cy="4103370"/>
            <a:chOff x="1662112" y="802004"/>
            <a:chExt cx="8700134" cy="5471160"/>
          </a:xfrm>
          <a:solidFill>
            <a:srgbClr val="D0D0D0"/>
          </a:solidFill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3C57569-7203-9E75-E812-98C07750DAB4}"/>
                </a:ext>
              </a:extLst>
            </p:cNvPr>
            <p:cNvSpPr/>
            <p:nvPr/>
          </p:nvSpPr>
          <p:spPr>
            <a:xfrm>
              <a:off x="7442834" y="4191952"/>
              <a:ext cx="635317" cy="1037272"/>
            </a:xfrm>
            <a:custGeom>
              <a:avLst/>
              <a:gdLst>
                <a:gd name="connsiteX0" fmla="*/ 210502 w 635317"/>
                <a:gd name="connsiteY0" fmla="*/ 1012507 h 1037272"/>
                <a:gd name="connsiteX1" fmla="*/ 214313 w 635317"/>
                <a:gd name="connsiteY1" fmla="*/ 942975 h 1037272"/>
                <a:gd name="connsiteX2" fmla="*/ 205740 w 635317"/>
                <a:gd name="connsiteY2" fmla="*/ 931545 h 1037272"/>
                <a:gd name="connsiteX3" fmla="*/ 189547 w 635317"/>
                <a:gd name="connsiteY3" fmla="*/ 924878 h 1037272"/>
                <a:gd name="connsiteX4" fmla="*/ 165735 w 635317"/>
                <a:gd name="connsiteY4" fmla="*/ 898207 h 1037272"/>
                <a:gd name="connsiteX5" fmla="*/ 170497 w 635317"/>
                <a:gd name="connsiteY5" fmla="*/ 870585 h 1037272"/>
                <a:gd name="connsiteX6" fmla="*/ 635317 w 635317"/>
                <a:gd name="connsiteY6" fmla="*/ 822007 h 1037272"/>
                <a:gd name="connsiteX7" fmla="*/ 628650 w 635317"/>
                <a:gd name="connsiteY7" fmla="*/ 801053 h 1037272"/>
                <a:gd name="connsiteX8" fmla="*/ 614363 w 635317"/>
                <a:gd name="connsiteY8" fmla="*/ 786765 h 1037272"/>
                <a:gd name="connsiteX9" fmla="*/ 609600 w 635317"/>
                <a:gd name="connsiteY9" fmla="*/ 773430 h 1037272"/>
                <a:gd name="connsiteX10" fmla="*/ 615315 w 635317"/>
                <a:gd name="connsiteY10" fmla="*/ 713422 h 1037272"/>
                <a:gd name="connsiteX11" fmla="*/ 592455 w 635317"/>
                <a:gd name="connsiteY11" fmla="*/ 659130 h 1037272"/>
                <a:gd name="connsiteX12" fmla="*/ 597217 w 635317"/>
                <a:gd name="connsiteY12" fmla="*/ 634365 h 1037272"/>
                <a:gd name="connsiteX13" fmla="*/ 600075 w 635317"/>
                <a:gd name="connsiteY13" fmla="*/ 599122 h 1037272"/>
                <a:gd name="connsiteX14" fmla="*/ 621030 w 635317"/>
                <a:gd name="connsiteY14" fmla="*/ 562928 h 1037272"/>
                <a:gd name="connsiteX15" fmla="*/ 619125 w 635317"/>
                <a:gd name="connsiteY15" fmla="*/ 552450 h 1037272"/>
                <a:gd name="connsiteX16" fmla="*/ 602932 w 635317"/>
                <a:gd name="connsiteY16" fmla="*/ 542925 h 1037272"/>
                <a:gd name="connsiteX17" fmla="*/ 602932 w 635317"/>
                <a:gd name="connsiteY17" fmla="*/ 512445 h 1037272"/>
                <a:gd name="connsiteX18" fmla="*/ 585788 w 635317"/>
                <a:gd name="connsiteY18" fmla="*/ 494347 h 1037272"/>
                <a:gd name="connsiteX19" fmla="*/ 558165 w 635317"/>
                <a:gd name="connsiteY19" fmla="*/ 436245 h 1037272"/>
                <a:gd name="connsiteX20" fmla="*/ 435292 w 635317"/>
                <a:gd name="connsiteY20" fmla="*/ 0 h 1037272"/>
                <a:gd name="connsiteX21" fmla="*/ 0 w 635317"/>
                <a:gd name="connsiteY21" fmla="*/ 38100 h 1037272"/>
                <a:gd name="connsiteX22" fmla="*/ 12382 w 635317"/>
                <a:gd name="connsiteY22" fmla="*/ 57150 h 1037272"/>
                <a:gd name="connsiteX23" fmla="*/ 0 w 635317"/>
                <a:gd name="connsiteY23" fmla="*/ 695325 h 1037272"/>
                <a:gd name="connsiteX24" fmla="*/ 41910 w 635317"/>
                <a:gd name="connsiteY24" fmla="*/ 1011555 h 1037272"/>
                <a:gd name="connsiteX25" fmla="*/ 50482 w 635317"/>
                <a:gd name="connsiteY25" fmla="*/ 1006792 h 1037272"/>
                <a:gd name="connsiteX26" fmla="*/ 62865 w 635317"/>
                <a:gd name="connsiteY26" fmla="*/ 1007745 h 1037272"/>
                <a:gd name="connsiteX27" fmla="*/ 68580 w 635317"/>
                <a:gd name="connsiteY27" fmla="*/ 1011555 h 1037272"/>
                <a:gd name="connsiteX28" fmla="*/ 76200 w 635317"/>
                <a:gd name="connsiteY28" fmla="*/ 1010603 h 1037272"/>
                <a:gd name="connsiteX29" fmla="*/ 95250 w 635317"/>
                <a:gd name="connsiteY29" fmla="*/ 974407 h 1037272"/>
                <a:gd name="connsiteX30" fmla="*/ 95250 w 635317"/>
                <a:gd name="connsiteY30" fmla="*/ 952500 h 1037272"/>
                <a:gd name="connsiteX31" fmla="*/ 105727 w 635317"/>
                <a:gd name="connsiteY31" fmla="*/ 942022 h 1037272"/>
                <a:gd name="connsiteX32" fmla="*/ 119063 w 635317"/>
                <a:gd name="connsiteY32" fmla="*/ 946785 h 1037272"/>
                <a:gd name="connsiteX33" fmla="*/ 151447 w 635317"/>
                <a:gd name="connsiteY33" fmla="*/ 1007745 h 1037272"/>
                <a:gd name="connsiteX34" fmla="*/ 151447 w 635317"/>
                <a:gd name="connsiteY34" fmla="*/ 1016317 h 1037272"/>
                <a:gd name="connsiteX35" fmla="*/ 120015 w 635317"/>
                <a:gd name="connsiteY35" fmla="*/ 1037272 h 1037272"/>
                <a:gd name="connsiteX36" fmla="*/ 153352 w 635317"/>
                <a:gd name="connsiteY36" fmla="*/ 1033463 h 1037272"/>
                <a:gd name="connsiteX37" fmla="*/ 200025 w 635317"/>
                <a:gd name="connsiteY37" fmla="*/ 1018222 h 1037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635317" h="1037272">
                  <a:moveTo>
                    <a:pt x="210502" y="1012507"/>
                  </a:moveTo>
                  <a:lnTo>
                    <a:pt x="214313" y="942975"/>
                  </a:lnTo>
                  <a:lnTo>
                    <a:pt x="205740" y="931545"/>
                  </a:lnTo>
                  <a:lnTo>
                    <a:pt x="189547" y="924878"/>
                  </a:lnTo>
                  <a:lnTo>
                    <a:pt x="165735" y="898207"/>
                  </a:lnTo>
                  <a:lnTo>
                    <a:pt x="170497" y="870585"/>
                  </a:lnTo>
                  <a:lnTo>
                    <a:pt x="635317" y="822007"/>
                  </a:lnTo>
                  <a:lnTo>
                    <a:pt x="628650" y="801053"/>
                  </a:lnTo>
                  <a:lnTo>
                    <a:pt x="614363" y="786765"/>
                  </a:lnTo>
                  <a:lnTo>
                    <a:pt x="609600" y="773430"/>
                  </a:lnTo>
                  <a:lnTo>
                    <a:pt x="615315" y="713422"/>
                  </a:lnTo>
                  <a:lnTo>
                    <a:pt x="592455" y="659130"/>
                  </a:lnTo>
                  <a:lnTo>
                    <a:pt x="597217" y="634365"/>
                  </a:lnTo>
                  <a:lnTo>
                    <a:pt x="600075" y="599122"/>
                  </a:lnTo>
                  <a:lnTo>
                    <a:pt x="621030" y="562928"/>
                  </a:lnTo>
                  <a:lnTo>
                    <a:pt x="619125" y="552450"/>
                  </a:lnTo>
                  <a:lnTo>
                    <a:pt x="602932" y="542925"/>
                  </a:lnTo>
                  <a:lnTo>
                    <a:pt x="602932" y="512445"/>
                  </a:lnTo>
                  <a:lnTo>
                    <a:pt x="585788" y="494347"/>
                  </a:lnTo>
                  <a:lnTo>
                    <a:pt x="558165" y="436245"/>
                  </a:lnTo>
                  <a:lnTo>
                    <a:pt x="435292" y="0"/>
                  </a:lnTo>
                  <a:lnTo>
                    <a:pt x="0" y="38100"/>
                  </a:lnTo>
                  <a:lnTo>
                    <a:pt x="12382" y="57150"/>
                  </a:lnTo>
                  <a:lnTo>
                    <a:pt x="0" y="695325"/>
                  </a:lnTo>
                  <a:lnTo>
                    <a:pt x="41910" y="1011555"/>
                  </a:lnTo>
                  <a:lnTo>
                    <a:pt x="50482" y="1006792"/>
                  </a:lnTo>
                  <a:lnTo>
                    <a:pt x="62865" y="1007745"/>
                  </a:lnTo>
                  <a:lnTo>
                    <a:pt x="68580" y="1011555"/>
                  </a:lnTo>
                  <a:lnTo>
                    <a:pt x="76200" y="1010603"/>
                  </a:lnTo>
                  <a:lnTo>
                    <a:pt x="95250" y="974407"/>
                  </a:lnTo>
                  <a:lnTo>
                    <a:pt x="95250" y="952500"/>
                  </a:lnTo>
                  <a:lnTo>
                    <a:pt x="105727" y="942022"/>
                  </a:lnTo>
                  <a:lnTo>
                    <a:pt x="119063" y="946785"/>
                  </a:lnTo>
                  <a:lnTo>
                    <a:pt x="151447" y="1007745"/>
                  </a:lnTo>
                  <a:lnTo>
                    <a:pt x="151447" y="1016317"/>
                  </a:lnTo>
                  <a:lnTo>
                    <a:pt x="120015" y="1037272"/>
                  </a:lnTo>
                  <a:lnTo>
                    <a:pt x="153352" y="1033463"/>
                  </a:lnTo>
                  <a:lnTo>
                    <a:pt x="200025" y="1018222"/>
                  </a:lnTo>
                  <a:close/>
                </a:path>
              </a:pathLst>
            </a:custGeom>
            <a:solidFill>
              <a:srgbClr val="D0D0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537FB78-C321-E2CD-CC2C-D26A5788E07B}"/>
                </a:ext>
              </a:extLst>
            </p:cNvPr>
            <p:cNvSpPr/>
            <p:nvPr/>
          </p:nvSpPr>
          <p:spPr>
            <a:xfrm>
              <a:off x="2813684" y="3579494"/>
              <a:ext cx="1132522" cy="1317307"/>
            </a:xfrm>
            <a:custGeom>
              <a:avLst/>
              <a:gdLst>
                <a:gd name="connsiteX0" fmla="*/ 44768 w 1132522"/>
                <a:gd name="connsiteY0" fmla="*/ 864870 h 1317307"/>
                <a:gd name="connsiteX1" fmla="*/ 73343 w 1132522"/>
                <a:gd name="connsiteY1" fmla="*/ 843915 h 1317307"/>
                <a:gd name="connsiteX2" fmla="*/ 80963 w 1132522"/>
                <a:gd name="connsiteY2" fmla="*/ 821055 h 1317307"/>
                <a:gd name="connsiteX3" fmla="*/ 71438 w 1132522"/>
                <a:gd name="connsiteY3" fmla="*/ 805815 h 1317307"/>
                <a:gd name="connsiteX4" fmla="*/ 54293 w 1132522"/>
                <a:gd name="connsiteY4" fmla="*/ 803910 h 1317307"/>
                <a:gd name="connsiteX5" fmla="*/ 43815 w 1132522"/>
                <a:gd name="connsiteY5" fmla="*/ 788670 h 1317307"/>
                <a:gd name="connsiteX6" fmla="*/ 54293 w 1132522"/>
                <a:gd name="connsiteY6" fmla="*/ 722948 h 1317307"/>
                <a:gd name="connsiteX7" fmla="*/ 69533 w 1132522"/>
                <a:gd name="connsiteY7" fmla="*/ 720090 h 1317307"/>
                <a:gd name="connsiteX8" fmla="*/ 92393 w 1132522"/>
                <a:gd name="connsiteY8" fmla="*/ 689610 h 1317307"/>
                <a:gd name="connsiteX9" fmla="*/ 107633 w 1132522"/>
                <a:gd name="connsiteY9" fmla="*/ 622935 h 1317307"/>
                <a:gd name="connsiteX10" fmla="*/ 130493 w 1132522"/>
                <a:gd name="connsiteY10" fmla="*/ 588645 h 1317307"/>
                <a:gd name="connsiteX11" fmla="*/ 176213 w 1132522"/>
                <a:gd name="connsiteY11" fmla="*/ 572453 h 1317307"/>
                <a:gd name="connsiteX12" fmla="*/ 188595 w 1132522"/>
                <a:gd name="connsiteY12" fmla="*/ 560070 h 1317307"/>
                <a:gd name="connsiteX13" fmla="*/ 184785 w 1132522"/>
                <a:gd name="connsiteY13" fmla="*/ 541973 h 1317307"/>
                <a:gd name="connsiteX14" fmla="*/ 162878 w 1132522"/>
                <a:gd name="connsiteY14" fmla="*/ 518160 h 1317307"/>
                <a:gd name="connsiteX15" fmla="*/ 151448 w 1132522"/>
                <a:gd name="connsiteY15" fmla="*/ 462915 h 1317307"/>
                <a:gd name="connsiteX16" fmla="*/ 138113 w 1132522"/>
                <a:gd name="connsiteY16" fmla="*/ 445770 h 1317307"/>
                <a:gd name="connsiteX17" fmla="*/ 125730 w 1132522"/>
                <a:gd name="connsiteY17" fmla="*/ 413385 h 1317307"/>
                <a:gd name="connsiteX18" fmla="*/ 134303 w 1132522"/>
                <a:gd name="connsiteY18" fmla="*/ 393383 h 1317307"/>
                <a:gd name="connsiteX19" fmla="*/ 147638 w 1132522"/>
                <a:gd name="connsiteY19" fmla="*/ 364808 h 1317307"/>
                <a:gd name="connsiteX20" fmla="*/ 152400 w 1132522"/>
                <a:gd name="connsiteY20" fmla="*/ 337185 h 1317307"/>
                <a:gd name="connsiteX21" fmla="*/ 147638 w 1132522"/>
                <a:gd name="connsiteY21" fmla="*/ 290513 h 1317307"/>
                <a:gd name="connsiteX22" fmla="*/ 157163 w 1132522"/>
                <a:gd name="connsiteY22" fmla="*/ 160973 h 1317307"/>
                <a:gd name="connsiteX23" fmla="*/ 190500 w 1132522"/>
                <a:gd name="connsiteY23" fmla="*/ 155258 h 1317307"/>
                <a:gd name="connsiteX24" fmla="*/ 225743 w 1132522"/>
                <a:gd name="connsiteY24" fmla="*/ 168593 h 1317307"/>
                <a:gd name="connsiteX25" fmla="*/ 237173 w 1132522"/>
                <a:gd name="connsiteY25" fmla="*/ 194310 h 1317307"/>
                <a:gd name="connsiteX26" fmla="*/ 256223 w 1132522"/>
                <a:gd name="connsiteY26" fmla="*/ 194310 h 1317307"/>
                <a:gd name="connsiteX27" fmla="*/ 279083 w 1132522"/>
                <a:gd name="connsiteY27" fmla="*/ 166688 h 1317307"/>
                <a:gd name="connsiteX28" fmla="*/ 311468 w 1132522"/>
                <a:gd name="connsiteY28" fmla="*/ 0 h 1317307"/>
                <a:gd name="connsiteX29" fmla="*/ 751523 w 1132522"/>
                <a:gd name="connsiteY29" fmla="*/ 78105 h 1317307"/>
                <a:gd name="connsiteX30" fmla="*/ 1132523 w 1132522"/>
                <a:gd name="connsiteY30" fmla="*/ 135255 h 1317307"/>
                <a:gd name="connsiteX31" fmla="*/ 966788 w 1132522"/>
                <a:gd name="connsiteY31" fmla="*/ 1317308 h 1317307"/>
                <a:gd name="connsiteX32" fmla="*/ 611505 w 1132522"/>
                <a:gd name="connsiteY32" fmla="*/ 1265873 h 1317307"/>
                <a:gd name="connsiteX33" fmla="*/ 0 w 1132522"/>
                <a:gd name="connsiteY33" fmla="*/ 908685 h 1317307"/>
                <a:gd name="connsiteX34" fmla="*/ 4763 w 1132522"/>
                <a:gd name="connsiteY34" fmla="*/ 881063 h 1317307"/>
                <a:gd name="connsiteX35" fmla="*/ 23813 w 1132522"/>
                <a:gd name="connsiteY35" fmla="*/ 863918 h 1317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132522" h="1317307">
                  <a:moveTo>
                    <a:pt x="44768" y="864870"/>
                  </a:moveTo>
                  <a:lnTo>
                    <a:pt x="73343" y="843915"/>
                  </a:lnTo>
                  <a:lnTo>
                    <a:pt x="80963" y="821055"/>
                  </a:lnTo>
                  <a:lnTo>
                    <a:pt x="71438" y="805815"/>
                  </a:lnTo>
                  <a:lnTo>
                    <a:pt x="54293" y="803910"/>
                  </a:lnTo>
                  <a:lnTo>
                    <a:pt x="43815" y="788670"/>
                  </a:lnTo>
                  <a:lnTo>
                    <a:pt x="54293" y="722948"/>
                  </a:lnTo>
                  <a:lnTo>
                    <a:pt x="69533" y="720090"/>
                  </a:lnTo>
                  <a:lnTo>
                    <a:pt x="92393" y="689610"/>
                  </a:lnTo>
                  <a:lnTo>
                    <a:pt x="107633" y="622935"/>
                  </a:lnTo>
                  <a:lnTo>
                    <a:pt x="130493" y="588645"/>
                  </a:lnTo>
                  <a:lnTo>
                    <a:pt x="176213" y="572453"/>
                  </a:lnTo>
                  <a:lnTo>
                    <a:pt x="188595" y="560070"/>
                  </a:lnTo>
                  <a:lnTo>
                    <a:pt x="184785" y="541973"/>
                  </a:lnTo>
                  <a:lnTo>
                    <a:pt x="162878" y="518160"/>
                  </a:lnTo>
                  <a:lnTo>
                    <a:pt x="151448" y="462915"/>
                  </a:lnTo>
                  <a:lnTo>
                    <a:pt x="138113" y="445770"/>
                  </a:lnTo>
                  <a:lnTo>
                    <a:pt x="125730" y="413385"/>
                  </a:lnTo>
                  <a:lnTo>
                    <a:pt x="134303" y="393383"/>
                  </a:lnTo>
                  <a:lnTo>
                    <a:pt x="147638" y="364808"/>
                  </a:lnTo>
                  <a:lnTo>
                    <a:pt x="152400" y="337185"/>
                  </a:lnTo>
                  <a:lnTo>
                    <a:pt x="147638" y="290513"/>
                  </a:lnTo>
                  <a:lnTo>
                    <a:pt x="157163" y="160973"/>
                  </a:lnTo>
                  <a:lnTo>
                    <a:pt x="190500" y="155258"/>
                  </a:lnTo>
                  <a:lnTo>
                    <a:pt x="225743" y="168593"/>
                  </a:lnTo>
                  <a:lnTo>
                    <a:pt x="237173" y="194310"/>
                  </a:lnTo>
                  <a:lnTo>
                    <a:pt x="256223" y="194310"/>
                  </a:lnTo>
                  <a:lnTo>
                    <a:pt x="279083" y="166688"/>
                  </a:lnTo>
                  <a:lnTo>
                    <a:pt x="311468" y="0"/>
                  </a:lnTo>
                  <a:lnTo>
                    <a:pt x="751523" y="78105"/>
                  </a:lnTo>
                  <a:lnTo>
                    <a:pt x="1132523" y="135255"/>
                  </a:lnTo>
                  <a:lnTo>
                    <a:pt x="966788" y="1317308"/>
                  </a:lnTo>
                  <a:lnTo>
                    <a:pt x="611505" y="1265873"/>
                  </a:lnTo>
                  <a:lnTo>
                    <a:pt x="0" y="908685"/>
                  </a:lnTo>
                  <a:lnTo>
                    <a:pt x="4763" y="881063"/>
                  </a:lnTo>
                  <a:lnTo>
                    <a:pt x="23813" y="863918"/>
                  </a:lnTo>
                  <a:close/>
                </a:path>
              </a:pathLst>
            </a:custGeom>
            <a:solidFill>
              <a:srgbClr val="D0D0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21819757-C6D7-626E-D4C9-F91475488711}"/>
                </a:ext>
              </a:extLst>
            </p:cNvPr>
            <p:cNvSpPr/>
            <p:nvPr/>
          </p:nvSpPr>
          <p:spPr>
            <a:xfrm>
              <a:off x="6334124" y="3937634"/>
              <a:ext cx="844867" cy="760095"/>
            </a:xfrm>
            <a:custGeom>
              <a:avLst/>
              <a:gdLst>
                <a:gd name="connsiteX0" fmla="*/ 759143 w 844867"/>
                <a:gd name="connsiteY0" fmla="*/ 310515 h 760095"/>
                <a:gd name="connsiteX1" fmla="*/ 767715 w 844867"/>
                <a:gd name="connsiteY1" fmla="*/ 289560 h 760095"/>
                <a:gd name="connsiteX2" fmla="*/ 779145 w 844867"/>
                <a:gd name="connsiteY2" fmla="*/ 294322 h 760095"/>
                <a:gd name="connsiteX3" fmla="*/ 785813 w 844867"/>
                <a:gd name="connsiteY3" fmla="*/ 284797 h 760095"/>
                <a:gd name="connsiteX4" fmla="*/ 778193 w 844867"/>
                <a:gd name="connsiteY4" fmla="*/ 278130 h 760095"/>
                <a:gd name="connsiteX5" fmla="*/ 781050 w 844867"/>
                <a:gd name="connsiteY5" fmla="*/ 263843 h 760095"/>
                <a:gd name="connsiteX6" fmla="*/ 770573 w 844867"/>
                <a:gd name="connsiteY6" fmla="*/ 255270 h 760095"/>
                <a:gd name="connsiteX7" fmla="*/ 776288 w 844867"/>
                <a:gd name="connsiteY7" fmla="*/ 245745 h 760095"/>
                <a:gd name="connsiteX8" fmla="*/ 775335 w 844867"/>
                <a:gd name="connsiteY8" fmla="*/ 231458 h 760095"/>
                <a:gd name="connsiteX9" fmla="*/ 764857 w 844867"/>
                <a:gd name="connsiteY9" fmla="*/ 230505 h 760095"/>
                <a:gd name="connsiteX10" fmla="*/ 772477 w 844867"/>
                <a:gd name="connsiteY10" fmla="*/ 222885 h 760095"/>
                <a:gd name="connsiteX11" fmla="*/ 784860 w 844867"/>
                <a:gd name="connsiteY11" fmla="*/ 230505 h 760095"/>
                <a:gd name="connsiteX12" fmla="*/ 787718 w 844867"/>
                <a:gd name="connsiteY12" fmla="*/ 217170 h 760095"/>
                <a:gd name="connsiteX13" fmla="*/ 783907 w 844867"/>
                <a:gd name="connsiteY13" fmla="*/ 206693 h 760095"/>
                <a:gd name="connsiteX14" fmla="*/ 784860 w 844867"/>
                <a:gd name="connsiteY14" fmla="*/ 200025 h 760095"/>
                <a:gd name="connsiteX15" fmla="*/ 803910 w 844867"/>
                <a:gd name="connsiteY15" fmla="*/ 205740 h 760095"/>
                <a:gd name="connsiteX16" fmla="*/ 800100 w 844867"/>
                <a:gd name="connsiteY16" fmla="*/ 191453 h 760095"/>
                <a:gd name="connsiteX17" fmla="*/ 815340 w 844867"/>
                <a:gd name="connsiteY17" fmla="*/ 179070 h 760095"/>
                <a:gd name="connsiteX18" fmla="*/ 810577 w 844867"/>
                <a:gd name="connsiteY18" fmla="*/ 170497 h 760095"/>
                <a:gd name="connsiteX19" fmla="*/ 800100 w 844867"/>
                <a:gd name="connsiteY19" fmla="*/ 171450 h 760095"/>
                <a:gd name="connsiteX20" fmla="*/ 794385 w 844867"/>
                <a:gd name="connsiteY20" fmla="*/ 162878 h 760095"/>
                <a:gd name="connsiteX21" fmla="*/ 802957 w 844867"/>
                <a:gd name="connsiteY21" fmla="*/ 154305 h 760095"/>
                <a:gd name="connsiteX22" fmla="*/ 818198 w 844867"/>
                <a:gd name="connsiteY22" fmla="*/ 152400 h 760095"/>
                <a:gd name="connsiteX23" fmla="*/ 822960 w 844867"/>
                <a:gd name="connsiteY23" fmla="*/ 144780 h 760095"/>
                <a:gd name="connsiteX24" fmla="*/ 836295 w 844867"/>
                <a:gd name="connsiteY24" fmla="*/ 142875 h 760095"/>
                <a:gd name="connsiteX25" fmla="*/ 835343 w 844867"/>
                <a:gd name="connsiteY25" fmla="*/ 135255 h 760095"/>
                <a:gd name="connsiteX26" fmla="*/ 826770 w 844867"/>
                <a:gd name="connsiteY26" fmla="*/ 126683 h 760095"/>
                <a:gd name="connsiteX27" fmla="*/ 826770 w 844867"/>
                <a:gd name="connsiteY27" fmla="*/ 121920 h 760095"/>
                <a:gd name="connsiteX28" fmla="*/ 841057 w 844867"/>
                <a:gd name="connsiteY28" fmla="*/ 121920 h 760095"/>
                <a:gd name="connsiteX29" fmla="*/ 844868 w 844867"/>
                <a:gd name="connsiteY29" fmla="*/ 115253 h 760095"/>
                <a:gd name="connsiteX30" fmla="*/ 831532 w 844867"/>
                <a:gd name="connsiteY30" fmla="*/ 105728 h 760095"/>
                <a:gd name="connsiteX31" fmla="*/ 830580 w 844867"/>
                <a:gd name="connsiteY31" fmla="*/ 100013 h 760095"/>
                <a:gd name="connsiteX32" fmla="*/ 723900 w 844867"/>
                <a:gd name="connsiteY32" fmla="*/ 107633 h 760095"/>
                <a:gd name="connsiteX33" fmla="*/ 750570 w 844867"/>
                <a:gd name="connsiteY33" fmla="*/ 59055 h 760095"/>
                <a:gd name="connsiteX34" fmla="*/ 766763 w 844867"/>
                <a:gd name="connsiteY34" fmla="*/ 44768 h 760095"/>
                <a:gd name="connsiteX35" fmla="*/ 766763 w 844867"/>
                <a:gd name="connsiteY35" fmla="*/ 23813 h 760095"/>
                <a:gd name="connsiteX36" fmla="*/ 751523 w 844867"/>
                <a:gd name="connsiteY36" fmla="*/ 0 h 760095"/>
                <a:gd name="connsiteX37" fmla="*/ 372427 w 844867"/>
                <a:gd name="connsiteY37" fmla="*/ 19050 h 760095"/>
                <a:gd name="connsiteX38" fmla="*/ 0 w 844867"/>
                <a:gd name="connsiteY38" fmla="*/ 25718 h 760095"/>
                <a:gd name="connsiteX39" fmla="*/ 39053 w 844867"/>
                <a:gd name="connsiteY39" fmla="*/ 258128 h 760095"/>
                <a:gd name="connsiteX40" fmla="*/ 32385 w 844867"/>
                <a:gd name="connsiteY40" fmla="*/ 629603 h 760095"/>
                <a:gd name="connsiteX41" fmla="*/ 57150 w 844867"/>
                <a:gd name="connsiteY41" fmla="*/ 651510 h 760095"/>
                <a:gd name="connsiteX42" fmla="*/ 83820 w 844867"/>
                <a:gd name="connsiteY42" fmla="*/ 639128 h 760095"/>
                <a:gd name="connsiteX43" fmla="*/ 114300 w 844867"/>
                <a:gd name="connsiteY43" fmla="*/ 646747 h 760095"/>
                <a:gd name="connsiteX44" fmla="*/ 116205 w 844867"/>
                <a:gd name="connsiteY44" fmla="*/ 760095 h 760095"/>
                <a:gd name="connsiteX45" fmla="*/ 614363 w 844867"/>
                <a:gd name="connsiteY45" fmla="*/ 747713 h 760095"/>
                <a:gd name="connsiteX46" fmla="*/ 625793 w 844867"/>
                <a:gd name="connsiteY46" fmla="*/ 733425 h 760095"/>
                <a:gd name="connsiteX47" fmla="*/ 630555 w 844867"/>
                <a:gd name="connsiteY47" fmla="*/ 704850 h 760095"/>
                <a:gd name="connsiteX48" fmla="*/ 616268 w 844867"/>
                <a:gd name="connsiteY48" fmla="*/ 682943 h 760095"/>
                <a:gd name="connsiteX49" fmla="*/ 611505 w 844867"/>
                <a:gd name="connsiteY49" fmla="*/ 661988 h 760095"/>
                <a:gd name="connsiteX50" fmla="*/ 620077 w 844867"/>
                <a:gd name="connsiteY50" fmla="*/ 655320 h 760095"/>
                <a:gd name="connsiteX51" fmla="*/ 620077 w 844867"/>
                <a:gd name="connsiteY51" fmla="*/ 647700 h 760095"/>
                <a:gd name="connsiteX52" fmla="*/ 603885 w 844867"/>
                <a:gd name="connsiteY52" fmla="*/ 637222 h 760095"/>
                <a:gd name="connsiteX53" fmla="*/ 602932 w 844867"/>
                <a:gd name="connsiteY53" fmla="*/ 630555 h 760095"/>
                <a:gd name="connsiteX54" fmla="*/ 618173 w 844867"/>
                <a:gd name="connsiteY54" fmla="*/ 621983 h 760095"/>
                <a:gd name="connsiteX55" fmla="*/ 606743 w 844867"/>
                <a:gd name="connsiteY55" fmla="*/ 611505 h 760095"/>
                <a:gd name="connsiteX56" fmla="*/ 622935 w 844867"/>
                <a:gd name="connsiteY56" fmla="*/ 543878 h 760095"/>
                <a:gd name="connsiteX57" fmla="*/ 655320 w 844867"/>
                <a:gd name="connsiteY57" fmla="*/ 528638 h 760095"/>
                <a:gd name="connsiteX58" fmla="*/ 655320 w 844867"/>
                <a:gd name="connsiteY58" fmla="*/ 521018 h 760095"/>
                <a:gd name="connsiteX59" fmla="*/ 644843 w 844867"/>
                <a:gd name="connsiteY59" fmla="*/ 507683 h 760095"/>
                <a:gd name="connsiteX60" fmla="*/ 672465 w 844867"/>
                <a:gd name="connsiteY60" fmla="*/ 456247 h 760095"/>
                <a:gd name="connsiteX61" fmla="*/ 690563 w 844867"/>
                <a:gd name="connsiteY61" fmla="*/ 456247 h 760095"/>
                <a:gd name="connsiteX62" fmla="*/ 704850 w 844867"/>
                <a:gd name="connsiteY62" fmla="*/ 444818 h 760095"/>
                <a:gd name="connsiteX63" fmla="*/ 701993 w 844867"/>
                <a:gd name="connsiteY63" fmla="*/ 395288 h 760095"/>
                <a:gd name="connsiteX64" fmla="*/ 731520 w 844867"/>
                <a:gd name="connsiteY64" fmla="*/ 352425 h 760095"/>
                <a:gd name="connsiteX65" fmla="*/ 748665 w 844867"/>
                <a:gd name="connsiteY65" fmla="*/ 346710 h 760095"/>
                <a:gd name="connsiteX66" fmla="*/ 743902 w 844867"/>
                <a:gd name="connsiteY66" fmla="*/ 317183 h 760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844867" h="760095">
                  <a:moveTo>
                    <a:pt x="759143" y="310515"/>
                  </a:moveTo>
                  <a:lnTo>
                    <a:pt x="767715" y="289560"/>
                  </a:lnTo>
                  <a:lnTo>
                    <a:pt x="779145" y="294322"/>
                  </a:lnTo>
                  <a:lnTo>
                    <a:pt x="785813" y="284797"/>
                  </a:lnTo>
                  <a:lnTo>
                    <a:pt x="778193" y="278130"/>
                  </a:lnTo>
                  <a:lnTo>
                    <a:pt x="781050" y="263843"/>
                  </a:lnTo>
                  <a:lnTo>
                    <a:pt x="770573" y="255270"/>
                  </a:lnTo>
                  <a:lnTo>
                    <a:pt x="776288" y="245745"/>
                  </a:lnTo>
                  <a:lnTo>
                    <a:pt x="775335" y="231458"/>
                  </a:lnTo>
                  <a:lnTo>
                    <a:pt x="764857" y="230505"/>
                  </a:lnTo>
                  <a:lnTo>
                    <a:pt x="772477" y="222885"/>
                  </a:lnTo>
                  <a:lnTo>
                    <a:pt x="784860" y="230505"/>
                  </a:lnTo>
                  <a:lnTo>
                    <a:pt x="787718" y="217170"/>
                  </a:lnTo>
                  <a:lnTo>
                    <a:pt x="783907" y="206693"/>
                  </a:lnTo>
                  <a:lnTo>
                    <a:pt x="784860" y="200025"/>
                  </a:lnTo>
                  <a:lnTo>
                    <a:pt x="803910" y="205740"/>
                  </a:lnTo>
                  <a:lnTo>
                    <a:pt x="800100" y="191453"/>
                  </a:lnTo>
                  <a:lnTo>
                    <a:pt x="815340" y="179070"/>
                  </a:lnTo>
                  <a:lnTo>
                    <a:pt x="810577" y="170497"/>
                  </a:lnTo>
                  <a:lnTo>
                    <a:pt x="800100" y="171450"/>
                  </a:lnTo>
                  <a:lnTo>
                    <a:pt x="794385" y="162878"/>
                  </a:lnTo>
                  <a:lnTo>
                    <a:pt x="802957" y="154305"/>
                  </a:lnTo>
                  <a:lnTo>
                    <a:pt x="818198" y="152400"/>
                  </a:lnTo>
                  <a:lnTo>
                    <a:pt x="822960" y="144780"/>
                  </a:lnTo>
                  <a:lnTo>
                    <a:pt x="836295" y="142875"/>
                  </a:lnTo>
                  <a:lnTo>
                    <a:pt x="835343" y="135255"/>
                  </a:lnTo>
                  <a:lnTo>
                    <a:pt x="826770" y="126683"/>
                  </a:lnTo>
                  <a:lnTo>
                    <a:pt x="826770" y="121920"/>
                  </a:lnTo>
                  <a:lnTo>
                    <a:pt x="841057" y="121920"/>
                  </a:lnTo>
                  <a:lnTo>
                    <a:pt x="844868" y="115253"/>
                  </a:lnTo>
                  <a:lnTo>
                    <a:pt x="831532" y="105728"/>
                  </a:lnTo>
                  <a:lnTo>
                    <a:pt x="830580" y="100013"/>
                  </a:lnTo>
                  <a:lnTo>
                    <a:pt x="723900" y="107633"/>
                  </a:lnTo>
                  <a:lnTo>
                    <a:pt x="750570" y="59055"/>
                  </a:lnTo>
                  <a:lnTo>
                    <a:pt x="766763" y="44768"/>
                  </a:lnTo>
                  <a:lnTo>
                    <a:pt x="766763" y="23813"/>
                  </a:lnTo>
                  <a:lnTo>
                    <a:pt x="751523" y="0"/>
                  </a:lnTo>
                  <a:lnTo>
                    <a:pt x="372427" y="19050"/>
                  </a:lnTo>
                  <a:lnTo>
                    <a:pt x="0" y="25718"/>
                  </a:lnTo>
                  <a:lnTo>
                    <a:pt x="39053" y="258128"/>
                  </a:lnTo>
                  <a:lnTo>
                    <a:pt x="32385" y="629603"/>
                  </a:lnTo>
                  <a:lnTo>
                    <a:pt x="57150" y="651510"/>
                  </a:lnTo>
                  <a:lnTo>
                    <a:pt x="83820" y="639128"/>
                  </a:lnTo>
                  <a:lnTo>
                    <a:pt x="114300" y="646747"/>
                  </a:lnTo>
                  <a:lnTo>
                    <a:pt x="116205" y="760095"/>
                  </a:lnTo>
                  <a:lnTo>
                    <a:pt x="614363" y="747713"/>
                  </a:lnTo>
                  <a:lnTo>
                    <a:pt x="625793" y="733425"/>
                  </a:lnTo>
                  <a:lnTo>
                    <a:pt x="630555" y="704850"/>
                  </a:lnTo>
                  <a:lnTo>
                    <a:pt x="616268" y="682943"/>
                  </a:lnTo>
                  <a:lnTo>
                    <a:pt x="611505" y="661988"/>
                  </a:lnTo>
                  <a:lnTo>
                    <a:pt x="620077" y="655320"/>
                  </a:lnTo>
                  <a:lnTo>
                    <a:pt x="620077" y="647700"/>
                  </a:lnTo>
                  <a:lnTo>
                    <a:pt x="603885" y="637222"/>
                  </a:lnTo>
                  <a:lnTo>
                    <a:pt x="602932" y="630555"/>
                  </a:lnTo>
                  <a:lnTo>
                    <a:pt x="618173" y="621983"/>
                  </a:lnTo>
                  <a:lnTo>
                    <a:pt x="606743" y="611505"/>
                  </a:lnTo>
                  <a:lnTo>
                    <a:pt x="622935" y="543878"/>
                  </a:lnTo>
                  <a:lnTo>
                    <a:pt x="655320" y="528638"/>
                  </a:lnTo>
                  <a:lnTo>
                    <a:pt x="655320" y="521018"/>
                  </a:lnTo>
                  <a:lnTo>
                    <a:pt x="644843" y="507683"/>
                  </a:lnTo>
                  <a:lnTo>
                    <a:pt x="672465" y="456247"/>
                  </a:lnTo>
                  <a:lnTo>
                    <a:pt x="690563" y="456247"/>
                  </a:lnTo>
                  <a:lnTo>
                    <a:pt x="704850" y="444818"/>
                  </a:lnTo>
                  <a:lnTo>
                    <a:pt x="701993" y="395288"/>
                  </a:lnTo>
                  <a:lnTo>
                    <a:pt x="731520" y="352425"/>
                  </a:lnTo>
                  <a:lnTo>
                    <a:pt x="748665" y="346710"/>
                  </a:lnTo>
                  <a:lnTo>
                    <a:pt x="743902" y="317183"/>
                  </a:lnTo>
                  <a:close/>
                </a:path>
              </a:pathLst>
            </a:custGeom>
            <a:solidFill>
              <a:srgbClr val="D0D0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A45BC296-1F4A-61DA-A7F4-4FF658022D5C}"/>
                </a:ext>
              </a:extLst>
            </p:cNvPr>
            <p:cNvSpPr/>
            <p:nvPr/>
          </p:nvSpPr>
          <p:spPr>
            <a:xfrm>
              <a:off x="1662112" y="2161222"/>
              <a:ext cx="1340167" cy="2283142"/>
            </a:xfrm>
            <a:custGeom>
              <a:avLst/>
              <a:gdLst>
                <a:gd name="connsiteX0" fmla="*/ 527685 w 1340167"/>
                <a:gd name="connsiteY0" fmla="*/ 2073593 h 2283142"/>
                <a:gd name="connsiteX1" fmla="*/ 560070 w 1340167"/>
                <a:gd name="connsiteY1" fmla="*/ 2123123 h 2283142"/>
                <a:gd name="connsiteX2" fmla="*/ 546735 w 1340167"/>
                <a:gd name="connsiteY2" fmla="*/ 2124075 h 2283142"/>
                <a:gd name="connsiteX3" fmla="*/ 529590 w 1340167"/>
                <a:gd name="connsiteY3" fmla="*/ 2105978 h 2283142"/>
                <a:gd name="connsiteX4" fmla="*/ 545783 w 1340167"/>
                <a:gd name="connsiteY4" fmla="*/ 1980248 h 2283142"/>
                <a:gd name="connsiteX5" fmla="*/ 562928 w 1340167"/>
                <a:gd name="connsiteY5" fmla="*/ 2019300 h 2283142"/>
                <a:gd name="connsiteX6" fmla="*/ 587693 w 1340167"/>
                <a:gd name="connsiteY6" fmla="*/ 2028825 h 2283142"/>
                <a:gd name="connsiteX7" fmla="*/ 594360 w 1340167"/>
                <a:gd name="connsiteY7" fmla="*/ 2023110 h 2283142"/>
                <a:gd name="connsiteX8" fmla="*/ 581978 w 1340167"/>
                <a:gd name="connsiteY8" fmla="*/ 1999298 h 2283142"/>
                <a:gd name="connsiteX9" fmla="*/ 557213 w 1340167"/>
                <a:gd name="connsiteY9" fmla="*/ 1976438 h 2283142"/>
                <a:gd name="connsiteX10" fmla="*/ 356235 w 1340167"/>
                <a:gd name="connsiteY10" fmla="*/ 1799273 h 2283142"/>
                <a:gd name="connsiteX11" fmla="*/ 356235 w 1340167"/>
                <a:gd name="connsiteY11" fmla="*/ 1822133 h 2283142"/>
                <a:gd name="connsiteX12" fmla="*/ 375285 w 1340167"/>
                <a:gd name="connsiteY12" fmla="*/ 1833563 h 2283142"/>
                <a:gd name="connsiteX13" fmla="*/ 417195 w 1340167"/>
                <a:gd name="connsiteY13" fmla="*/ 1831658 h 2283142"/>
                <a:gd name="connsiteX14" fmla="*/ 426720 w 1340167"/>
                <a:gd name="connsiteY14" fmla="*/ 1822133 h 2283142"/>
                <a:gd name="connsiteX15" fmla="*/ 397193 w 1340167"/>
                <a:gd name="connsiteY15" fmla="*/ 1820228 h 2283142"/>
                <a:gd name="connsiteX16" fmla="*/ 300038 w 1340167"/>
                <a:gd name="connsiteY16" fmla="*/ 1800225 h 2283142"/>
                <a:gd name="connsiteX17" fmla="*/ 331470 w 1340167"/>
                <a:gd name="connsiteY17" fmla="*/ 1804988 h 2283142"/>
                <a:gd name="connsiteX18" fmla="*/ 344805 w 1340167"/>
                <a:gd name="connsiteY18" fmla="*/ 1825943 h 2283142"/>
                <a:gd name="connsiteX19" fmla="*/ 308610 w 1340167"/>
                <a:gd name="connsiteY19" fmla="*/ 1825943 h 2283142"/>
                <a:gd name="connsiteX20" fmla="*/ 756285 w 1340167"/>
                <a:gd name="connsiteY20" fmla="*/ 2233613 h 2283142"/>
                <a:gd name="connsiteX21" fmla="*/ 746760 w 1340167"/>
                <a:gd name="connsiteY21" fmla="*/ 2205038 h 2283142"/>
                <a:gd name="connsiteX22" fmla="*/ 748665 w 1340167"/>
                <a:gd name="connsiteY22" fmla="*/ 2176463 h 2283142"/>
                <a:gd name="connsiteX23" fmla="*/ 744855 w 1340167"/>
                <a:gd name="connsiteY23" fmla="*/ 2101215 h 2283142"/>
                <a:gd name="connsiteX24" fmla="*/ 727710 w 1340167"/>
                <a:gd name="connsiteY24" fmla="*/ 2055495 h 2283142"/>
                <a:gd name="connsiteX25" fmla="*/ 716280 w 1340167"/>
                <a:gd name="connsiteY25" fmla="*/ 2042160 h 2283142"/>
                <a:gd name="connsiteX26" fmla="*/ 710565 w 1340167"/>
                <a:gd name="connsiteY26" fmla="*/ 2027873 h 2283142"/>
                <a:gd name="connsiteX27" fmla="*/ 643890 w 1340167"/>
                <a:gd name="connsiteY27" fmla="*/ 1945958 h 2283142"/>
                <a:gd name="connsiteX28" fmla="*/ 609600 w 1340167"/>
                <a:gd name="connsiteY28" fmla="*/ 1946910 h 2283142"/>
                <a:gd name="connsiteX29" fmla="*/ 590550 w 1340167"/>
                <a:gd name="connsiteY29" fmla="*/ 1928813 h 2283142"/>
                <a:gd name="connsiteX30" fmla="*/ 601028 w 1340167"/>
                <a:gd name="connsiteY30" fmla="*/ 1911668 h 2283142"/>
                <a:gd name="connsiteX31" fmla="*/ 594360 w 1340167"/>
                <a:gd name="connsiteY31" fmla="*/ 1876425 h 2283142"/>
                <a:gd name="connsiteX32" fmla="*/ 573405 w 1340167"/>
                <a:gd name="connsiteY32" fmla="*/ 1864995 h 2283142"/>
                <a:gd name="connsiteX33" fmla="*/ 536258 w 1340167"/>
                <a:gd name="connsiteY33" fmla="*/ 1859280 h 2283142"/>
                <a:gd name="connsiteX34" fmla="*/ 509588 w 1340167"/>
                <a:gd name="connsiteY34" fmla="*/ 1846898 h 2283142"/>
                <a:gd name="connsiteX35" fmla="*/ 495300 w 1340167"/>
                <a:gd name="connsiteY35" fmla="*/ 1828800 h 2283142"/>
                <a:gd name="connsiteX36" fmla="*/ 452438 w 1340167"/>
                <a:gd name="connsiteY36" fmla="*/ 1765935 h 2283142"/>
                <a:gd name="connsiteX37" fmla="*/ 426720 w 1340167"/>
                <a:gd name="connsiteY37" fmla="*/ 1744980 h 2283142"/>
                <a:gd name="connsiteX38" fmla="*/ 391478 w 1340167"/>
                <a:gd name="connsiteY38" fmla="*/ 1740218 h 2283142"/>
                <a:gd name="connsiteX39" fmla="*/ 361950 w 1340167"/>
                <a:gd name="connsiteY39" fmla="*/ 1718310 h 2283142"/>
                <a:gd name="connsiteX40" fmla="*/ 317183 w 1340167"/>
                <a:gd name="connsiteY40" fmla="*/ 1704023 h 2283142"/>
                <a:gd name="connsiteX41" fmla="*/ 290513 w 1340167"/>
                <a:gd name="connsiteY41" fmla="*/ 1701165 h 2283142"/>
                <a:gd name="connsiteX42" fmla="*/ 266700 w 1340167"/>
                <a:gd name="connsiteY42" fmla="*/ 1677353 h 2283142"/>
                <a:gd name="connsiteX43" fmla="*/ 268605 w 1340167"/>
                <a:gd name="connsiteY43" fmla="*/ 1650683 h 2283142"/>
                <a:gd name="connsiteX44" fmla="*/ 276225 w 1340167"/>
                <a:gd name="connsiteY44" fmla="*/ 1604963 h 2283142"/>
                <a:gd name="connsiteX45" fmla="*/ 293370 w 1340167"/>
                <a:gd name="connsiteY45" fmla="*/ 1556385 h 2283142"/>
                <a:gd name="connsiteX46" fmla="*/ 280035 w 1340167"/>
                <a:gd name="connsiteY46" fmla="*/ 1541145 h 2283142"/>
                <a:gd name="connsiteX47" fmla="*/ 241935 w 1340167"/>
                <a:gd name="connsiteY47" fmla="*/ 1451610 h 2283142"/>
                <a:gd name="connsiteX48" fmla="*/ 216218 w 1340167"/>
                <a:gd name="connsiteY48" fmla="*/ 1416368 h 2283142"/>
                <a:gd name="connsiteX49" fmla="*/ 212408 w 1340167"/>
                <a:gd name="connsiteY49" fmla="*/ 1387793 h 2283142"/>
                <a:gd name="connsiteX50" fmla="*/ 197168 w 1340167"/>
                <a:gd name="connsiteY50" fmla="*/ 1365885 h 2283142"/>
                <a:gd name="connsiteX51" fmla="*/ 199073 w 1340167"/>
                <a:gd name="connsiteY51" fmla="*/ 1342073 h 2283142"/>
                <a:gd name="connsiteX52" fmla="*/ 180023 w 1340167"/>
                <a:gd name="connsiteY52" fmla="*/ 1294448 h 2283142"/>
                <a:gd name="connsiteX53" fmla="*/ 152400 w 1340167"/>
                <a:gd name="connsiteY53" fmla="*/ 1268730 h 2283142"/>
                <a:gd name="connsiteX54" fmla="*/ 158115 w 1340167"/>
                <a:gd name="connsiteY54" fmla="*/ 1201103 h 2283142"/>
                <a:gd name="connsiteX55" fmla="*/ 180975 w 1340167"/>
                <a:gd name="connsiteY55" fmla="*/ 1193483 h 2283142"/>
                <a:gd name="connsiteX56" fmla="*/ 198120 w 1340167"/>
                <a:gd name="connsiteY56" fmla="*/ 1163955 h 2283142"/>
                <a:gd name="connsiteX57" fmla="*/ 194310 w 1340167"/>
                <a:gd name="connsiteY57" fmla="*/ 1133475 h 2283142"/>
                <a:gd name="connsiteX58" fmla="*/ 184785 w 1340167"/>
                <a:gd name="connsiteY58" fmla="*/ 1124903 h 2283142"/>
                <a:gd name="connsiteX59" fmla="*/ 160973 w 1340167"/>
                <a:gd name="connsiteY59" fmla="*/ 1124903 h 2283142"/>
                <a:gd name="connsiteX60" fmla="*/ 137160 w 1340167"/>
                <a:gd name="connsiteY60" fmla="*/ 1093470 h 2283142"/>
                <a:gd name="connsiteX61" fmla="*/ 122873 w 1340167"/>
                <a:gd name="connsiteY61" fmla="*/ 1060133 h 2283142"/>
                <a:gd name="connsiteX62" fmla="*/ 122873 w 1340167"/>
                <a:gd name="connsiteY62" fmla="*/ 988695 h 2283142"/>
                <a:gd name="connsiteX63" fmla="*/ 134303 w 1340167"/>
                <a:gd name="connsiteY63" fmla="*/ 948690 h 2283142"/>
                <a:gd name="connsiteX64" fmla="*/ 136208 w 1340167"/>
                <a:gd name="connsiteY64" fmla="*/ 928688 h 2283142"/>
                <a:gd name="connsiteX65" fmla="*/ 160020 w 1340167"/>
                <a:gd name="connsiteY65" fmla="*/ 930593 h 2283142"/>
                <a:gd name="connsiteX66" fmla="*/ 159068 w 1340167"/>
                <a:gd name="connsiteY66" fmla="*/ 945833 h 2283142"/>
                <a:gd name="connsiteX67" fmla="*/ 151448 w 1340167"/>
                <a:gd name="connsiteY67" fmla="*/ 952500 h 2283142"/>
                <a:gd name="connsiteX68" fmla="*/ 151448 w 1340167"/>
                <a:gd name="connsiteY68" fmla="*/ 976313 h 2283142"/>
                <a:gd name="connsiteX69" fmla="*/ 186690 w 1340167"/>
                <a:gd name="connsiteY69" fmla="*/ 1006793 h 2283142"/>
                <a:gd name="connsiteX70" fmla="*/ 186690 w 1340167"/>
                <a:gd name="connsiteY70" fmla="*/ 962025 h 2283142"/>
                <a:gd name="connsiteX71" fmla="*/ 173355 w 1340167"/>
                <a:gd name="connsiteY71" fmla="*/ 929640 h 2283142"/>
                <a:gd name="connsiteX72" fmla="*/ 178118 w 1340167"/>
                <a:gd name="connsiteY72" fmla="*/ 919163 h 2283142"/>
                <a:gd name="connsiteX73" fmla="*/ 168593 w 1340167"/>
                <a:gd name="connsiteY73" fmla="*/ 902970 h 2283142"/>
                <a:gd name="connsiteX74" fmla="*/ 195263 w 1340167"/>
                <a:gd name="connsiteY74" fmla="*/ 888683 h 2283142"/>
                <a:gd name="connsiteX75" fmla="*/ 177165 w 1340167"/>
                <a:gd name="connsiteY75" fmla="*/ 860108 h 2283142"/>
                <a:gd name="connsiteX76" fmla="*/ 163830 w 1340167"/>
                <a:gd name="connsiteY76" fmla="*/ 864870 h 2283142"/>
                <a:gd name="connsiteX77" fmla="*/ 149543 w 1340167"/>
                <a:gd name="connsiteY77" fmla="*/ 901065 h 2283142"/>
                <a:gd name="connsiteX78" fmla="*/ 154305 w 1340167"/>
                <a:gd name="connsiteY78" fmla="*/ 913448 h 2283142"/>
                <a:gd name="connsiteX79" fmla="*/ 146685 w 1340167"/>
                <a:gd name="connsiteY79" fmla="*/ 922973 h 2283142"/>
                <a:gd name="connsiteX80" fmla="*/ 138113 w 1340167"/>
                <a:gd name="connsiteY80" fmla="*/ 922020 h 2283142"/>
                <a:gd name="connsiteX81" fmla="*/ 86678 w 1340167"/>
                <a:gd name="connsiteY81" fmla="*/ 863918 h 2283142"/>
                <a:gd name="connsiteX82" fmla="*/ 93345 w 1340167"/>
                <a:gd name="connsiteY82" fmla="*/ 810578 h 2283142"/>
                <a:gd name="connsiteX83" fmla="*/ 82868 w 1340167"/>
                <a:gd name="connsiteY83" fmla="*/ 773430 h 2283142"/>
                <a:gd name="connsiteX84" fmla="*/ 20955 w 1340167"/>
                <a:gd name="connsiteY84" fmla="*/ 651510 h 2283142"/>
                <a:gd name="connsiteX85" fmla="*/ 28575 w 1340167"/>
                <a:gd name="connsiteY85" fmla="*/ 549593 h 2283142"/>
                <a:gd name="connsiteX86" fmla="*/ 50482 w 1340167"/>
                <a:gd name="connsiteY86" fmla="*/ 515303 h 2283142"/>
                <a:gd name="connsiteX87" fmla="*/ 52388 w 1340167"/>
                <a:gd name="connsiteY87" fmla="*/ 454343 h 2283142"/>
                <a:gd name="connsiteX88" fmla="*/ 0 w 1340167"/>
                <a:gd name="connsiteY88" fmla="*/ 348615 h 2283142"/>
                <a:gd name="connsiteX89" fmla="*/ 2858 w 1340167"/>
                <a:gd name="connsiteY89" fmla="*/ 299085 h 2283142"/>
                <a:gd name="connsiteX90" fmla="*/ 68580 w 1340167"/>
                <a:gd name="connsiteY90" fmla="*/ 227648 h 2283142"/>
                <a:gd name="connsiteX91" fmla="*/ 84773 w 1340167"/>
                <a:gd name="connsiteY91" fmla="*/ 204788 h 2283142"/>
                <a:gd name="connsiteX92" fmla="*/ 83820 w 1340167"/>
                <a:gd name="connsiteY92" fmla="*/ 191453 h 2283142"/>
                <a:gd name="connsiteX93" fmla="*/ 121920 w 1340167"/>
                <a:gd name="connsiteY93" fmla="*/ 103823 h 2283142"/>
                <a:gd name="connsiteX94" fmla="*/ 122873 w 1340167"/>
                <a:gd name="connsiteY94" fmla="*/ 23813 h 2283142"/>
                <a:gd name="connsiteX95" fmla="*/ 131445 w 1340167"/>
                <a:gd name="connsiteY95" fmla="*/ 0 h 2283142"/>
                <a:gd name="connsiteX96" fmla="*/ 761048 w 1340167"/>
                <a:gd name="connsiteY96" fmla="*/ 177165 h 2283142"/>
                <a:gd name="connsiteX97" fmla="*/ 604838 w 1340167"/>
                <a:gd name="connsiteY97" fmla="*/ 778193 h 2283142"/>
                <a:gd name="connsiteX98" fmla="*/ 615315 w 1340167"/>
                <a:gd name="connsiteY98" fmla="*/ 811530 h 2283142"/>
                <a:gd name="connsiteX99" fmla="*/ 1285875 w 1340167"/>
                <a:gd name="connsiteY99" fmla="*/ 1811655 h 2283142"/>
                <a:gd name="connsiteX100" fmla="*/ 1277303 w 1340167"/>
                <a:gd name="connsiteY100" fmla="*/ 1831658 h 2283142"/>
                <a:gd name="connsiteX101" fmla="*/ 1289685 w 1340167"/>
                <a:gd name="connsiteY101" fmla="*/ 1864043 h 2283142"/>
                <a:gd name="connsiteX102" fmla="*/ 1303020 w 1340167"/>
                <a:gd name="connsiteY102" fmla="*/ 1881188 h 2283142"/>
                <a:gd name="connsiteX103" fmla="*/ 1314450 w 1340167"/>
                <a:gd name="connsiteY103" fmla="*/ 1936433 h 2283142"/>
                <a:gd name="connsiteX104" fmla="*/ 1336358 w 1340167"/>
                <a:gd name="connsiteY104" fmla="*/ 1960245 h 2283142"/>
                <a:gd name="connsiteX105" fmla="*/ 1340168 w 1340167"/>
                <a:gd name="connsiteY105" fmla="*/ 1978343 h 2283142"/>
                <a:gd name="connsiteX106" fmla="*/ 1327785 w 1340167"/>
                <a:gd name="connsiteY106" fmla="*/ 1990725 h 2283142"/>
                <a:gd name="connsiteX107" fmla="*/ 1282065 w 1340167"/>
                <a:gd name="connsiteY107" fmla="*/ 2006918 h 2283142"/>
                <a:gd name="connsiteX108" fmla="*/ 1259205 w 1340167"/>
                <a:gd name="connsiteY108" fmla="*/ 2041208 h 2283142"/>
                <a:gd name="connsiteX109" fmla="*/ 1243965 w 1340167"/>
                <a:gd name="connsiteY109" fmla="*/ 2107883 h 2283142"/>
                <a:gd name="connsiteX110" fmla="*/ 1221105 w 1340167"/>
                <a:gd name="connsiteY110" fmla="*/ 2138363 h 2283142"/>
                <a:gd name="connsiteX111" fmla="*/ 1205865 w 1340167"/>
                <a:gd name="connsiteY111" fmla="*/ 2141220 h 2283142"/>
                <a:gd name="connsiteX112" fmla="*/ 1195388 w 1340167"/>
                <a:gd name="connsiteY112" fmla="*/ 2206943 h 2283142"/>
                <a:gd name="connsiteX113" fmla="*/ 1205865 w 1340167"/>
                <a:gd name="connsiteY113" fmla="*/ 2222183 h 2283142"/>
                <a:gd name="connsiteX114" fmla="*/ 1223010 w 1340167"/>
                <a:gd name="connsiteY114" fmla="*/ 2224088 h 2283142"/>
                <a:gd name="connsiteX115" fmla="*/ 1232535 w 1340167"/>
                <a:gd name="connsiteY115" fmla="*/ 2239328 h 2283142"/>
                <a:gd name="connsiteX116" fmla="*/ 1224915 w 1340167"/>
                <a:gd name="connsiteY116" fmla="*/ 2262188 h 2283142"/>
                <a:gd name="connsiteX117" fmla="*/ 1196340 w 1340167"/>
                <a:gd name="connsiteY117" fmla="*/ 2283143 h 2283142"/>
                <a:gd name="connsiteX118" fmla="*/ 1175385 w 1340167"/>
                <a:gd name="connsiteY118" fmla="*/ 2282190 h 2283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</a:cxnLst>
              <a:rect l="l" t="t" r="r" b="b"/>
              <a:pathLst>
                <a:path w="1340167" h="2283142">
                  <a:moveTo>
                    <a:pt x="527685" y="2073593"/>
                  </a:moveTo>
                  <a:lnTo>
                    <a:pt x="560070" y="2123123"/>
                  </a:lnTo>
                  <a:lnTo>
                    <a:pt x="546735" y="2124075"/>
                  </a:lnTo>
                  <a:lnTo>
                    <a:pt x="529590" y="2105978"/>
                  </a:lnTo>
                  <a:close/>
                  <a:moveTo>
                    <a:pt x="545783" y="1980248"/>
                  </a:moveTo>
                  <a:lnTo>
                    <a:pt x="562928" y="2019300"/>
                  </a:lnTo>
                  <a:lnTo>
                    <a:pt x="587693" y="2028825"/>
                  </a:lnTo>
                  <a:lnTo>
                    <a:pt x="594360" y="2023110"/>
                  </a:lnTo>
                  <a:lnTo>
                    <a:pt x="581978" y="1999298"/>
                  </a:lnTo>
                  <a:lnTo>
                    <a:pt x="557213" y="1976438"/>
                  </a:lnTo>
                  <a:close/>
                  <a:moveTo>
                    <a:pt x="356235" y="1799273"/>
                  </a:moveTo>
                  <a:lnTo>
                    <a:pt x="356235" y="1822133"/>
                  </a:lnTo>
                  <a:lnTo>
                    <a:pt x="375285" y="1833563"/>
                  </a:lnTo>
                  <a:lnTo>
                    <a:pt x="417195" y="1831658"/>
                  </a:lnTo>
                  <a:lnTo>
                    <a:pt x="426720" y="1822133"/>
                  </a:lnTo>
                  <a:lnTo>
                    <a:pt x="397193" y="1820228"/>
                  </a:lnTo>
                  <a:close/>
                  <a:moveTo>
                    <a:pt x="300038" y="1800225"/>
                  </a:moveTo>
                  <a:lnTo>
                    <a:pt x="331470" y="1804988"/>
                  </a:lnTo>
                  <a:lnTo>
                    <a:pt x="344805" y="1825943"/>
                  </a:lnTo>
                  <a:lnTo>
                    <a:pt x="308610" y="1825943"/>
                  </a:lnTo>
                  <a:close/>
                  <a:moveTo>
                    <a:pt x="756285" y="2233613"/>
                  </a:moveTo>
                  <a:lnTo>
                    <a:pt x="746760" y="2205038"/>
                  </a:lnTo>
                  <a:lnTo>
                    <a:pt x="748665" y="2176463"/>
                  </a:lnTo>
                  <a:lnTo>
                    <a:pt x="744855" y="2101215"/>
                  </a:lnTo>
                  <a:lnTo>
                    <a:pt x="727710" y="2055495"/>
                  </a:lnTo>
                  <a:lnTo>
                    <a:pt x="716280" y="2042160"/>
                  </a:lnTo>
                  <a:lnTo>
                    <a:pt x="710565" y="2027873"/>
                  </a:lnTo>
                  <a:lnTo>
                    <a:pt x="643890" y="1945958"/>
                  </a:lnTo>
                  <a:lnTo>
                    <a:pt x="609600" y="1946910"/>
                  </a:lnTo>
                  <a:lnTo>
                    <a:pt x="590550" y="1928813"/>
                  </a:lnTo>
                  <a:lnTo>
                    <a:pt x="601028" y="1911668"/>
                  </a:lnTo>
                  <a:lnTo>
                    <a:pt x="594360" y="1876425"/>
                  </a:lnTo>
                  <a:lnTo>
                    <a:pt x="573405" y="1864995"/>
                  </a:lnTo>
                  <a:lnTo>
                    <a:pt x="536258" y="1859280"/>
                  </a:lnTo>
                  <a:lnTo>
                    <a:pt x="509588" y="1846898"/>
                  </a:lnTo>
                  <a:lnTo>
                    <a:pt x="495300" y="1828800"/>
                  </a:lnTo>
                  <a:lnTo>
                    <a:pt x="452438" y="1765935"/>
                  </a:lnTo>
                  <a:lnTo>
                    <a:pt x="426720" y="1744980"/>
                  </a:lnTo>
                  <a:lnTo>
                    <a:pt x="391478" y="1740218"/>
                  </a:lnTo>
                  <a:lnTo>
                    <a:pt x="361950" y="1718310"/>
                  </a:lnTo>
                  <a:lnTo>
                    <a:pt x="317183" y="1704023"/>
                  </a:lnTo>
                  <a:lnTo>
                    <a:pt x="290513" y="1701165"/>
                  </a:lnTo>
                  <a:lnTo>
                    <a:pt x="266700" y="1677353"/>
                  </a:lnTo>
                  <a:lnTo>
                    <a:pt x="268605" y="1650683"/>
                  </a:lnTo>
                  <a:lnTo>
                    <a:pt x="276225" y="1604963"/>
                  </a:lnTo>
                  <a:lnTo>
                    <a:pt x="293370" y="1556385"/>
                  </a:lnTo>
                  <a:lnTo>
                    <a:pt x="280035" y="1541145"/>
                  </a:lnTo>
                  <a:lnTo>
                    <a:pt x="241935" y="1451610"/>
                  </a:lnTo>
                  <a:lnTo>
                    <a:pt x="216218" y="1416368"/>
                  </a:lnTo>
                  <a:lnTo>
                    <a:pt x="212408" y="1387793"/>
                  </a:lnTo>
                  <a:lnTo>
                    <a:pt x="197168" y="1365885"/>
                  </a:lnTo>
                  <a:lnTo>
                    <a:pt x="199073" y="1342073"/>
                  </a:lnTo>
                  <a:lnTo>
                    <a:pt x="180023" y="1294448"/>
                  </a:lnTo>
                  <a:lnTo>
                    <a:pt x="152400" y="1268730"/>
                  </a:lnTo>
                  <a:lnTo>
                    <a:pt x="158115" y="1201103"/>
                  </a:lnTo>
                  <a:lnTo>
                    <a:pt x="180975" y="1193483"/>
                  </a:lnTo>
                  <a:lnTo>
                    <a:pt x="198120" y="1163955"/>
                  </a:lnTo>
                  <a:lnTo>
                    <a:pt x="194310" y="1133475"/>
                  </a:lnTo>
                  <a:lnTo>
                    <a:pt x="184785" y="1124903"/>
                  </a:lnTo>
                  <a:lnTo>
                    <a:pt x="160973" y="1124903"/>
                  </a:lnTo>
                  <a:lnTo>
                    <a:pt x="137160" y="1093470"/>
                  </a:lnTo>
                  <a:lnTo>
                    <a:pt x="122873" y="1060133"/>
                  </a:lnTo>
                  <a:lnTo>
                    <a:pt x="122873" y="988695"/>
                  </a:lnTo>
                  <a:lnTo>
                    <a:pt x="134303" y="948690"/>
                  </a:lnTo>
                  <a:lnTo>
                    <a:pt x="136208" y="928688"/>
                  </a:lnTo>
                  <a:lnTo>
                    <a:pt x="160020" y="930593"/>
                  </a:lnTo>
                  <a:lnTo>
                    <a:pt x="159068" y="945833"/>
                  </a:lnTo>
                  <a:lnTo>
                    <a:pt x="151448" y="952500"/>
                  </a:lnTo>
                  <a:lnTo>
                    <a:pt x="151448" y="976313"/>
                  </a:lnTo>
                  <a:lnTo>
                    <a:pt x="186690" y="1006793"/>
                  </a:lnTo>
                  <a:lnTo>
                    <a:pt x="186690" y="962025"/>
                  </a:lnTo>
                  <a:lnTo>
                    <a:pt x="173355" y="929640"/>
                  </a:lnTo>
                  <a:lnTo>
                    <a:pt x="178118" y="919163"/>
                  </a:lnTo>
                  <a:lnTo>
                    <a:pt x="168593" y="902970"/>
                  </a:lnTo>
                  <a:lnTo>
                    <a:pt x="195263" y="888683"/>
                  </a:lnTo>
                  <a:lnTo>
                    <a:pt x="177165" y="860108"/>
                  </a:lnTo>
                  <a:lnTo>
                    <a:pt x="163830" y="864870"/>
                  </a:lnTo>
                  <a:lnTo>
                    <a:pt x="149543" y="901065"/>
                  </a:lnTo>
                  <a:lnTo>
                    <a:pt x="154305" y="913448"/>
                  </a:lnTo>
                  <a:lnTo>
                    <a:pt x="146685" y="922973"/>
                  </a:lnTo>
                  <a:lnTo>
                    <a:pt x="138113" y="922020"/>
                  </a:lnTo>
                  <a:lnTo>
                    <a:pt x="86678" y="863918"/>
                  </a:lnTo>
                  <a:lnTo>
                    <a:pt x="93345" y="810578"/>
                  </a:lnTo>
                  <a:lnTo>
                    <a:pt x="82868" y="773430"/>
                  </a:lnTo>
                  <a:lnTo>
                    <a:pt x="20955" y="651510"/>
                  </a:lnTo>
                  <a:lnTo>
                    <a:pt x="28575" y="549593"/>
                  </a:lnTo>
                  <a:lnTo>
                    <a:pt x="50482" y="515303"/>
                  </a:lnTo>
                  <a:lnTo>
                    <a:pt x="52388" y="454343"/>
                  </a:lnTo>
                  <a:lnTo>
                    <a:pt x="0" y="348615"/>
                  </a:lnTo>
                  <a:lnTo>
                    <a:pt x="2858" y="299085"/>
                  </a:lnTo>
                  <a:lnTo>
                    <a:pt x="68580" y="227648"/>
                  </a:lnTo>
                  <a:lnTo>
                    <a:pt x="84773" y="204788"/>
                  </a:lnTo>
                  <a:lnTo>
                    <a:pt x="83820" y="191453"/>
                  </a:lnTo>
                  <a:lnTo>
                    <a:pt x="121920" y="103823"/>
                  </a:lnTo>
                  <a:lnTo>
                    <a:pt x="122873" y="23813"/>
                  </a:lnTo>
                  <a:lnTo>
                    <a:pt x="131445" y="0"/>
                  </a:lnTo>
                  <a:lnTo>
                    <a:pt x="761048" y="177165"/>
                  </a:lnTo>
                  <a:lnTo>
                    <a:pt x="604838" y="778193"/>
                  </a:lnTo>
                  <a:lnTo>
                    <a:pt x="615315" y="811530"/>
                  </a:lnTo>
                  <a:lnTo>
                    <a:pt x="1285875" y="1811655"/>
                  </a:lnTo>
                  <a:lnTo>
                    <a:pt x="1277303" y="1831658"/>
                  </a:lnTo>
                  <a:lnTo>
                    <a:pt x="1289685" y="1864043"/>
                  </a:lnTo>
                  <a:lnTo>
                    <a:pt x="1303020" y="1881188"/>
                  </a:lnTo>
                  <a:lnTo>
                    <a:pt x="1314450" y="1936433"/>
                  </a:lnTo>
                  <a:lnTo>
                    <a:pt x="1336358" y="1960245"/>
                  </a:lnTo>
                  <a:lnTo>
                    <a:pt x="1340168" y="1978343"/>
                  </a:lnTo>
                  <a:lnTo>
                    <a:pt x="1327785" y="1990725"/>
                  </a:lnTo>
                  <a:lnTo>
                    <a:pt x="1282065" y="2006918"/>
                  </a:lnTo>
                  <a:lnTo>
                    <a:pt x="1259205" y="2041208"/>
                  </a:lnTo>
                  <a:lnTo>
                    <a:pt x="1243965" y="2107883"/>
                  </a:lnTo>
                  <a:lnTo>
                    <a:pt x="1221105" y="2138363"/>
                  </a:lnTo>
                  <a:lnTo>
                    <a:pt x="1205865" y="2141220"/>
                  </a:lnTo>
                  <a:lnTo>
                    <a:pt x="1195388" y="2206943"/>
                  </a:lnTo>
                  <a:lnTo>
                    <a:pt x="1205865" y="2222183"/>
                  </a:lnTo>
                  <a:lnTo>
                    <a:pt x="1223010" y="2224088"/>
                  </a:lnTo>
                  <a:lnTo>
                    <a:pt x="1232535" y="2239328"/>
                  </a:lnTo>
                  <a:lnTo>
                    <a:pt x="1224915" y="2262188"/>
                  </a:lnTo>
                  <a:lnTo>
                    <a:pt x="1196340" y="2283143"/>
                  </a:lnTo>
                  <a:lnTo>
                    <a:pt x="1175385" y="2282190"/>
                  </a:lnTo>
                  <a:close/>
                </a:path>
              </a:pathLst>
            </a:custGeom>
            <a:solidFill>
              <a:srgbClr val="D0D0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AD8E39DB-6B6A-19BE-16BE-F5CB4F545870}"/>
                </a:ext>
              </a:extLst>
            </p:cNvPr>
            <p:cNvSpPr/>
            <p:nvPr/>
          </p:nvSpPr>
          <p:spPr>
            <a:xfrm>
              <a:off x="3946207" y="2873692"/>
              <a:ext cx="1209674" cy="958214"/>
            </a:xfrm>
            <a:custGeom>
              <a:avLst/>
              <a:gdLst>
                <a:gd name="connsiteX0" fmla="*/ 1150620 w 1209674"/>
                <a:gd name="connsiteY0" fmla="*/ 958215 h 958214"/>
                <a:gd name="connsiteX1" fmla="*/ 993458 w 1209674"/>
                <a:gd name="connsiteY1" fmla="*/ 948690 h 958214"/>
                <a:gd name="connsiteX2" fmla="*/ 501015 w 1209674"/>
                <a:gd name="connsiteY2" fmla="*/ 902970 h 958214"/>
                <a:gd name="connsiteX3" fmla="*/ 0 w 1209674"/>
                <a:gd name="connsiteY3" fmla="*/ 841058 h 958214"/>
                <a:gd name="connsiteX4" fmla="*/ 109537 w 1209674"/>
                <a:gd name="connsiteY4" fmla="*/ 0 h 958214"/>
                <a:gd name="connsiteX5" fmla="*/ 537210 w 1209674"/>
                <a:gd name="connsiteY5" fmla="*/ 54292 h 958214"/>
                <a:gd name="connsiteX6" fmla="*/ 894398 w 1209674"/>
                <a:gd name="connsiteY6" fmla="*/ 86678 h 958214"/>
                <a:gd name="connsiteX7" fmla="*/ 1209675 w 1209674"/>
                <a:gd name="connsiteY7" fmla="*/ 109538 h 958214"/>
                <a:gd name="connsiteX8" fmla="*/ 1196340 w 1209674"/>
                <a:gd name="connsiteY8" fmla="*/ 320040 h 958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09674" h="958214">
                  <a:moveTo>
                    <a:pt x="1150620" y="958215"/>
                  </a:moveTo>
                  <a:lnTo>
                    <a:pt x="993458" y="948690"/>
                  </a:lnTo>
                  <a:lnTo>
                    <a:pt x="501015" y="902970"/>
                  </a:lnTo>
                  <a:lnTo>
                    <a:pt x="0" y="841058"/>
                  </a:lnTo>
                  <a:lnTo>
                    <a:pt x="109537" y="0"/>
                  </a:lnTo>
                  <a:lnTo>
                    <a:pt x="537210" y="54292"/>
                  </a:lnTo>
                  <a:lnTo>
                    <a:pt x="894398" y="86678"/>
                  </a:lnTo>
                  <a:lnTo>
                    <a:pt x="1209675" y="109538"/>
                  </a:lnTo>
                  <a:lnTo>
                    <a:pt x="1196340" y="320040"/>
                  </a:lnTo>
                  <a:close/>
                </a:path>
              </a:pathLst>
            </a:custGeom>
            <a:solidFill>
              <a:srgbClr val="D0D0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90323D6B-4598-2557-A587-48156E8B6A6C}"/>
                </a:ext>
              </a:extLst>
            </p:cNvPr>
            <p:cNvSpPr/>
            <p:nvPr/>
          </p:nvSpPr>
          <p:spPr>
            <a:xfrm>
              <a:off x="9565956" y="2326004"/>
              <a:ext cx="286702" cy="280987"/>
            </a:xfrm>
            <a:custGeom>
              <a:avLst/>
              <a:gdLst>
                <a:gd name="connsiteX0" fmla="*/ 282893 w 286702"/>
                <a:gd name="connsiteY0" fmla="*/ 130492 h 280987"/>
                <a:gd name="connsiteX1" fmla="*/ 286703 w 286702"/>
                <a:gd name="connsiteY1" fmla="*/ 120015 h 280987"/>
                <a:gd name="connsiteX2" fmla="*/ 256223 w 286702"/>
                <a:gd name="connsiteY2" fmla="*/ 2858 h 280987"/>
                <a:gd name="connsiteX3" fmla="*/ 255270 w 286702"/>
                <a:gd name="connsiteY3" fmla="*/ 0 h 280987"/>
                <a:gd name="connsiteX4" fmla="*/ 113348 w 286702"/>
                <a:gd name="connsiteY4" fmla="*/ 32385 h 280987"/>
                <a:gd name="connsiteX5" fmla="*/ 113348 w 286702"/>
                <a:gd name="connsiteY5" fmla="*/ 39053 h 280987"/>
                <a:gd name="connsiteX6" fmla="*/ 104775 w 286702"/>
                <a:gd name="connsiteY6" fmla="*/ 41910 h 280987"/>
                <a:gd name="connsiteX7" fmla="*/ 100013 w 286702"/>
                <a:gd name="connsiteY7" fmla="*/ 35242 h 280987"/>
                <a:gd name="connsiteX8" fmla="*/ 0 w 286702"/>
                <a:gd name="connsiteY8" fmla="*/ 58103 h 280987"/>
                <a:gd name="connsiteX9" fmla="*/ 26670 w 286702"/>
                <a:gd name="connsiteY9" fmla="*/ 213360 h 280987"/>
                <a:gd name="connsiteX10" fmla="*/ 43815 w 286702"/>
                <a:gd name="connsiteY10" fmla="*/ 227648 h 280987"/>
                <a:gd name="connsiteX11" fmla="*/ 10478 w 286702"/>
                <a:gd name="connsiteY11" fmla="*/ 260033 h 280987"/>
                <a:gd name="connsiteX12" fmla="*/ 26670 w 286702"/>
                <a:gd name="connsiteY12" fmla="*/ 280988 h 280987"/>
                <a:gd name="connsiteX13" fmla="*/ 78105 w 286702"/>
                <a:gd name="connsiteY13" fmla="*/ 238125 h 280987"/>
                <a:gd name="connsiteX14" fmla="*/ 94298 w 286702"/>
                <a:gd name="connsiteY14" fmla="*/ 225742 h 280987"/>
                <a:gd name="connsiteX15" fmla="*/ 101918 w 286702"/>
                <a:gd name="connsiteY15" fmla="*/ 225742 h 280987"/>
                <a:gd name="connsiteX16" fmla="*/ 124778 w 286702"/>
                <a:gd name="connsiteY16" fmla="*/ 196215 h 280987"/>
                <a:gd name="connsiteX17" fmla="*/ 138113 w 286702"/>
                <a:gd name="connsiteY17" fmla="*/ 197167 h 280987"/>
                <a:gd name="connsiteX18" fmla="*/ 165735 w 286702"/>
                <a:gd name="connsiteY18" fmla="*/ 186690 h 280987"/>
                <a:gd name="connsiteX19" fmla="*/ 185738 w 286702"/>
                <a:gd name="connsiteY19" fmla="*/ 186690 h 280987"/>
                <a:gd name="connsiteX20" fmla="*/ 236220 w 286702"/>
                <a:gd name="connsiteY20" fmla="*/ 160973 h 280987"/>
                <a:gd name="connsiteX21" fmla="*/ 262890 w 286702"/>
                <a:gd name="connsiteY21" fmla="*/ 152400 h 280987"/>
                <a:gd name="connsiteX22" fmla="*/ 272415 w 286702"/>
                <a:gd name="connsiteY22" fmla="*/ 142875 h 280987"/>
                <a:gd name="connsiteX23" fmla="*/ 286703 w 286702"/>
                <a:gd name="connsiteY23" fmla="*/ 147638 h 280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86702" h="280987">
                  <a:moveTo>
                    <a:pt x="282893" y="130492"/>
                  </a:moveTo>
                  <a:lnTo>
                    <a:pt x="286703" y="120015"/>
                  </a:lnTo>
                  <a:lnTo>
                    <a:pt x="256223" y="2858"/>
                  </a:lnTo>
                  <a:lnTo>
                    <a:pt x="255270" y="0"/>
                  </a:lnTo>
                  <a:lnTo>
                    <a:pt x="113348" y="32385"/>
                  </a:lnTo>
                  <a:lnTo>
                    <a:pt x="113348" y="39053"/>
                  </a:lnTo>
                  <a:lnTo>
                    <a:pt x="104775" y="41910"/>
                  </a:lnTo>
                  <a:lnTo>
                    <a:pt x="100013" y="35242"/>
                  </a:lnTo>
                  <a:lnTo>
                    <a:pt x="0" y="58103"/>
                  </a:lnTo>
                  <a:lnTo>
                    <a:pt x="26670" y="213360"/>
                  </a:lnTo>
                  <a:lnTo>
                    <a:pt x="43815" y="227648"/>
                  </a:lnTo>
                  <a:lnTo>
                    <a:pt x="10478" y="260033"/>
                  </a:lnTo>
                  <a:lnTo>
                    <a:pt x="26670" y="280988"/>
                  </a:lnTo>
                  <a:lnTo>
                    <a:pt x="78105" y="238125"/>
                  </a:lnTo>
                  <a:lnTo>
                    <a:pt x="94298" y="225742"/>
                  </a:lnTo>
                  <a:lnTo>
                    <a:pt x="101918" y="225742"/>
                  </a:lnTo>
                  <a:lnTo>
                    <a:pt x="124778" y="196215"/>
                  </a:lnTo>
                  <a:lnTo>
                    <a:pt x="138113" y="197167"/>
                  </a:lnTo>
                  <a:lnTo>
                    <a:pt x="165735" y="186690"/>
                  </a:lnTo>
                  <a:lnTo>
                    <a:pt x="185738" y="186690"/>
                  </a:lnTo>
                  <a:lnTo>
                    <a:pt x="236220" y="160973"/>
                  </a:lnTo>
                  <a:lnTo>
                    <a:pt x="262890" y="152400"/>
                  </a:lnTo>
                  <a:lnTo>
                    <a:pt x="272415" y="142875"/>
                  </a:lnTo>
                  <a:lnTo>
                    <a:pt x="286703" y="147638"/>
                  </a:lnTo>
                  <a:close/>
                </a:path>
              </a:pathLst>
            </a:custGeom>
            <a:solidFill>
              <a:srgbClr val="D0D0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AD101E73-A526-88A2-D426-6BEC5D7D1BF1}"/>
                </a:ext>
              </a:extLst>
            </p:cNvPr>
            <p:cNvSpPr/>
            <p:nvPr/>
          </p:nvSpPr>
          <p:spPr>
            <a:xfrm>
              <a:off x="9319259" y="2910840"/>
              <a:ext cx="176212" cy="291465"/>
            </a:xfrm>
            <a:custGeom>
              <a:avLst/>
              <a:gdLst>
                <a:gd name="connsiteX0" fmla="*/ 40957 w 176212"/>
                <a:gd name="connsiteY0" fmla="*/ 0 h 291465"/>
                <a:gd name="connsiteX1" fmla="*/ 25717 w 176212"/>
                <a:gd name="connsiteY1" fmla="*/ 2857 h 291465"/>
                <a:gd name="connsiteX2" fmla="*/ 11430 w 176212"/>
                <a:gd name="connsiteY2" fmla="*/ 13335 h 291465"/>
                <a:gd name="connsiteX3" fmla="*/ 0 w 176212"/>
                <a:gd name="connsiteY3" fmla="*/ 33338 h 291465"/>
                <a:gd name="connsiteX4" fmla="*/ 72390 w 176212"/>
                <a:gd name="connsiteY4" fmla="*/ 291465 h 291465"/>
                <a:gd name="connsiteX5" fmla="*/ 176213 w 176212"/>
                <a:gd name="connsiteY5" fmla="*/ 269557 h 291465"/>
                <a:gd name="connsiteX6" fmla="*/ 155257 w 176212"/>
                <a:gd name="connsiteY6" fmla="*/ 197167 h 291465"/>
                <a:gd name="connsiteX7" fmla="*/ 144780 w 176212"/>
                <a:gd name="connsiteY7" fmla="*/ 201930 h 291465"/>
                <a:gd name="connsiteX8" fmla="*/ 113347 w 176212"/>
                <a:gd name="connsiteY8" fmla="*/ 177165 h 291465"/>
                <a:gd name="connsiteX9" fmla="*/ 108585 w 176212"/>
                <a:gd name="connsiteY9" fmla="*/ 160972 h 291465"/>
                <a:gd name="connsiteX10" fmla="*/ 91440 w 176212"/>
                <a:gd name="connsiteY10" fmla="*/ 151447 h 291465"/>
                <a:gd name="connsiteX11" fmla="*/ 89535 w 176212"/>
                <a:gd name="connsiteY11" fmla="*/ 116205 h 291465"/>
                <a:gd name="connsiteX12" fmla="*/ 69532 w 176212"/>
                <a:gd name="connsiteY12" fmla="*/ 95250 h 291465"/>
                <a:gd name="connsiteX13" fmla="*/ 59055 w 176212"/>
                <a:gd name="connsiteY13" fmla="*/ 87630 h 291465"/>
                <a:gd name="connsiteX14" fmla="*/ 47625 w 176212"/>
                <a:gd name="connsiteY14" fmla="*/ 77152 h 291465"/>
                <a:gd name="connsiteX15" fmla="*/ 43815 w 176212"/>
                <a:gd name="connsiteY15" fmla="*/ 46672 h 291465"/>
                <a:gd name="connsiteX16" fmla="*/ 46672 w 176212"/>
                <a:gd name="connsiteY16" fmla="*/ 26670 h 291465"/>
                <a:gd name="connsiteX17" fmla="*/ 56197 w 176212"/>
                <a:gd name="connsiteY17" fmla="*/ 5715 h 291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76212" h="291465">
                  <a:moveTo>
                    <a:pt x="40957" y="0"/>
                  </a:moveTo>
                  <a:lnTo>
                    <a:pt x="25717" y="2857"/>
                  </a:lnTo>
                  <a:lnTo>
                    <a:pt x="11430" y="13335"/>
                  </a:lnTo>
                  <a:lnTo>
                    <a:pt x="0" y="33338"/>
                  </a:lnTo>
                  <a:lnTo>
                    <a:pt x="72390" y="291465"/>
                  </a:lnTo>
                  <a:lnTo>
                    <a:pt x="176213" y="269557"/>
                  </a:lnTo>
                  <a:lnTo>
                    <a:pt x="155257" y="197167"/>
                  </a:lnTo>
                  <a:lnTo>
                    <a:pt x="144780" y="201930"/>
                  </a:lnTo>
                  <a:lnTo>
                    <a:pt x="113347" y="177165"/>
                  </a:lnTo>
                  <a:lnTo>
                    <a:pt x="108585" y="160972"/>
                  </a:lnTo>
                  <a:lnTo>
                    <a:pt x="91440" y="151447"/>
                  </a:lnTo>
                  <a:lnTo>
                    <a:pt x="89535" y="116205"/>
                  </a:lnTo>
                  <a:lnTo>
                    <a:pt x="69532" y="95250"/>
                  </a:lnTo>
                  <a:lnTo>
                    <a:pt x="59055" y="87630"/>
                  </a:lnTo>
                  <a:lnTo>
                    <a:pt x="47625" y="77152"/>
                  </a:lnTo>
                  <a:lnTo>
                    <a:pt x="43815" y="46672"/>
                  </a:lnTo>
                  <a:lnTo>
                    <a:pt x="46672" y="26670"/>
                  </a:lnTo>
                  <a:lnTo>
                    <a:pt x="56197" y="5715"/>
                  </a:lnTo>
                  <a:close/>
                </a:path>
              </a:pathLst>
            </a:custGeom>
            <a:solidFill>
              <a:srgbClr val="D0D0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DE1B36FE-E948-7433-30A3-E676318E4B77}"/>
                </a:ext>
              </a:extLst>
            </p:cNvPr>
            <p:cNvSpPr/>
            <p:nvPr/>
          </p:nvSpPr>
          <p:spPr>
            <a:xfrm>
              <a:off x="7608569" y="4976812"/>
              <a:ext cx="1521142" cy="1296352"/>
            </a:xfrm>
            <a:custGeom>
              <a:avLst/>
              <a:gdLst>
                <a:gd name="connsiteX0" fmla="*/ 1080135 w 1521142"/>
                <a:gd name="connsiteY0" fmla="*/ 15240 h 1296352"/>
                <a:gd name="connsiteX1" fmla="*/ 1042035 w 1521142"/>
                <a:gd name="connsiteY1" fmla="*/ 8572 h 1296352"/>
                <a:gd name="connsiteX2" fmla="*/ 1025843 w 1521142"/>
                <a:gd name="connsiteY2" fmla="*/ 0 h 1296352"/>
                <a:gd name="connsiteX3" fmla="*/ 1004888 w 1521142"/>
                <a:gd name="connsiteY3" fmla="*/ 13335 h 1296352"/>
                <a:gd name="connsiteX4" fmla="*/ 1004888 w 1521142"/>
                <a:gd name="connsiteY4" fmla="*/ 37147 h 1296352"/>
                <a:gd name="connsiteX5" fmla="*/ 1018223 w 1521142"/>
                <a:gd name="connsiteY5" fmla="*/ 57150 h 1296352"/>
                <a:gd name="connsiteX6" fmla="*/ 1013460 w 1521142"/>
                <a:gd name="connsiteY6" fmla="*/ 98107 h 1296352"/>
                <a:gd name="connsiteX7" fmla="*/ 993457 w 1521142"/>
                <a:gd name="connsiteY7" fmla="*/ 103822 h 1296352"/>
                <a:gd name="connsiteX8" fmla="*/ 983932 w 1521142"/>
                <a:gd name="connsiteY8" fmla="*/ 93345 h 1296352"/>
                <a:gd name="connsiteX9" fmla="*/ 978218 w 1521142"/>
                <a:gd name="connsiteY9" fmla="*/ 62865 h 1296352"/>
                <a:gd name="connsiteX10" fmla="*/ 501015 w 1521142"/>
                <a:gd name="connsiteY10" fmla="*/ 94297 h 1296352"/>
                <a:gd name="connsiteX11" fmla="*/ 469582 w 1521142"/>
                <a:gd name="connsiteY11" fmla="*/ 37147 h 1296352"/>
                <a:gd name="connsiteX12" fmla="*/ 4763 w 1521142"/>
                <a:gd name="connsiteY12" fmla="*/ 85725 h 1296352"/>
                <a:gd name="connsiteX13" fmla="*/ 0 w 1521142"/>
                <a:gd name="connsiteY13" fmla="*/ 113347 h 1296352"/>
                <a:gd name="connsiteX14" fmla="*/ 23813 w 1521142"/>
                <a:gd name="connsiteY14" fmla="*/ 140018 h 1296352"/>
                <a:gd name="connsiteX15" fmla="*/ 40005 w 1521142"/>
                <a:gd name="connsiteY15" fmla="*/ 146685 h 1296352"/>
                <a:gd name="connsiteX16" fmla="*/ 48578 w 1521142"/>
                <a:gd name="connsiteY16" fmla="*/ 158115 h 1296352"/>
                <a:gd name="connsiteX17" fmla="*/ 44768 w 1521142"/>
                <a:gd name="connsiteY17" fmla="*/ 227647 h 1296352"/>
                <a:gd name="connsiteX18" fmla="*/ 34290 w 1521142"/>
                <a:gd name="connsiteY18" fmla="*/ 233363 h 1296352"/>
                <a:gd name="connsiteX19" fmla="*/ 39053 w 1521142"/>
                <a:gd name="connsiteY19" fmla="*/ 237172 h 1296352"/>
                <a:gd name="connsiteX20" fmla="*/ 48578 w 1521142"/>
                <a:gd name="connsiteY20" fmla="*/ 234315 h 1296352"/>
                <a:gd name="connsiteX21" fmla="*/ 55245 w 1521142"/>
                <a:gd name="connsiteY21" fmla="*/ 226695 h 1296352"/>
                <a:gd name="connsiteX22" fmla="*/ 155257 w 1521142"/>
                <a:gd name="connsiteY22" fmla="*/ 200978 h 1296352"/>
                <a:gd name="connsiteX23" fmla="*/ 242888 w 1521142"/>
                <a:gd name="connsiteY23" fmla="*/ 196215 h 1296352"/>
                <a:gd name="connsiteX24" fmla="*/ 320040 w 1521142"/>
                <a:gd name="connsiteY24" fmla="*/ 214313 h 1296352"/>
                <a:gd name="connsiteX25" fmla="*/ 401003 w 1521142"/>
                <a:gd name="connsiteY25" fmla="*/ 261938 h 1296352"/>
                <a:gd name="connsiteX26" fmla="*/ 423863 w 1521142"/>
                <a:gd name="connsiteY26" fmla="*/ 269557 h 1296352"/>
                <a:gd name="connsiteX27" fmla="*/ 444818 w 1521142"/>
                <a:gd name="connsiteY27" fmla="*/ 288607 h 1296352"/>
                <a:gd name="connsiteX28" fmla="*/ 443865 w 1521142"/>
                <a:gd name="connsiteY28" fmla="*/ 314325 h 1296352"/>
                <a:gd name="connsiteX29" fmla="*/ 466725 w 1521142"/>
                <a:gd name="connsiteY29" fmla="*/ 314325 h 1296352"/>
                <a:gd name="connsiteX30" fmla="*/ 484823 w 1521142"/>
                <a:gd name="connsiteY30" fmla="*/ 304800 h 1296352"/>
                <a:gd name="connsiteX31" fmla="*/ 508635 w 1521142"/>
                <a:gd name="connsiteY31" fmla="*/ 305753 h 1296352"/>
                <a:gd name="connsiteX32" fmla="*/ 527685 w 1521142"/>
                <a:gd name="connsiteY32" fmla="*/ 298132 h 1296352"/>
                <a:gd name="connsiteX33" fmla="*/ 555307 w 1521142"/>
                <a:gd name="connsiteY33" fmla="*/ 279082 h 1296352"/>
                <a:gd name="connsiteX34" fmla="*/ 584835 w 1521142"/>
                <a:gd name="connsiteY34" fmla="*/ 251460 h 1296352"/>
                <a:gd name="connsiteX35" fmla="*/ 595313 w 1521142"/>
                <a:gd name="connsiteY35" fmla="*/ 247650 h 1296352"/>
                <a:gd name="connsiteX36" fmla="*/ 601028 w 1521142"/>
                <a:gd name="connsiteY36" fmla="*/ 252413 h 1296352"/>
                <a:gd name="connsiteX37" fmla="*/ 614363 w 1521142"/>
                <a:gd name="connsiteY37" fmla="*/ 252413 h 1296352"/>
                <a:gd name="connsiteX38" fmla="*/ 619125 w 1521142"/>
                <a:gd name="connsiteY38" fmla="*/ 244793 h 1296352"/>
                <a:gd name="connsiteX39" fmla="*/ 614363 w 1521142"/>
                <a:gd name="connsiteY39" fmla="*/ 233363 h 1296352"/>
                <a:gd name="connsiteX40" fmla="*/ 608648 w 1521142"/>
                <a:gd name="connsiteY40" fmla="*/ 227647 h 1296352"/>
                <a:gd name="connsiteX41" fmla="*/ 610553 w 1521142"/>
                <a:gd name="connsiteY41" fmla="*/ 220028 h 1296352"/>
                <a:gd name="connsiteX42" fmla="*/ 629603 w 1521142"/>
                <a:gd name="connsiteY42" fmla="*/ 209550 h 1296352"/>
                <a:gd name="connsiteX43" fmla="*/ 677228 w 1521142"/>
                <a:gd name="connsiteY43" fmla="*/ 205740 h 1296352"/>
                <a:gd name="connsiteX44" fmla="*/ 684848 w 1521142"/>
                <a:gd name="connsiteY44" fmla="*/ 215265 h 1296352"/>
                <a:gd name="connsiteX45" fmla="*/ 694373 w 1521142"/>
                <a:gd name="connsiteY45" fmla="*/ 216218 h 1296352"/>
                <a:gd name="connsiteX46" fmla="*/ 716280 w 1521142"/>
                <a:gd name="connsiteY46" fmla="*/ 225743 h 1296352"/>
                <a:gd name="connsiteX47" fmla="*/ 744855 w 1521142"/>
                <a:gd name="connsiteY47" fmla="*/ 242888 h 1296352"/>
                <a:gd name="connsiteX48" fmla="*/ 756285 w 1521142"/>
                <a:gd name="connsiteY48" fmla="*/ 259080 h 1296352"/>
                <a:gd name="connsiteX49" fmla="*/ 766763 w 1521142"/>
                <a:gd name="connsiteY49" fmla="*/ 270510 h 1296352"/>
                <a:gd name="connsiteX50" fmla="*/ 793432 w 1521142"/>
                <a:gd name="connsiteY50" fmla="*/ 283845 h 1296352"/>
                <a:gd name="connsiteX51" fmla="*/ 793432 w 1521142"/>
                <a:gd name="connsiteY51" fmla="*/ 306705 h 1296352"/>
                <a:gd name="connsiteX52" fmla="*/ 820103 w 1521142"/>
                <a:gd name="connsiteY52" fmla="*/ 324803 h 1296352"/>
                <a:gd name="connsiteX53" fmla="*/ 829628 w 1521142"/>
                <a:gd name="connsiteY53" fmla="*/ 325755 h 1296352"/>
                <a:gd name="connsiteX54" fmla="*/ 844868 w 1521142"/>
                <a:gd name="connsiteY54" fmla="*/ 339090 h 1296352"/>
                <a:gd name="connsiteX55" fmla="*/ 851535 w 1521142"/>
                <a:gd name="connsiteY55" fmla="*/ 354330 h 1296352"/>
                <a:gd name="connsiteX56" fmla="*/ 861060 w 1521142"/>
                <a:gd name="connsiteY56" fmla="*/ 356235 h 1296352"/>
                <a:gd name="connsiteX57" fmla="*/ 868680 w 1521142"/>
                <a:gd name="connsiteY57" fmla="*/ 376238 h 1296352"/>
                <a:gd name="connsiteX58" fmla="*/ 875348 w 1521142"/>
                <a:gd name="connsiteY58" fmla="*/ 381953 h 1296352"/>
                <a:gd name="connsiteX59" fmla="*/ 884873 w 1521142"/>
                <a:gd name="connsiteY59" fmla="*/ 371475 h 1296352"/>
                <a:gd name="connsiteX60" fmla="*/ 912495 w 1521142"/>
                <a:gd name="connsiteY60" fmla="*/ 372428 h 1296352"/>
                <a:gd name="connsiteX61" fmla="*/ 917257 w 1521142"/>
                <a:gd name="connsiteY61" fmla="*/ 385763 h 1296352"/>
                <a:gd name="connsiteX62" fmla="*/ 927735 w 1521142"/>
                <a:gd name="connsiteY62" fmla="*/ 394335 h 1296352"/>
                <a:gd name="connsiteX63" fmla="*/ 927735 w 1521142"/>
                <a:gd name="connsiteY63" fmla="*/ 406718 h 1296352"/>
                <a:gd name="connsiteX64" fmla="*/ 955357 w 1521142"/>
                <a:gd name="connsiteY64" fmla="*/ 427672 h 1296352"/>
                <a:gd name="connsiteX65" fmla="*/ 957263 w 1521142"/>
                <a:gd name="connsiteY65" fmla="*/ 519113 h 1296352"/>
                <a:gd name="connsiteX66" fmla="*/ 940118 w 1521142"/>
                <a:gd name="connsiteY66" fmla="*/ 574357 h 1296352"/>
                <a:gd name="connsiteX67" fmla="*/ 949643 w 1521142"/>
                <a:gd name="connsiteY67" fmla="*/ 585788 h 1296352"/>
                <a:gd name="connsiteX68" fmla="*/ 947738 w 1521142"/>
                <a:gd name="connsiteY68" fmla="*/ 618172 h 1296352"/>
                <a:gd name="connsiteX69" fmla="*/ 940118 w 1521142"/>
                <a:gd name="connsiteY69" fmla="*/ 631507 h 1296352"/>
                <a:gd name="connsiteX70" fmla="*/ 946785 w 1521142"/>
                <a:gd name="connsiteY70" fmla="*/ 642938 h 1296352"/>
                <a:gd name="connsiteX71" fmla="*/ 968693 w 1521142"/>
                <a:gd name="connsiteY71" fmla="*/ 664845 h 1296352"/>
                <a:gd name="connsiteX72" fmla="*/ 971550 w 1521142"/>
                <a:gd name="connsiteY72" fmla="*/ 679132 h 1296352"/>
                <a:gd name="connsiteX73" fmla="*/ 979170 w 1521142"/>
                <a:gd name="connsiteY73" fmla="*/ 688657 h 1296352"/>
                <a:gd name="connsiteX74" fmla="*/ 975360 w 1521142"/>
                <a:gd name="connsiteY74" fmla="*/ 670560 h 1296352"/>
                <a:gd name="connsiteX75" fmla="*/ 987743 w 1521142"/>
                <a:gd name="connsiteY75" fmla="*/ 664845 h 1296352"/>
                <a:gd name="connsiteX76" fmla="*/ 995363 w 1521142"/>
                <a:gd name="connsiteY76" fmla="*/ 630555 h 1296352"/>
                <a:gd name="connsiteX77" fmla="*/ 966788 w 1521142"/>
                <a:gd name="connsiteY77" fmla="*/ 619125 h 1296352"/>
                <a:gd name="connsiteX78" fmla="*/ 967740 w 1521142"/>
                <a:gd name="connsiteY78" fmla="*/ 613410 h 1296352"/>
                <a:gd name="connsiteX79" fmla="*/ 992505 w 1521142"/>
                <a:gd name="connsiteY79" fmla="*/ 609600 h 1296352"/>
                <a:gd name="connsiteX80" fmla="*/ 1001078 w 1521142"/>
                <a:gd name="connsiteY80" fmla="*/ 634365 h 1296352"/>
                <a:gd name="connsiteX81" fmla="*/ 1011555 w 1521142"/>
                <a:gd name="connsiteY81" fmla="*/ 640080 h 1296352"/>
                <a:gd name="connsiteX82" fmla="*/ 1012507 w 1521142"/>
                <a:gd name="connsiteY82" fmla="*/ 621030 h 1296352"/>
                <a:gd name="connsiteX83" fmla="*/ 1022985 w 1521142"/>
                <a:gd name="connsiteY83" fmla="*/ 623888 h 1296352"/>
                <a:gd name="connsiteX84" fmla="*/ 1028700 w 1521142"/>
                <a:gd name="connsiteY84" fmla="*/ 631507 h 1296352"/>
                <a:gd name="connsiteX85" fmla="*/ 1027748 w 1521142"/>
                <a:gd name="connsiteY85" fmla="*/ 638175 h 1296352"/>
                <a:gd name="connsiteX86" fmla="*/ 1000125 w 1521142"/>
                <a:gd name="connsiteY86" fmla="*/ 678180 h 1296352"/>
                <a:gd name="connsiteX87" fmla="*/ 998220 w 1521142"/>
                <a:gd name="connsiteY87" fmla="*/ 688657 h 1296352"/>
                <a:gd name="connsiteX88" fmla="*/ 982028 w 1521142"/>
                <a:gd name="connsiteY88" fmla="*/ 706755 h 1296352"/>
                <a:gd name="connsiteX89" fmla="*/ 982028 w 1521142"/>
                <a:gd name="connsiteY89" fmla="*/ 717232 h 1296352"/>
                <a:gd name="connsiteX90" fmla="*/ 1017270 w 1521142"/>
                <a:gd name="connsiteY90" fmla="*/ 753427 h 1296352"/>
                <a:gd name="connsiteX91" fmla="*/ 1067753 w 1521142"/>
                <a:gd name="connsiteY91" fmla="*/ 828675 h 1296352"/>
                <a:gd name="connsiteX92" fmla="*/ 1084898 w 1521142"/>
                <a:gd name="connsiteY92" fmla="*/ 848677 h 1296352"/>
                <a:gd name="connsiteX93" fmla="*/ 1084898 w 1521142"/>
                <a:gd name="connsiteY93" fmla="*/ 865823 h 1296352"/>
                <a:gd name="connsiteX94" fmla="*/ 1111568 w 1521142"/>
                <a:gd name="connsiteY94" fmla="*/ 909638 h 1296352"/>
                <a:gd name="connsiteX95" fmla="*/ 1133475 w 1521142"/>
                <a:gd name="connsiteY95" fmla="*/ 915352 h 1296352"/>
                <a:gd name="connsiteX96" fmla="*/ 1140143 w 1521142"/>
                <a:gd name="connsiteY96" fmla="*/ 903923 h 1296352"/>
                <a:gd name="connsiteX97" fmla="*/ 1120140 w 1521142"/>
                <a:gd name="connsiteY97" fmla="*/ 906780 h 1296352"/>
                <a:gd name="connsiteX98" fmla="*/ 1091565 w 1521142"/>
                <a:gd name="connsiteY98" fmla="*/ 863918 h 1296352"/>
                <a:gd name="connsiteX99" fmla="*/ 1093470 w 1521142"/>
                <a:gd name="connsiteY99" fmla="*/ 850582 h 1296352"/>
                <a:gd name="connsiteX100" fmla="*/ 1107757 w 1521142"/>
                <a:gd name="connsiteY100" fmla="*/ 842963 h 1296352"/>
                <a:gd name="connsiteX101" fmla="*/ 1107757 w 1521142"/>
                <a:gd name="connsiteY101" fmla="*/ 828675 h 1296352"/>
                <a:gd name="connsiteX102" fmla="*/ 1102043 w 1521142"/>
                <a:gd name="connsiteY102" fmla="*/ 816293 h 1296352"/>
                <a:gd name="connsiteX103" fmla="*/ 1110615 w 1521142"/>
                <a:gd name="connsiteY103" fmla="*/ 807720 h 1296352"/>
                <a:gd name="connsiteX104" fmla="*/ 1114425 w 1521142"/>
                <a:gd name="connsiteY104" fmla="*/ 816293 h 1296352"/>
                <a:gd name="connsiteX105" fmla="*/ 1121093 w 1521142"/>
                <a:gd name="connsiteY105" fmla="*/ 821055 h 1296352"/>
                <a:gd name="connsiteX106" fmla="*/ 1121093 w 1521142"/>
                <a:gd name="connsiteY106" fmla="*/ 859155 h 1296352"/>
                <a:gd name="connsiteX107" fmla="*/ 1109663 w 1521142"/>
                <a:gd name="connsiteY107" fmla="*/ 853440 h 1296352"/>
                <a:gd name="connsiteX108" fmla="*/ 1102043 w 1521142"/>
                <a:gd name="connsiteY108" fmla="*/ 862013 h 1296352"/>
                <a:gd name="connsiteX109" fmla="*/ 1115378 w 1521142"/>
                <a:gd name="connsiteY109" fmla="*/ 877252 h 1296352"/>
                <a:gd name="connsiteX110" fmla="*/ 1124903 w 1521142"/>
                <a:gd name="connsiteY110" fmla="*/ 902018 h 1296352"/>
                <a:gd name="connsiteX111" fmla="*/ 1136332 w 1521142"/>
                <a:gd name="connsiteY111" fmla="*/ 896302 h 1296352"/>
                <a:gd name="connsiteX112" fmla="*/ 1158240 w 1521142"/>
                <a:gd name="connsiteY112" fmla="*/ 907732 h 1296352"/>
                <a:gd name="connsiteX113" fmla="*/ 1178243 w 1521142"/>
                <a:gd name="connsiteY113" fmla="*/ 928688 h 1296352"/>
                <a:gd name="connsiteX114" fmla="*/ 1193482 w 1521142"/>
                <a:gd name="connsiteY114" fmla="*/ 977265 h 1296352"/>
                <a:gd name="connsiteX115" fmla="*/ 1223010 w 1521142"/>
                <a:gd name="connsiteY115" fmla="*/ 1022985 h 1296352"/>
                <a:gd name="connsiteX116" fmla="*/ 1230630 w 1521142"/>
                <a:gd name="connsiteY116" fmla="*/ 1010602 h 1296352"/>
                <a:gd name="connsiteX117" fmla="*/ 1257300 w 1521142"/>
                <a:gd name="connsiteY117" fmla="*/ 1005840 h 1296352"/>
                <a:gd name="connsiteX118" fmla="*/ 1287780 w 1521142"/>
                <a:gd name="connsiteY118" fmla="*/ 1018223 h 1296352"/>
                <a:gd name="connsiteX119" fmla="*/ 1290638 w 1521142"/>
                <a:gd name="connsiteY119" fmla="*/ 1034415 h 1296352"/>
                <a:gd name="connsiteX120" fmla="*/ 1322070 w 1521142"/>
                <a:gd name="connsiteY120" fmla="*/ 1070610 h 1296352"/>
                <a:gd name="connsiteX121" fmla="*/ 1323023 w 1521142"/>
                <a:gd name="connsiteY121" fmla="*/ 1081088 h 1296352"/>
                <a:gd name="connsiteX122" fmla="*/ 1343978 w 1521142"/>
                <a:gd name="connsiteY122" fmla="*/ 1106805 h 1296352"/>
                <a:gd name="connsiteX123" fmla="*/ 1337310 w 1521142"/>
                <a:gd name="connsiteY123" fmla="*/ 1111568 h 1296352"/>
                <a:gd name="connsiteX124" fmla="*/ 1337310 w 1521142"/>
                <a:gd name="connsiteY124" fmla="*/ 1137285 h 1296352"/>
                <a:gd name="connsiteX125" fmla="*/ 1363028 w 1521142"/>
                <a:gd name="connsiteY125" fmla="*/ 1150620 h 1296352"/>
                <a:gd name="connsiteX126" fmla="*/ 1377315 w 1521142"/>
                <a:gd name="connsiteY126" fmla="*/ 1150620 h 1296352"/>
                <a:gd name="connsiteX127" fmla="*/ 1403032 w 1521142"/>
                <a:gd name="connsiteY127" fmla="*/ 1133475 h 1296352"/>
                <a:gd name="connsiteX128" fmla="*/ 1417320 w 1521142"/>
                <a:gd name="connsiteY128" fmla="*/ 1136332 h 1296352"/>
                <a:gd name="connsiteX129" fmla="*/ 1427798 w 1521142"/>
                <a:gd name="connsiteY129" fmla="*/ 1140143 h 1296352"/>
                <a:gd name="connsiteX130" fmla="*/ 1449705 w 1521142"/>
                <a:gd name="connsiteY130" fmla="*/ 1123950 h 1296352"/>
                <a:gd name="connsiteX131" fmla="*/ 1451610 w 1521142"/>
                <a:gd name="connsiteY131" fmla="*/ 1117282 h 1296352"/>
                <a:gd name="connsiteX132" fmla="*/ 1463040 w 1521142"/>
                <a:gd name="connsiteY132" fmla="*/ 1120140 h 1296352"/>
                <a:gd name="connsiteX133" fmla="*/ 1485900 w 1521142"/>
                <a:gd name="connsiteY133" fmla="*/ 1103948 h 1296352"/>
                <a:gd name="connsiteX134" fmla="*/ 1498282 w 1521142"/>
                <a:gd name="connsiteY134" fmla="*/ 1082040 h 1296352"/>
                <a:gd name="connsiteX135" fmla="*/ 1491615 w 1521142"/>
                <a:gd name="connsiteY135" fmla="*/ 1051560 h 1296352"/>
                <a:gd name="connsiteX136" fmla="*/ 1489710 w 1521142"/>
                <a:gd name="connsiteY136" fmla="*/ 1039177 h 1296352"/>
                <a:gd name="connsiteX137" fmla="*/ 1500188 w 1521142"/>
                <a:gd name="connsiteY137" fmla="*/ 1001077 h 1296352"/>
                <a:gd name="connsiteX138" fmla="*/ 1505903 w 1521142"/>
                <a:gd name="connsiteY138" fmla="*/ 999173 h 1296352"/>
                <a:gd name="connsiteX139" fmla="*/ 1511618 w 1521142"/>
                <a:gd name="connsiteY139" fmla="*/ 1014413 h 1296352"/>
                <a:gd name="connsiteX140" fmla="*/ 1519238 w 1521142"/>
                <a:gd name="connsiteY140" fmla="*/ 997268 h 1296352"/>
                <a:gd name="connsiteX141" fmla="*/ 1511618 w 1521142"/>
                <a:gd name="connsiteY141" fmla="*/ 928688 h 1296352"/>
                <a:gd name="connsiteX142" fmla="*/ 1507807 w 1521142"/>
                <a:gd name="connsiteY142" fmla="*/ 828675 h 1296352"/>
                <a:gd name="connsiteX143" fmla="*/ 1498282 w 1521142"/>
                <a:gd name="connsiteY143" fmla="*/ 763905 h 1296352"/>
                <a:gd name="connsiteX144" fmla="*/ 1491615 w 1521142"/>
                <a:gd name="connsiteY144" fmla="*/ 747713 h 1296352"/>
                <a:gd name="connsiteX145" fmla="*/ 1428750 w 1521142"/>
                <a:gd name="connsiteY145" fmla="*/ 641985 h 1296352"/>
                <a:gd name="connsiteX146" fmla="*/ 1379220 w 1521142"/>
                <a:gd name="connsiteY146" fmla="*/ 555307 h 1296352"/>
                <a:gd name="connsiteX147" fmla="*/ 1358265 w 1521142"/>
                <a:gd name="connsiteY147" fmla="*/ 523875 h 1296352"/>
                <a:gd name="connsiteX148" fmla="*/ 1345882 w 1521142"/>
                <a:gd name="connsiteY148" fmla="*/ 489585 h 1296352"/>
                <a:gd name="connsiteX149" fmla="*/ 1343978 w 1521142"/>
                <a:gd name="connsiteY149" fmla="*/ 457200 h 1296352"/>
                <a:gd name="connsiteX150" fmla="*/ 1352550 w 1521142"/>
                <a:gd name="connsiteY150" fmla="*/ 454343 h 1296352"/>
                <a:gd name="connsiteX151" fmla="*/ 1352550 w 1521142"/>
                <a:gd name="connsiteY151" fmla="*/ 445770 h 1296352"/>
                <a:gd name="connsiteX152" fmla="*/ 1342073 w 1521142"/>
                <a:gd name="connsiteY152" fmla="*/ 424815 h 1296352"/>
                <a:gd name="connsiteX153" fmla="*/ 1303973 w 1521142"/>
                <a:gd name="connsiteY153" fmla="*/ 386715 h 1296352"/>
                <a:gd name="connsiteX154" fmla="*/ 1231582 w 1521142"/>
                <a:gd name="connsiteY154" fmla="*/ 294322 h 1296352"/>
                <a:gd name="connsiteX155" fmla="*/ 1177290 w 1521142"/>
                <a:gd name="connsiteY155" fmla="*/ 195263 h 1296352"/>
                <a:gd name="connsiteX156" fmla="*/ 1136332 w 1521142"/>
                <a:gd name="connsiteY156" fmla="*/ 93345 h 1296352"/>
                <a:gd name="connsiteX157" fmla="*/ 1130618 w 1521142"/>
                <a:gd name="connsiteY157" fmla="*/ 58103 h 1296352"/>
                <a:gd name="connsiteX158" fmla="*/ 1119188 w 1521142"/>
                <a:gd name="connsiteY158" fmla="*/ 48578 h 1296352"/>
                <a:gd name="connsiteX159" fmla="*/ 1114425 w 1521142"/>
                <a:gd name="connsiteY159" fmla="*/ 12382 h 1296352"/>
                <a:gd name="connsiteX160" fmla="*/ 1167765 w 1521142"/>
                <a:gd name="connsiteY160" fmla="*/ 1296352 h 1296352"/>
                <a:gd name="connsiteX161" fmla="*/ 1183957 w 1521142"/>
                <a:gd name="connsiteY161" fmla="*/ 1295400 h 1296352"/>
                <a:gd name="connsiteX162" fmla="*/ 1177290 w 1521142"/>
                <a:gd name="connsiteY162" fmla="*/ 1285875 h 1296352"/>
                <a:gd name="connsiteX163" fmla="*/ 1237298 w 1521142"/>
                <a:gd name="connsiteY163" fmla="*/ 1285875 h 1296352"/>
                <a:gd name="connsiteX164" fmla="*/ 1237298 w 1521142"/>
                <a:gd name="connsiteY164" fmla="*/ 1279207 h 1296352"/>
                <a:gd name="connsiteX165" fmla="*/ 1252538 w 1521142"/>
                <a:gd name="connsiteY165" fmla="*/ 1277302 h 1296352"/>
                <a:gd name="connsiteX166" fmla="*/ 1287780 w 1521142"/>
                <a:gd name="connsiteY166" fmla="*/ 1245870 h 1296352"/>
                <a:gd name="connsiteX167" fmla="*/ 1302068 w 1521142"/>
                <a:gd name="connsiteY167" fmla="*/ 1240155 h 1296352"/>
                <a:gd name="connsiteX168" fmla="*/ 1324928 w 1521142"/>
                <a:gd name="connsiteY168" fmla="*/ 1231582 h 1296352"/>
                <a:gd name="connsiteX169" fmla="*/ 1327785 w 1521142"/>
                <a:gd name="connsiteY169" fmla="*/ 1243965 h 1296352"/>
                <a:gd name="connsiteX170" fmla="*/ 1343978 w 1521142"/>
                <a:gd name="connsiteY170" fmla="*/ 1251585 h 1296352"/>
                <a:gd name="connsiteX171" fmla="*/ 1319213 w 1521142"/>
                <a:gd name="connsiteY171" fmla="*/ 1263015 h 1296352"/>
                <a:gd name="connsiteX172" fmla="*/ 1296353 w 1521142"/>
                <a:gd name="connsiteY172" fmla="*/ 1263015 h 1296352"/>
                <a:gd name="connsiteX173" fmla="*/ 1259205 w 1521142"/>
                <a:gd name="connsiteY173" fmla="*/ 1286827 h 1296352"/>
                <a:gd name="connsiteX174" fmla="*/ 1401128 w 1521142"/>
                <a:gd name="connsiteY174" fmla="*/ 1213485 h 1296352"/>
                <a:gd name="connsiteX175" fmla="*/ 1372553 w 1521142"/>
                <a:gd name="connsiteY175" fmla="*/ 1226820 h 1296352"/>
                <a:gd name="connsiteX176" fmla="*/ 1363028 w 1521142"/>
                <a:gd name="connsiteY176" fmla="*/ 1239202 h 1296352"/>
                <a:gd name="connsiteX177" fmla="*/ 1373505 w 1521142"/>
                <a:gd name="connsiteY177" fmla="*/ 1240155 h 1296352"/>
                <a:gd name="connsiteX178" fmla="*/ 1437323 w 1521142"/>
                <a:gd name="connsiteY178" fmla="*/ 1185863 h 1296352"/>
                <a:gd name="connsiteX179" fmla="*/ 1426845 w 1521142"/>
                <a:gd name="connsiteY179" fmla="*/ 1188720 h 1296352"/>
                <a:gd name="connsiteX180" fmla="*/ 1413510 w 1521142"/>
                <a:gd name="connsiteY180" fmla="*/ 1207770 h 1296352"/>
                <a:gd name="connsiteX181" fmla="*/ 1423988 w 1521142"/>
                <a:gd name="connsiteY181" fmla="*/ 1205865 h 1296352"/>
                <a:gd name="connsiteX182" fmla="*/ 1438275 w 1521142"/>
                <a:gd name="connsiteY182" fmla="*/ 1190625 h 1296352"/>
                <a:gd name="connsiteX183" fmla="*/ 1516380 w 1521142"/>
                <a:gd name="connsiteY183" fmla="*/ 1036320 h 1296352"/>
                <a:gd name="connsiteX184" fmla="*/ 1500188 w 1521142"/>
                <a:gd name="connsiteY184" fmla="*/ 1089660 h 1296352"/>
                <a:gd name="connsiteX185" fmla="*/ 1492568 w 1521142"/>
                <a:gd name="connsiteY185" fmla="*/ 1099185 h 1296352"/>
                <a:gd name="connsiteX186" fmla="*/ 1483043 w 1521142"/>
                <a:gd name="connsiteY186" fmla="*/ 1123950 h 1296352"/>
                <a:gd name="connsiteX187" fmla="*/ 1471613 w 1521142"/>
                <a:gd name="connsiteY187" fmla="*/ 1139190 h 1296352"/>
                <a:gd name="connsiteX188" fmla="*/ 1464945 w 1521142"/>
                <a:gd name="connsiteY188" fmla="*/ 1155382 h 1296352"/>
                <a:gd name="connsiteX189" fmla="*/ 1446848 w 1521142"/>
                <a:gd name="connsiteY189" fmla="*/ 1176338 h 1296352"/>
                <a:gd name="connsiteX190" fmla="*/ 1446848 w 1521142"/>
                <a:gd name="connsiteY190" fmla="*/ 1184910 h 1296352"/>
                <a:gd name="connsiteX191" fmla="*/ 1472565 w 1521142"/>
                <a:gd name="connsiteY191" fmla="*/ 1158240 h 1296352"/>
                <a:gd name="connsiteX192" fmla="*/ 1495425 w 1521142"/>
                <a:gd name="connsiteY192" fmla="*/ 1124902 h 1296352"/>
                <a:gd name="connsiteX193" fmla="*/ 1501140 w 1521142"/>
                <a:gd name="connsiteY193" fmla="*/ 1105852 h 1296352"/>
                <a:gd name="connsiteX194" fmla="*/ 1521143 w 1521142"/>
                <a:gd name="connsiteY194" fmla="*/ 1059180 h 1296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</a:cxnLst>
              <a:rect l="l" t="t" r="r" b="b"/>
              <a:pathLst>
                <a:path w="1521142" h="1296352">
                  <a:moveTo>
                    <a:pt x="1080135" y="15240"/>
                  </a:moveTo>
                  <a:lnTo>
                    <a:pt x="1042035" y="8572"/>
                  </a:lnTo>
                  <a:lnTo>
                    <a:pt x="1025843" y="0"/>
                  </a:lnTo>
                  <a:lnTo>
                    <a:pt x="1004888" y="13335"/>
                  </a:lnTo>
                  <a:lnTo>
                    <a:pt x="1004888" y="37147"/>
                  </a:lnTo>
                  <a:lnTo>
                    <a:pt x="1018223" y="57150"/>
                  </a:lnTo>
                  <a:lnTo>
                    <a:pt x="1013460" y="98107"/>
                  </a:lnTo>
                  <a:lnTo>
                    <a:pt x="993457" y="103822"/>
                  </a:lnTo>
                  <a:lnTo>
                    <a:pt x="983932" y="93345"/>
                  </a:lnTo>
                  <a:lnTo>
                    <a:pt x="978218" y="62865"/>
                  </a:lnTo>
                  <a:lnTo>
                    <a:pt x="501015" y="94297"/>
                  </a:lnTo>
                  <a:lnTo>
                    <a:pt x="469582" y="37147"/>
                  </a:lnTo>
                  <a:lnTo>
                    <a:pt x="4763" y="85725"/>
                  </a:lnTo>
                  <a:lnTo>
                    <a:pt x="0" y="113347"/>
                  </a:lnTo>
                  <a:lnTo>
                    <a:pt x="23813" y="140018"/>
                  </a:lnTo>
                  <a:lnTo>
                    <a:pt x="40005" y="146685"/>
                  </a:lnTo>
                  <a:lnTo>
                    <a:pt x="48578" y="158115"/>
                  </a:lnTo>
                  <a:lnTo>
                    <a:pt x="44768" y="227647"/>
                  </a:lnTo>
                  <a:lnTo>
                    <a:pt x="34290" y="233363"/>
                  </a:lnTo>
                  <a:lnTo>
                    <a:pt x="39053" y="237172"/>
                  </a:lnTo>
                  <a:lnTo>
                    <a:pt x="48578" y="234315"/>
                  </a:lnTo>
                  <a:lnTo>
                    <a:pt x="55245" y="226695"/>
                  </a:lnTo>
                  <a:lnTo>
                    <a:pt x="155257" y="200978"/>
                  </a:lnTo>
                  <a:lnTo>
                    <a:pt x="242888" y="196215"/>
                  </a:lnTo>
                  <a:lnTo>
                    <a:pt x="320040" y="214313"/>
                  </a:lnTo>
                  <a:lnTo>
                    <a:pt x="401003" y="261938"/>
                  </a:lnTo>
                  <a:lnTo>
                    <a:pt x="423863" y="269557"/>
                  </a:lnTo>
                  <a:lnTo>
                    <a:pt x="444818" y="288607"/>
                  </a:lnTo>
                  <a:lnTo>
                    <a:pt x="443865" y="314325"/>
                  </a:lnTo>
                  <a:lnTo>
                    <a:pt x="466725" y="314325"/>
                  </a:lnTo>
                  <a:lnTo>
                    <a:pt x="484823" y="304800"/>
                  </a:lnTo>
                  <a:lnTo>
                    <a:pt x="508635" y="305753"/>
                  </a:lnTo>
                  <a:lnTo>
                    <a:pt x="527685" y="298132"/>
                  </a:lnTo>
                  <a:lnTo>
                    <a:pt x="555307" y="279082"/>
                  </a:lnTo>
                  <a:lnTo>
                    <a:pt x="584835" y="251460"/>
                  </a:lnTo>
                  <a:lnTo>
                    <a:pt x="595313" y="247650"/>
                  </a:lnTo>
                  <a:lnTo>
                    <a:pt x="601028" y="252413"/>
                  </a:lnTo>
                  <a:lnTo>
                    <a:pt x="614363" y="252413"/>
                  </a:lnTo>
                  <a:lnTo>
                    <a:pt x="619125" y="244793"/>
                  </a:lnTo>
                  <a:lnTo>
                    <a:pt x="614363" y="233363"/>
                  </a:lnTo>
                  <a:lnTo>
                    <a:pt x="608648" y="227647"/>
                  </a:lnTo>
                  <a:lnTo>
                    <a:pt x="610553" y="220028"/>
                  </a:lnTo>
                  <a:lnTo>
                    <a:pt x="629603" y="209550"/>
                  </a:lnTo>
                  <a:lnTo>
                    <a:pt x="677228" y="205740"/>
                  </a:lnTo>
                  <a:lnTo>
                    <a:pt x="684848" y="215265"/>
                  </a:lnTo>
                  <a:lnTo>
                    <a:pt x="694373" y="216218"/>
                  </a:lnTo>
                  <a:lnTo>
                    <a:pt x="716280" y="225743"/>
                  </a:lnTo>
                  <a:lnTo>
                    <a:pt x="744855" y="242888"/>
                  </a:lnTo>
                  <a:lnTo>
                    <a:pt x="756285" y="259080"/>
                  </a:lnTo>
                  <a:lnTo>
                    <a:pt x="766763" y="270510"/>
                  </a:lnTo>
                  <a:lnTo>
                    <a:pt x="793432" y="283845"/>
                  </a:lnTo>
                  <a:lnTo>
                    <a:pt x="793432" y="306705"/>
                  </a:lnTo>
                  <a:lnTo>
                    <a:pt x="820103" y="324803"/>
                  </a:lnTo>
                  <a:lnTo>
                    <a:pt x="829628" y="325755"/>
                  </a:lnTo>
                  <a:lnTo>
                    <a:pt x="844868" y="339090"/>
                  </a:lnTo>
                  <a:lnTo>
                    <a:pt x="851535" y="354330"/>
                  </a:lnTo>
                  <a:lnTo>
                    <a:pt x="861060" y="356235"/>
                  </a:lnTo>
                  <a:lnTo>
                    <a:pt x="868680" y="376238"/>
                  </a:lnTo>
                  <a:lnTo>
                    <a:pt x="875348" y="381953"/>
                  </a:lnTo>
                  <a:lnTo>
                    <a:pt x="884873" y="371475"/>
                  </a:lnTo>
                  <a:lnTo>
                    <a:pt x="912495" y="372428"/>
                  </a:lnTo>
                  <a:lnTo>
                    <a:pt x="917257" y="385763"/>
                  </a:lnTo>
                  <a:lnTo>
                    <a:pt x="927735" y="394335"/>
                  </a:lnTo>
                  <a:lnTo>
                    <a:pt x="927735" y="406718"/>
                  </a:lnTo>
                  <a:lnTo>
                    <a:pt x="955357" y="427672"/>
                  </a:lnTo>
                  <a:lnTo>
                    <a:pt x="957263" y="519113"/>
                  </a:lnTo>
                  <a:lnTo>
                    <a:pt x="940118" y="574357"/>
                  </a:lnTo>
                  <a:lnTo>
                    <a:pt x="949643" y="585788"/>
                  </a:lnTo>
                  <a:lnTo>
                    <a:pt x="947738" y="618172"/>
                  </a:lnTo>
                  <a:lnTo>
                    <a:pt x="940118" y="631507"/>
                  </a:lnTo>
                  <a:lnTo>
                    <a:pt x="946785" y="642938"/>
                  </a:lnTo>
                  <a:lnTo>
                    <a:pt x="968693" y="664845"/>
                  </a:lnTo>
                  <a:lnTo>
                    <a:pt x="971550" y="679132"/>
                  </a:lnTo>
                  <a:lnTo>
                    <a:pt x="979170" y="688657"/>
                  </a:lnTo>
                  <a:lnTo>
                    <a:pt x="975360" y="670560"/>
                  </a:lnTo>
                  <a:lnTo>
                    <a:pt x="987743" y="664845"/>
                  </a:lnTo>
                  <a:lnTo>
                    <a:pt x="995363" y="630555"/>
                  </a:lnTo>
                  <a:lnTo>
                    <a:pt x="966788" y="619125"/>
                  </a:lnTo>
                  <a:lnTo>
                    <a:pt x="967740" y="613410"/>
                  </a:lnTo>
                  <a:lnTo>
                    <a:pt x="992505" y="609600"/>
                  </a:lnTo>
                  <a:lnTo>
                    <a:pt x="1001078" y="634365"/>
                  </a:lnTo>
                  <a:lnTo>
                    <a:pt x="1011555" y="640080"/>
                  </a:lnTo>
                  <a:lnTo>
                    <a:pt x="1012507" y="621030"/>
                  </a:lnTo>
                  <a:lnTo>
                    <a:pt x="1022985" y="623888"/>
                  </a:lnTo>
                  <a:lnTo>
                    <a:pt x="1028700" y="631507"/>
                  </a:lnTo>
                  <a:lnTo>
                    <a:pt x="1027748" y="638175"/>
                  </a:lnTo>
                  <a:lnTo>
                    <a:pt x="1000125" y="678180"/>
                  </a:lnTo>
                  <a:lnTo>
                    <a:pt x="998220" y="688657"/>
                  </a:lnTo>
                  <a:lnTo>
                    <a:pt x="982028" y="706755"/>
                  </a:lnTo>
                  <a:lnTo>
                    <a:pt x="982028" y="717232"/>
                  </a:lnTo>
                  <a:lnTo>
                    <a:pt x="1017270" y="753427"/>
                  </a:lnTo>
                  <a:lnTo>
                    <a:pt x="1067753" y="828675"/>
                  </a:lnTo>
                  <a:lnTo>
                    <a:pt x="1084898" y="848677"/>
                  </a:lnTo>
                  <a:lnTo>
                    <a:pt x="1084898" y="865823"/>
                  </a:lnTo>
                  <a:lnTo>
                    <a:pt x="1111568" y="909638"/>
                  </a:lnTo>
                  <a:lnTo>
                    <a:pt x="1133475" y="915352"/>
                  </a:lnTo>
                  <a:lnTo>
                    <a:pt x="1140143" y="903923"/>
                  </a:lnTo>
                  <a:lnTo>
                    <a:pt x="1120140" y="906780"/>
                  </a:lnTo>
                  <a:lnTo>
                    <a:pt x="1091565" y="863918"/>
                  </a:lnTo>
                  <a:lnTo>
                    <a:pt x="1093470" y="850582"/>
                  </a:lnTo>
                  <a:lnTo>
                    <a:pt x="1107757" y="842963"/>
                  </a:lnTo>
                  <a:lnTo>
                    <a:pt x="1107757" y="828675"/>
                  </a:lnTo>
                  <a:lnTo>
                    <a:pt x="1102043" y="816293"/>
                  </a:lnTo>
                  <a:lnTo>
                    <a:pt x="1110615" y="807720"/>
                  </a:lnTo>
                  <a:lnTo>
                    <a:pt x="1114425" y="816293"/>
                  </a:lnTo>
                  <a:lnTo>
                    <a:pt x="1121093" y="821055"/>
                  </a:lnTo>
                  <a:lnTo>
                    <a:pt x="1121093" y="859155"/>
                  </a:lnTo>
                  <a:lnTo>
                    <a:pt x="1109663" y="853440"/>
                  </a:lnTo>
                  <a:lnTo>
                    <a:pt x="1102043" y="862013"/>
                  </a:lnTo>
                  <a:lnTo>
                    <a:pt x="1115378" y="877252"/>
                  </a:lnTo>
                  <a:lnTo>
                    <a:pt x="1124903" y="902018"/>
                  </a:lnTo>
                  <a:lnTo>
                    <a:pt x="1136332" y="896302"/>
                  </a:lnTo>
                  <a:lnTo>
                    <a:pt x="1158240" y="907732"/>
                  </a:lnTo>
                  <a:lnTo>
                    <a:pt x="1178243" y="928688"/>
                  </a:lnTo>
                  <a:lnTo>
                    <a:pt x="1193482" y="977265"/>
                  </a:lnTo>
                  <a:lnTo>
                    <a:pt x="1223010" y="1022985"/>
                  </a:lnTo>
                  <a:lnTo>
                    <a:pt x="1230630" y="1010602"/>
                  </a:lnTo>
                  <a:lnTo>
                    <a:pt x="1257300" y="1005840"/>
                  </a:lnTo>
                  <a:lnTo>
                    <a:pt x="1287780" y="1018223"/>
                  </a:lnTo>
                  <a:lnTo>
                    <a:pt x="1290638" y="1034415"/>
                  </a:lnTo>
                  <a:lnTo>
                    <a:pt x="1322070" y="1070610"/>
                  </a:lnTo>
                  <a:lnTo>
                    <a:pt x="1323023" y="1081088"/>
                  </a:lnTo>
                  <a:lnTo>
                    <a:pt x="1343978" y="1106805"/>
                  </a:lnTo>
                  <a:lnTo>
                    <a:pt x="1337310" y="1111568"/>
                  </a:lnTo>
                  <a:lnTo>
                    <a:pt x="1337310" y="1137285"/>
                  </a:lnTo>
                  <a:lnTo>
                    <a:pt x="1363028" y="1150620"/>
                  </a:lnTo>
                  <a:lnTo>
                    <a:pt x="1377315" y="1150620"/>
                  </a:lnTo>
                  <a:lnTo>
                    <a:pt x="1403032" y="1133475"/>
                  </a:lnTo>
                  <a:lnTo>
                    <a:pt x="1417320" y="1136332"/>
                  </a:lnTo>
                  <a:lnTo>
                    <a:pt x="1427798" y="1140143"/>
                  </a:lnTo>
                  <a:lnTo>
                    <a:pt x="1449705" y="1123950"/>
                  </a:lnTo>
                  <a:lnTo>
                    <a:pt x="1451610" y="1117282"/>
                  </a:lnTo>
                  <a:lnTo>
                    <a:pt x="1463040" y="1120140"/>
                  </a:lnTo>
                  <a:lnTo>
                    <a:pt x="1485900" y="1103948"/>
                  </a:lnTo>
                  <a:lnTo>
                    <a:pt x="1498282" y="1082040"/>
                  </a:lnTo>
                  <a:lnTo>
                    <a:pt x="1491615" y="1051560"/>
                  </a:lnTo>
                  <a:lnTo>
                    <a:pt x="1489710" y="1039177"/>
                  </a:lnTo>
                  <a:lnTo>
                    <a:pt x="1500188" y="1001077"/>
                  </a:lnTo>
                  <a:lnTo>
                    <a:pt x="1505903" y="999173"/>
                  </a:lnTo>
                  <a:lnTo>
                    <a:pt x="1511618" y="1014413"/>
                  </a:lnTo>
                  <a:lnTo>
                    <a:pt x="1519238" y="997268"/>
                  </a:lnTo>
                  <a:lnTo>
                    <a:pt x="1511618" y="928688"/>
                  </a:lnTo>
                  <a:lnTo>
                    <a:pt x="1507807" y="828675"/>
                  </a:lnTo>
                  <a:lnTo>
                    <a:pt x="1498282" y="763905"/>
                  </a:lnTo>
                  <a:lnTo>
                    <a:pt x="1491615" y="747713"/>
                  </a:lnTo>
                  <a:lnTo>
                    <a:pt x="1428750" y="641985"/>
                  </a:lnTo>
                  <a:lnTo>
                    <a:pt x="1379220" y="555307"/>
                  </a:lnTo>
                  <a:lnTo>
                    <a:pt x="1358265" y="523875"/>
                  </a:lnTo>
                  <a:lnTo>
                    <a:pt x="1345882" y="489585"/>
                  </a:lnTo>
                  <a:lnTo>
                    <a:pt x="1343978" y="457200"/>
                  </a:lnTo>
                  <a:lnTo>
                    <a:pt x="1352550" y="454343"/>
                  </a:lnTo>
                  <a:lnTo>
                    <a:pt x="1352550" y="445770"/>
                  </a:lnTo>
                  <a:lnTo>
                    <a:pt x="1342073" y="424815"/>
                  </a:lnTo>
                  <a:lnTo>
                    <a:pt x="1303973" y="386715"/>
                  </a:lnTo>
                  <a:lnTo>
                    <a:pt x="1231582" y="294322"/>
                  </a:lnTo>
                  <a:lnTo>
                    <a:pt x="1177290" y="195263"/>
                  </a:lnTo>
                  <a:lnTo>
                    <a:pt x="1136332" y="93345"/>
                  </a:lnTo>
                  <a:lnTo>
                    <a:pt x="1130618" y="58103"/>
                  </a:lnTo>
                  <a:lnTo>
                    <a:pt x="1119188" y="48578"/>
                  </a:lnTo>
                  <a:lnTo>
                    <a:pt x="1114425" y="12382"/>
                  </a:lnTo>
                  <a:close/>
                  <a:moveTo>
                    <a:pt x="1167765" y="1296352"/>
                  </a:moveTo>
                  <a:lnTo>
                    <a:pt x="1183957" y="1295400"/>
                  </a:lnTo>
                  <a:lnTo>
                    <a:pt x="1177290" y="1285875"/>
                  </a:lnTo>
                  <a:close/>
                  <a:moveTo>
                    <a:pt x="1237298" y="1285875"/>
                  </a:moveTo>
                  <a:lnTo>
                    <a:pt x="1237298" y="1279207"/>
                  </a:lnTo>
                  <a:lnTo>
                    <a:pt x="1252538" y="1277302"/>
                  </a:lnTo>
                  <a:lnTo>
                    <a:pt x="1287780" y="1245870"/>
                  </a:lnTo>
                  <a:lnTo>
                    <a:pt x="1302068" y="1240155"/>
                  </a:lnTo>
                  <a:lnTo>
                    <a:pt x="1324928" y="1231582"/>
                  </a:lnTo>
                  <a:lnTo>
                    <a:pt x="1327785" y="1243965"/>
                  </a:lnTo>
                  <a:lnTo>
                    <a:pt x="1343978" y="1251585"/>
                  </a:lnTo>
                  <a:lnTo>
                    <a:pt x="1319213" y="1263015"/>
                  </a:lnTo>
                  <a:lnTo>
                    <a:pt x="1296353" y="1263015"/>
                  </a:lnTo>
                  <a:lnTo>
                    <a:pt x="1259205" y="1286827"/>
                  </a:lnTo>
                  <a:close/>
                  <a:moveTo>
                    <a:pt x="1401128" y="1213485"/>
                  </a:moveTo>
                  <a:lnTo>
                    <a:pt x="1372553" y="1226820"/>
                  </a:lnTo>
                  <a:lnTo>
                    <a:pt x="1363028" y="1239202"/>
                  </a:lnTo>
                  <a:lnTo>
                    <a:pt x="1373505" y="1240155"/>
                  </a:lnTo>
                  <a:close/>
                  <a:moveTo>
                    <a:pt x="1437323" y="1185863"/>
                  </a:moveTo>
                  <a:lnTo>
                    <a:pt x="1426845" y="1188720"/>
                  </a:lnTo>
                  <a:lnTo>
                    <a:pt x="1413510" y="1207770"/>
                  </a:lnTo>
                  <a:lnTo>
                    <a:pt x="1423988" y="1205865"/>
                  </a:lnTo>
                  <a:lnTo>
                    <a:pt x="1438275" y="1190625"/>
                  </a:lnTo>
                  <a:close/>
                  <a:moveTo>
                    <a:pt x="1516380" y="1036320"/>
                  </a:moveTo>
                  <a:lnTo>
                    <a:pt x="1500188" y="1089660"/>
                  </a:lnTo>
                  <a:lnTo>
                    <a:pt x="1492568" y="1099185"/>
                  </a:lnTo>
                  <a:lnTo>
                    <a:pt x="1483043" y="1123950"/>
                  </a:lnTo>
                  <a:lnTo>
                    <a:pt x="1471613" y="1139190"/>
                  </a:lnTo>
                  <a:lnTo>
                    <a:pt x="1464945" y="1155382"/>
                  </a:lnTo>
                  <a:lnTo>
                    <a:pt x="1446848" y="1176338"/>
                  </a:lnTo>
                  <a:lnTo>
                    <a:pt x="1446848" y="1184910"/>
                  </a:lnTo>
                  <a:lnTo>
                    <a:pt x="1472565" y="1158240"/>
                  </a:lnTo>
                  <a:lnTo>
                    <a:pt x="1495425" y="1124902"/>
                  </a:lnTo>
                  <a:lnTo>
                    <a:pt x="1501140" y="1105852"/>
                  </a:lnTo>
                  <a:lnTo>
                    <a:pt x="1521143" y="1059180"/>
                  </a:lnTo>
                  <a:close/>
                </a:path>
              </a:pathLst>
            </a:custGeom>
            <a:solidFill>
              <a:srgbClr val="D0D0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E746927-43D3-8B2A-A67E-5CE9857B3435}"/>
                </a:ext>
              </a:extLst>
            </p:cNvPr>
            <p:cNvSpPr/>
            <p:nvPr/>
          </p:nvSpPr>
          <p:spPr>
            <a:xfrm>
              <a:off x="7878126" y="4135755"/>
              <a:ext cx="906780" cy="944879"/>
            </a:xfrm>
            <a:custGeom>
              <a:avLst/>
              <a:gdLst>
                <a:gd name="connsiteX0" fmla="*/ 906780 w 906780"/>
                <a:gd name="connsiteY0" fmla="*/ 561022 h 944879"/>
                <a:gd name="connsiteX1" fmla="*/ 906780 w 906780"/>
                <a:gd name="connsiteY1" fmla="*/ 574357 h 944879"/>
                <a:gd name="connsiteX2" fmla="*/ 866775 w 906780"/>
                <a:gd name="connsiteY2" fmla="*/ 633413 h 944879"/>
                <a:gd name="connsiteX3" fmla="*/ 855345 w 906780"/>
                <a:gd name="connsiteY3" fmla="*/ 635317 h 944879"/>
                <a:gd name="connsiteX4" fmla="*/ 869633 w 906780"/>
                <a:gd name="connsiteY4" fmla="*/ 640080 h 944879"/>
                <a:gd name="connsiteX5" fmla="*/ 869633 w 906780"/>
                <a:gd name="connsiteY5" fmla="*/ 659130 h 944879"/>
                <a:gd name="connsiteX6" fmla="*/ 861060 w 906780"/>
                <a:gd name="connsiteY6" fmla="*/ 669607 h 944879"/>
                <a:gd name="connsiteX7" fmla="*/ 855345 w 906780"/>
                <a:gd name="connsiteY7" fmla="*/ 726757 h 944879"/>
                <a:gd name="connsiteX8" fmla="*/ 833438 w 906780"/>
                <a:gd name="connsiteY8" fmla="*/ 785813 h 944879"/>
                <a:gd name="connsiteX9" fmla="*/ 838200 w 906780"/>
                <a:gd name="connsiteY9" fmla="*/ 804863 h 944879"/>
                <a:gd name="connsiteX10" fmla="*/ 844868 w 906780"/>
                <a:gd name="connsiteY10" fmla="*/ 853440 h 944879"/>
                <a:gd name="connsiteX11" fmla="*/ 810578 w 906780"/>
                <a:gd name="connsiteY11" fmla="*/ 856297 h 944879"/>
                <a:gd name="connsiteX12" fmla="*/ 772478 w 906780"/>
                <a:gd name="connsiteY12" fmla="*/ 849630 h 944879"/>
                <a:gd name="connsiteX13" fmla="*/ 756285 w 906780"/>
                <a:gd name="connsiteY13" fmla="*/ 841057 h 944879"/>
                <a:gd name="connsiteX14" fmla="*/ 735330 w 906780"/>
                <a:gd name="connsiteY14" fmla="*/ 854392 h 944879"/>
                <a:gd name="connsiteX15" fmla="*/ 735330 w 906780"/>
                <a:gd name="connsiteY15" fmla="*/ 878205 h 944879"/>
                <a:gd name="connsiteX16" fmla="*/ 748665 w 906780"/>
                <a:gd name="connsiteY16" fmla="*/ 898207 h 944879"/>
                <a:gd name="connsiteX17" fmla="*/ 743903 w 906780"/>
                <a:gd name="connsiteY17" fmla="*/ 939165 h 944879"/>
                <a:gd name="connsiteX18" fmla="*/ 723900 w 906780"/>
                <a:gd name="connsiteY18" fmla="*/ 944880 h 944879"/>
                <a:gd name="connsiteX19" fmla="*/ 714375 w 906780"/>
                <a:gd name="connsiteY19" fmla="*/ 934402 h 944879"/>
                <a:gd name="connsiteX20" fmla="*/ 708660 w 906780"/>
                <a:gd name="connsiteY20" fmla="*/ 903922 h 944879"/>
                <a:gd name="connsiteX21" fmla="*/ 231458 w 906780"/>
                <a:gd name="connsiteY21" fmla="*/ 935355 h 944879"/>
                <a:gd name="connsiteX22" fmla="*/ 200025 w 906780"/>
                <a:gd name="connsiteY22" fmla="*/ 878205 h 944879"/>
                <a:gd name="connsiteX23" fmla="*/ 193358 w 906780"/>
                <a:gd name="connsiteY23" fmla="*/ 857250 h 944879"/>
                <a:gd name="connsiteX24" fmla="*/ 179070 w 906780"/>
                <a:gd name="connsiteY24" fmla="*/ 842963 h 944879"/>
                <a:gd name="connsiteX25" fmla="*/ 174308 w 906780"/>
                <a:gd name="connsiteY25" fmla="*/ 829627 h 944879"/>
                <a:gd name="connsiteX26" fmla="*/ 180023 w 906780"/>
                <a:gd name="connsiteY26" fmla="*/ 769620 h 944879"/>
                <a:gd name="connsiteX27" fmla="*/ 157163 w 906780"/>
                <a:gd name="connsiteY27" fmla="*/ 715327 h 944879"/>
                <a:gd name="connsiteX28" fmla="*/ 161925 w 906780"/>
                <a:gd name="connsiteY28" fmla="*/ 690563 h 944879"/>
                <a:gd name="connsiteX29" fmla="*/ 164783 w 906780"/>
                <a:gd name="connsiteY29" fmla="*/ 655320 h 944879"/>
                <a:gd name="connsiteX30" fmla="*/ 185738 w 906780"/>
                <a:gd name="connsiteY30" fmla="*/ 619125 h 944879"/>
                <a:gd name="connsiteX31" fmla="*/ 183833 w 906780"/>
                <a:gd name="connsiteY31" fmla="*/ 608647 h 944879"/>
                <a:gd name="connsiteX32" fmla="*/ 167640 w 906780"/>
                <a:gd name="connsiteY32" fmla="*/ 599122 h 944879"/>
                <a:gd name="connsiteX33" fmla="*/ 167640 w 906780"/>
                <a:gd name="connsiteY33" fmla="*/ 568642 h 944879"/>
                <a:gd name="connsiteX34" fmla="*/ 150495 w 906780"/>
                <a:gd name="connsiteY34" fmla="*/ 550545 h 944879"/>
                <a:gd name="connsiteX35" fmla="*/ 122873 w 906780"/>
                <a:gd name="connsiteY35" fmla="*/ 492442 h 944879"/>
                <a:gd name="connsiteX36" fmla="*/ 0 w 906780"/>
                <a:gd name="connsiteY36" fmla="*/ 56197 h 944879"/>
                <a:gd name="connsiteX37" fmla="*/ 218123 w 906780"/>
                <a:gd name="connsiteY37" fmla="*/ 28575 h 944879"/>
                <a:gd name="connsiteX38" fmla="*/ 421958 w 906780"/>
                <a:gd name="connsiteY38" fmla="*/ 0 h 944879"/>
                <a:gd name="connsiteX39" fmla="*/ 421005 w 906780"/>
                <a:gd name="connsiteY39" fmla="*/ 18097 h 944879"/>
                <a:gd name="connsiteX40" fmla="*/ 402908 w 906780"/>
                <a:gd name="connsiteY40" fmla="*/ 27622 h 944879"/>
                <a:gd name="connsiteX41" fmla="*/ 389573 w 906780"/>
                <a:gd name="connsiteY41" fmla="*/ 58102 h 944879"/>
                <a:gd name="connsiteX42" fmla="*/ 391478 w 906780"/>
                <a:gd name="connsiteY42" fmla="*/ 70485 h 944879"/>
                <a:gd name="connsiteX43" fmla="*/ 449580 w 906780"/>
                <a:gd name="connsiteY43" fmla="*/ 106680 h 944879"/>
                <a:gd name="connsiteX44" fmla="*/ 474345 w 906780"/>
                <a:gd name="connsiteY44" fmla="*/ 103822 h 944879"/>
                <a:gd name="connsiteX45" fmla="*/ 503873 w 906780"/>
                <a:gd name="connsiteY45" fmla="*/ 141922 h 944879"/>
                <a:gd name="connsiteX46" fmla="*/ 507683 w 906780"/>
                <a:gd name="connsiteY46" fmla="*/ 158115 h 944879"/>
                <a:gd name="connsiteX47" fmla="*/ 547688 w 906780"/>
                <a:gd name="connsiteY47" fmla="*/ 206692 h 944879"/>
                <a:gd name="connsiteX48" fmla="*/ 572453 w 906780"/>
                <a:gd name="connsiteY48" fmla="*/ 222885 h 944879"/>
                <a:gd name="connsiteX49" fmla="*/ 585788 w 906780"/>
                <a:gd name="connsiteY49" fmla="*/ 224790 h 944879"/>
                <a:gd name="connsiteX50" fmla="*/ 606743 w 906780"/>
                <a:gd name="connsiteY50" fmla="*/ 240030 h 944879"/>
                <a:gd name="connsiteX51" fmla="*/ 617220 w 906780"/>
                <a:gd name="connsiteY51" fmla="*/ 260985 h 944879"/>
                <a:gd name="connsiteX52" fmla="*/ 636270 w 906780"/>
                <a:gd name="connsiteY52" fmla="*/ 276225 h 944879"/>
                <a:gd name="connsiteX53" fmla="*/ 653415 w 906780"/>
                <a:gd name="connsiteY53" fmla="*/ 280988 h 944879"/>
                <a:gd name="connsiteX54" fmla="*/ 679133 w 906780"/>
                <a:gd name="connsiteY54" fmla="*/ 306705 h 944879"/>
                <a:gd name="connsiteX55" fmla="*/ 680085 w 906780"/>
                <a:gd name="connsiteY55" fmla="*/ 320040 h 944879"/>
                <a:gd name="connsiteX56" fmla="*/ 704850 w 906780"/>
                <a:gd name="connsiteY56" fmla="*/ 346710 h 944879"/>
                <a:gd name="connsiteX57" fmla="*/ 752475 w 906780"/>
                <a:gd name="connsiteY57" fmla="*/ 368617 h 944879"/>
                <a:gd name="connsiteX58" fmla="*/ 786765 w 906780"/>
                <a:gd name="connsiteY58" fmla="*/ 432435 h 944879"/>
                <a:gd name="connsiteX59" fmla="*/ 789623 w 906780"/>
                <a:gd name="connsiteY59" fmla="*/ 458152 h 944879"/>
                <a:gd name="connsiteX60" fmla="*/ 826770 w 906780"/>
                <a:gd name="connsiteY60" fmla="*/ 478155 h 944879"/>
                <a:gd name="connsiteX61" fmla="*/ 850583 w 906780"/>
                <a:gd name="connsiteY61" fmla="*/ 523875 h 944879"/>
                <a:gd name="connsiteX62" fmla="*/ 858203 w 906780"/>
                <a:gd name="connsiteY62" fmla="*/ 553402 h 944879"/>
                <a:gd name="connsiteX63" fmla="*/ 898208 w 906780"/>
                <a:gd name="connsiteY63" fmla="*/ 557213 h 944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906780" h="944879">
                  <a:moveTo>
                    <a:pt x="906780" y="561022"/>
                  </a:moveTo>
                  <a:lnTo>
                    <a:pt x="906780" y="574357"/>
                  </a:lnTo>
                  <a:lnTo>
                    <a:pt x="866775" y="633413"/>
                  </a:lnTo>
                  <a:lnTo>
                    <a:pt x="855345" y="635317"/>
                  </a:lnTo>
                  <a:lnTo>
                    <a:pt x="869633" y="640080"/>
                  </a:lnTo>
                  <a:lnTo>
                    <a:pt x="869633" y="659130"/>
                  </a:lnTo>
                  <a:lnTo>
                    <a:pt x="861060" y="669607"/>
                  </a:lnTo>
                  <a:lnTo>
                    <a:pt x="855345" y="726757"/>
                  </a:lnTo>
                  <a:lnTo>
                    <a:pt x="833438" y="785813"/>
                  </a:lnTo>
                  <a:lnTo>
                    <a:pt x="838200" y="804863"/>
                  </a:lnTo>
                  <a:lnTo>
                    <a:pt x="844868" y="853440"/>
                  </a:lnTo>
                  <a:lnTo>
                    <a:pt x="810578" y="856297"/>
                  </a:lnTo>
                  <a:lnTo>
                    <a:pt x="772478" y="849630"/>
                  </a:lnTo>
                  <a:lnTo>
                    <a:pt x="756285" y="841057"/>
                  </a:lnTo>
                  <a:lnTo>
                    <a:pt x="735330" y="854392"/>
                  </a:lnTo>
                  <a:lnTo>
                    <a:pt x="735330" y="878205"/>
                  </a:lnTo>
                  <a:lnTo>
                    <a:pt x="748665" y="898207"/>
                  </a:lnTo>
                  <a:lnTo>
                    <a:pt x="743903" y="939165"/>
                  </a:lnTo>
                  <a:lnTo>
                    <a:pt x="723900" y="944880"/>
                  </a:lnTo>
                  <a:lnTo>
                    <a:pt x="714375" y="934402"/>
                  </a:lnTo>
                  <a:lnTo>
                    <a:pt x="708660" y="903922"/>
                  </a:lnTo>
                  <a:lnTo>
                    <a:pt x="231458" y="935355"/>
                  </a:lnTo>
                  <a:lnTo>
                    <a:pt x="200025" y="878205"/>
                  </a:lnTo>
                  <a:lnTo>
                    <a:pt x="193358" y="857250"/>
                  </a:lnTo>
                  <a:lnTo>
                    <a:pt x="179070" y="842963"/>
                  </a:lnTo>
                  <a:lnTo>
                    <a:pt x="174308" y="829627"/>
                  </a:lnTo>
                  <a:lnTo>
                    <a:pt x="180023" y="769620"/>
                  </a:lnTo>
                  <a:lnTo>
                    <a:pt x="157163" y="715327"/>
                  </a:lnTo>
                  <a:lnTo>
                    <a:pt x="161925" y="690563"/>
                  </a:lnTo>
                  <a:lnTo>
                    <a:pt x="164783" y="655320"/>
                  </a:lnTo>
                  <a:lnTo>
                    <a:pt x="185738" y="619125"/>
                  </a:lnTo>
                  <a:lnTo>
                    <a:pt x="183833" y="608647"/>
                  </a:lnTo>
                  <a:lnTo>
                    <a:pt x="167640" y="599122"/>
                  </a:lnTo>
                  <a:lnTo>
                    <a:pt x="167640" y="568642"/>
                  </a:lnTo>
                  <a:lnTo>
                    <a:pt x="150495" y="550545"/>
                  </a:lnTo>
                  <a:lnTo>
                    <a:pt x="122873" y="492442"/>
                  </a:lnTo>
                  <a:lnTo>
                    <a:pt x="0" y="56197"/>
                  </a:lnTo>
                  <a:lnTo>
                    <a:pt x="218123" y="28575"/>
                  </a:lnTo>
                  <a:lnTo>
                    <a:pt x="421958" y="0"/>
                  </a:lnTo>
                  <a:lnTo>
                    <a:pt x="421005" y="18097"/>
                  </a:lnTo>
                  <a:lnTo>
                    <a:pt x="402908" y="27622"/>
                  </a:lnTo>
                  <a:lnTo>
                    <a:pt x="389573" y="58102"/>
                  </a:lnTo>
                  <a:lnTo>
                    <a:pt x="391478" y="70485"/>
                  </a:lnTo>
                  <a:lnTo>
                    <a:pt x="449580" y="106680"/>
                  </a:lnTo>
                  <a:lnTo>
                    <a:pt x="474345" y="103822"/>
                  </a:lnTo>
                  <a:lnTo>
                    <a:pt x="503873" y="141922"/>
                  </a:lnTo>
                  <a:lnTo>
                    <a:pt x="507683" y="158115"/>
                  </a:lnTo>
                  <a:lnTo>
                    <a:pt x="547688" y="206692"/>
                  </a:lnTo>
                  <a:lnTo>
                    <a:pt x="572453" y="222885"/>
                  </a:lnTo>
                  <a:lnTo>
                    <a:pt x="585788" y="224790"/>
                  </a:lnTo>
                  <a:lnTo>
                    <a:pt x="606743" y="240030"/>
                  </a:lnTo>
                  <a:lnTo>
                    <a:pt x="617220" y="260985"/>
                  </a:lnTo>
                  <a:lnTo>
                    <a:pt x="636270" y="276225"/>
                  </a:lnTo>
                  <a:lnTo>
                    <a:pt x="653415" y="280988"/>
                  </a:lnTo>
                  <a:lnTo>
                    <a:pt x="679133" y="306705"/>
                  </a:lnTo>
                  <a:lnTo>
                    <a:pt x="680085" y="320040"/>
                  </a:lnTo>
                  <a:lnTo>
                    <a:pt x="704850" y="346710"/>
                  </a:lnTo>
                  <a:lnTo>
                    <a:pt x="752475" y="368617"/>
                  </a:lnTo>
                  <a:lnTo>
                    <a:pt x="786765" y="432435"/>
                  </a:lnTo>
                  <a:lnTo>
                    <a:pt x="789623" y="458152"/>
                  </a:lnTo>
                  <a:lnTo>
                    <a:pt x="826770" y="478155"/>
                  </a:lnTo>
                  <a:lnTo>
                    <a:pt x="850583" y="523875"/>
                  </a:lnTo>
                  <a:lnTo>
                    <a:pt x="858203" y="553402"/>
                  </a:lnTo>
                  <a:lnTo>
                    <a:pt x="898208" y="557213"/>
                  </a:lnTo>
                  <a:close/>
                </a:path>
              </a:pathLst>
            </a:custGeom>
            <a:solidFill>
              <a:srgbClr val="D0D0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D0BB229F-F54C-FA1C-6DD4-5D133C1BE5E7}"/>
                </a:ext>
              </a:extLst>
            </p:cNvPr>
            <p:cNvSpPr/>
            <p:nvPr/>
          </p:nvSpPr>
          <p:spPr>
            <a:xfrm>
              <a:off x="2604768" y="5080634"/>
              <a:ext cx="1075372" cy="701992"/>
            </a:xfrm>
            <a:custGeom>
              <a:avLst/>
              <a:gdLst>
                <a:gd name="connsiteX0" fmla="*/ 850583 w 1075372"/>
                <a:gd name="connsiteY0" fmla="*/ 418148 h 701992"/>
                <a:gd name="connsiteX1" fmla="*/ 848677 w 1075372"/>
                <a:gd name="connsiteY1" fmla="*/ 448628 h 701992"/>
                <a:gd name="connsiteX2" fmla="*/ 864870 w 1075372"/>
                <a:gd name="connsiteY2" fmla="*/ 466725 h 701992"/>
                <a:gd name="connsiteX3" fmla="*/ 865823 w 1075372"/>
                <a:gd name="connsiteY3" fmla="*/ 478155 h 701992"/>
                <a:gd name="connsiteX4" fmla="*/ 820102 w 1075372"/>
                <a:gd name="connsiteY4" fmla="*/ 521018 h 701992"/>
                <a:gd name="connsiteX5" fmla="*/ 819150 w 1075372"/>
                <a:gd name="connsiteY5" fmla="*/ 532448 h 701992"/>
                <a:gd name="connsiteX6" fmla="*/ 837248 w 1075372"/>
                <a:gd name="connsiteY6" fmla="*/ 562928 h 701992"/>
                <a:gd name="connsiteX7" fmla="*/ 853440 w 1075372"/>
                <a:gd name="connsiteY7" fmla="*/ 602932 h 701992"/>
                <a:gd name="connsiteX8" fmla="*/ 853440 w 1075372"/>
                <a:gd name="connsiteY8" fmla="*/ 627698 h 701992"/>
                <a:gd name="connsiteX9" fmla="*/ 848677 w 1075372"/>
                <a:gd name="connsiteY9" fmla="*/ 639128 h 701992"/>
                <a:gd name="connsiteX10" fmla="*/ 849630 w 1075372"/>
                <a:gd name="connsiteY10" fmla="*/ 671513 h 701992"/>
                <a:gd name="connsiteX11" fmla="*/ 888683 w 1075372"/>
                <a:gd name="connsiteY11" fmla="*/ 691515 h 701992"/>
                <a:gd name="connsiteX12" fmla="*/ 899160 w 1075372"/>
                <a:gd name="connsiteY12" fmla="*/ 701993 h 701992"/>
                <a:gd name="connsiteX13" fmla="*/ 910590 w 1075372"/>
                <a:gd name="connsiteY13" fmla="*/ 691515 h 701992"/>
                <a:gd name="connsiteX14" fmla="*/ 930593 w 1075372"/>
                <a:gd name="connsiteY14" fmla="*/ 657225 h 701992"/>
                <a:gd name="connsiteX15" fmla="*/ 973455 w 1075372"/>
                <a:gd name="connsiteY15" fmla="*/ 629603 h 701992"/>
                <a:gd name="connsiteX16" fmla="*/ 1004888 w 1075372"/>
                <a:gd name="connsiteY16" fmla="*/ 624840 h 701992"/>
                <a:gd name="connsiteX17" fmla="*/ 1028700 w 1075372"/>
                <a:gd name="connsiteY17" fmla="*/ 615315 h 701992"/>
                <a:gd name="connsiteX18" fmla="*/ 1044893 w 1075372"/>
                <a:gd name="connsiteY18" fmla="*/ 603885 h 701992"/>
                <a:gd name="connsiteX19" fmla="*/ 1075373 w 1075372"/>
                <a:gd name="connsiteY19" fmla="*/ 570548 h 701992"/>
                <a:gd name="connsiteX20" fmla="*/ 1048702 w 1075372"/>
                <a:gd name="connsiteY20" fmla="*/ 560070 h 701992"/>
                <a:gd name="connsiteX21" fmla="*/ 1035368 w 1075372"/>
                <a:gd name="connsiteY21" fmla="*/ 546735 h 701992"/>
                <a:gd name="connsiteX22" fmla="*/ 1036320 w 1075372"/>
                <a:gd name="connsiteY22" fmla="*/ 530543 h 701992"/>
                <a:gd name="connsiteX23" fmla="*/ 1031558 w 1075372"/>
                <a:gd name="connsiteY23" fmla="*/ 524828 h 701992"/>
                <a:gd name="connsiteX24" fmla="*/ 1012508 w 1075372"/>
                <a:gd name="connsiteY24" fmla="*/ 524828 h 701992"/>
                <a:gd name="connsiteX25" fmla="*/ 1014413 w 1075372"/>
                <a:gd name="connsiteY25" fmla="*/ 501015 h 701992"/>
                <a:gd name="connsiteX26" fmla="*/ 1007745 w 1075372"/>
                <a:gd name="connsiteY26" fmla="*/ 489585 h 701992"/>
                <a:gd name="connsiteX27" fmla="*/ 982980 w 1075372"/>
                <a:gd name="connsiteY27" fmla="*/ 467678 h 701992"/>
                <a:gd name="connsiteX28" fmla="*/ 940118 w 1075372"/>
                <a:gd name="connsiteY28" fmla="*/ 449580 h 701992"/>
                <a:gd name="connsiteX29" fmla="*/ 913448 w 1075372"/>
                <a:gd name="connsiteY29" fmla="*/ 447675 h 701992"/>
                <a:gd name="connsiteX30" fmla="*/ 882015 w 1075372"/>
                <a:gd name="connsiteY30" fmla="*/ 421957 h 701992"/>
                <a:gd name="connsiteX31" fmla="*/ 870585 w 1075372"/>
                <a:gd name="connsiteY31" fmla="*/ 416243 h 701992"/>
                <a:gd name="connsiteX32" fmla="*/ 704850 w 1075372"/>
                <a:gd name="connsiteY32" fmla="*/ 256223 h 701992"/>
                <a:gd name="connsiteX33" fmla="*/ 694373 w 1075372"/>
                <a:gd name="connsiteY33" fmla="*/ 270510 h 701992"/>
                <a:gd name="connsiteX34" fmla="*/ 693420 w 1075372"/>
                <a:gd name="connsiteY34" fmla="*/ 286703 h 701992"/>
                <a:gd name="connsiteX35" fmla="*/ 719138 w 1075372"/>
                <a:gd name="connsiteY35" fmla="*/ 309563 h 701992"/>
                <a:gd name="connsiteX36" fmla="*/ 737235 w 1075372"/>
                <a:gd name="connsiteY36" fmla="*/ 314325 h 701992"/>
                <a:gd name="connsiteX37" fmla="*/ 742950 w 1075372"/>
                <a:gd name="connsiteY37" fmla="*/ 323850 h 701992"/>
                <a:gd name="connsiteX38" fmla="*/ 746760 w 1075372"/>
                <a:gd name="connsiteY38" fmla="*/ 352425 h 701992"/>
                <a:gd name="connsiteX39" fmla="*/ 781050 w 1075372"/>
                <a:gd name="connsiteY39" fmla="*/ 354330 h 701992"/>
                <a:gd name="connsiteX40" fmla="*/ 831533 w 1075372"/>
                <a:gd name="connsiteY40" fmla="*/ 329565 h 701992"/>
                <a:gd name="connsiteX41" fmla="*/ 830580 w 1075372"/>
                <a:gd name="connsiteY41" fmla="*/ 305753 h 701992"/>
                <a:gd name="connsiteX42" fmla="*/ 817245 w 1075372"/>
                <a:gd name="connsiteY42" fmla="*/ 300990 h 701992"/>
                <a:gd name="connsiteX43" fmla="*/ 783908 w 1075372"/>
                <a:gd name="connsiteY43" fmla="*/ 276225 h 701992"/>
                <a:gd name="connsiteX44" fmla="*/ 766763 w 1075372"/>
                <a:gd name="connsiteY44" fmla="*/ 273368 h 701992"/>
                <a:gd name="connsiteX45" fmla="*/ 739140 w 1075372"/>
                <a:gd name="connsiteY45" fmla="*/ 285750 h 701992"/>
                <a:gd name="connsiteX46" fmla="*/ 724852 w 1075372"/>
                <a:gd name="connsiteY46" fmla="*/ 260032 h 701992"/>
                <a:gd name="connsiteX47" fmla="*/ 690563 w 1075372"/>
                <a:gd name="connsiteY47" fmla="*/ 365760 h 701992"/>
                <a:gd name="connsiteX48" fmla="*/ 699135 w 1075372"/>
                <a:gd name="connsiteY48" fmla="*/ 352425 h 701992"/>
                <a:gd name="connsiteX49" fmla="*/ 722948 w 1075372"/>
                <a:gd name="connsiteY49" fmla="*/ 349568 h 701992"/>
                <a:gd name="connsiteX50" fmla="*/ 728663 w 1075372"/>
                <a:gd name="connsiteY50" fmla="*/ 366713 h 701992"/>
                <a:gd name="connsiteX51" fmla="*/ 623888 w 1075372"/>
                <a:gd name="connsiteY51" fmla="*/ 282893 h 701992"/>
                <a:gd name="connsiteX52" fmla="*/ 640080 w 1075372"/>
                <a:gd name="connsiteY52" fmla="*/ 320993 h 701992"/>
                <a:gd name="connsiteX53" fmla="*/ 669608 w 1075372"/>
                <a:gd name="connsiteY53" fmla="*/ 315278 h 701992"/>
                <a:gd name="connsiteX54" fmla="*/ 672465 w 1075372"/>
                <a:gd name="connsiteY54" fmla="*/ 296228 h 701992"/>
                <a:gd name="connsiteX55" fmla="*/ 659130 w 1075372"/>
                <a:gd name="connsiteY55" fmla="*/ 281940 h 701992"/>
                <a:gd name="connsiteX56" fmla="*/ 584835 w 1075372"/>
                <a:gd name="connsiteY56" fmla="*/ 219075 h 701992"/>
                <a:gd name="connsiteX57" fmla="*/ 574358 w 1075372"/>
                <a:gd name="connsiteY57" fmla="*/ 241935 h 701992"/>
                <a:gd name="connsiteX58" fmla="*/ 621983 w 1075372"/>
                <a:gd name="connsiteY58" fmla="*/ 241935 h 701992"/>
                <a:gd name="connsiteX59" fmla="*/ 667702 w 1075372"/>
                <a:gd name="connsiteY59" fmla="*/ 257175 h 701992"/>
                <a:gd name="connsiteX60" fmla="*/ 691515 w 1075372"/>
                <a:gd name="connsiteY60" fmla="*/ 241935 h 701992"/>
                <a:gd name="connsiteX61" fmla="*/ 693420 w 1075372"/>
                <a:gd name="connsiteY61" fmla="*/ 227648 h 701992"/>
                <a:gd name="connsiteX62" fmla="*/ 647700 w 1075372"/>
                <a:gd name="connsiteY62" fmla="*/ 229553 h 701992"/>
                <a:gd name="connsiteX63" fmla="*/ 432435 w 1075372"/>
                <a:gd name="connsiteY63" fmla="*/ 118110 h 701992"/>
                <a:gd name="connsiteX64" fmla="*/ 414338 w 1075372"/>
                <a:gd name="connsiteY64" fmla="*/ 138113 h 701992"/>
                <a:gd name="connsiteX65" fmla="*/ 386715 w 1075372"/>
                <a:gd name="connsiteY65" fmla="*/ 143828 h 701992"/>
                <a:gd name="connsiteX66" fmla="*/ 394335 w 1075372"/>
                <a:gd name="connsiteY66" fmla="*/ 164782 h 701992"/>
                <a:gd name="connsiteX67" fmla="*/ 415290 w 1075372"/>
                <a:gd name="connsiteY67" fmla="*/ 191453 h 701992"/>
                <a:gd name="connsiteX68" fmla="*/ 416242 w 1075372"/>
                <a:gd name="connsiteY68" fmla="*/ 200978 h 701992"/>
                <a:gd name="connsiteX69" fmla="*/ 436245 w 1075372"/>
                <a:gd name="connsiteY69" fmla="*/ 198120 h 701992"/>
                <a:gd name="connsiteX70" fmla="*/ 458152 w 1075372"/>
                <a:gd name="connsiteY70" fmla="*/ 199073 h 701992"/>
                <a:gd name="connsiteX71" fmla="*/ 474345 w 1075372"/>
                <a:gd name="connsiteY71" fmla="*/ 210503 h 701992"/>
                <a:gd name="connsiteX72" fmla="*/ 507683 w 1075372"/>
                <a:gd name="connsiteY72" fmla="*/ 202882 h 701992"/>
                <a:gd name="connsiteX73" fmla="*/ 507683 w 1075372"/>
                <a:gd name="connsiteY73" fmla="*/ 196215 h 701992"/>
                <a:gd name="connsiteX74" fmla="*/ 498158 w 1075372"/>
                <a:gd name="connsiteY74" fmla="*/ 188595 h 701992"/>
                <a:gd name="connsiteX75" fmla="*/ 493395 w 1075372"/>
                <a:gd name="connsiteY75" fmla="*/ 168593 h 701992"/>
                <a:gd name="connsiteX76" fmla="*/ 485775 w 1075372"/>
                <a:gd name="connsiteY76" fmla="*/ 165735 h 701992"/>
                <a:gd name="connsiteX77" fmla="*/ 481013 w 1075372"/>
                <a:gd name="connsiteY77" fmla="*/ 175260 h 701992"/>
                <a:gd name="connsiteX78" fmla="*/ 469583 w 1075372"/>
                <a:gd name="connsiteY78" fmla="*/ 162878 h 701992"/>
                <a:gd name="connsiteX79" fmla="*/ 471488 w 1075372"/>
                <a:gd name="connsiteY79" fmla="*/ 149543 h 701992"/>
                <a:gd name="connsiteX80" fmla="*/ 454342 w 1075372"/>
                <a:gd name="connsiteY80" fmla="*/ 118110 h 701992"/>
                <a:gd name="connsiteX81" fmla="*/ 443865 w 1075372"/>
                <a:gd name="connsiteY81" fmla="*/ 111443 h 701992"/>
                <a:gd name="connsiteX82" fmla="*/ 129540 w 1075372"/>
                <a:gd name="connsiteY82" fmla="*/ 0 h 701992"/>
                <a:gd name="connsiteX83" fmla="*/ 89535 w 1075372"/>
                <a:gd name="connsiteY83" fmla="*/ 27623 h 701992"/>
                <a:gd name="connsiteX84" fmla="*/ 91440 w 1075372"/>
                <a:gd name="connsiteY84" fmla="*/ 49530 h 701992"/>
                <a:gd name="connsiteX85" fmla="*/ 114300 w 1075372"/>
                <a:gd name="connsiteY85" fmla="*/ 60960 h 701992"/>
                <a:gd name="connsiteX86" fmla="*/ 132398 w 1075372"/>
                <a:gd name="connsiteY86" fmla="*/ 73343 h 701992"/>
                <a:gd name="connsiteX87" fmla="*/ 158115 w 1075372"/>
                <a:gd name="connsiteY87" fmla="*/ 77153 h 701992"/>
                <a:gd name="connsiteX88" fmla="*/ 182880 w 1075372"/>
                <a:gd name="connsiteY88" fmla="*/ 56198 h 701992"/>
                <a:gd name="connsiteX89" fmla="*/ 180975 w 1075372"/>
                <a:gd name="connsiteY89" fmla="*/ 38100 h 701992"/>
                <a:gd name="connsiteX90" fmla="*/ 188595 w 1075372"/>
                <a:gd name="connsiteY90" fmla="*/ 21907 h 701992"/>
                <a:gd name="connsiteX91" fmla="*/ 188595 w 1075372"/>
                <a:gd name="connsiteY91" fmla="*/ 8573 h 701992"/>
                <a:gd name="connsiteX92" fmla="*/ 179070 w 1075372"/>
                <a:gd name="connsiteY92" fmla="*/ 0 h 701992"/>
                <a:gd name="connsiteX93" fmla="*/ 26670 w 1075372"/>
                <a:gd name="connsiteY93" fmla="*/ 45720 h 701992"/>
                <a:gd name="connsiteX94" fmla="*/ 23813 w 1075372"/>
                <a:gd name="connsiteY94" fmla="*/ 57150 h 701992"/>
                <a:gd name="connsiteX95" fmla="*/ 5715 w 1075372"/>
                <a:gd name="connsiteY95" fmla="*/ 65723 h 701992"/>
                <a:gd name="connsiteX96" fmla="*/ 0 w 1075372"/>
                <a:gd name="connsiteY96" fmla="*/ 82868 h 701992"/>
                <a:gd name="connsiteX97" fmla="*/ 9525 w 1075372"/>
                <a:gd name="connsiteY97" fmla="*/ 90488 h 701992"/>
                <a:gd name="connsiteX98" fmla="*/ 20003 w 1075372"/>
                <a:gd name="connsiteY98" fmla="*/ 76200 h 701992"/>
                <a:gd name="connsiteX99" fmla="*/ 38100 w 1075372"/>
                <a:gd name="connsiteY99" fmla="*/ 70485 h 701992"/>
                <a:gd name="connsiteX100" fmla="*/ 41910 w 1075372"/>
                <a:gd name="connsiteY100" fmla="*/ 45720 h 701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</a:cxnLst>
              <a:rect l="l" t="t" r="r" b="b"/>
              <a:pathLst>
                <a:path w="1075372" h="701992">
                  <a:moveTo>
                    <a:pt x="850583" y="418148"/>
                  </a:moveTo>
                  <a:lnTo>
                    <a:pt x="848677" y="448628"/>
                  </a:lnTo>
                  <a:lnTo>
                    <a:pt x="864870" y="466725"/>
                  </a:lnTo>
                  <a:lnTo>
                    <a:pt x="865823" y="478155"/>
                  </a:lnTo>
                  <a:lnTo>
                    <a:pt x="820102" y="521018"/>
                  </a:lnTo>
                  <a:lnTo>
                    <a:pt x="819150" y="532448"/>
                  </a:lnTo>
                  <a:lnTo>
                    <a:pt x="837248" y="562928"/>
                  </a:lnTo>
                  <a:lnTo>
                    <a:pt x="853440" y="602932"/>
                  </a:lnTo>
                  <a:lnTo>
                    <a:pt x="853440" y="627698"/>
                  </a:lnTo>
                  <a:lnTo>
                    <a:pt x="848677" y="639128"/>
                  </a:lnTo>
                  <a:lnTo>
                    <a:pt x="849630" y="671513"/>
                  </a:lnTo>
                  <a:lnTo>
                    <a:pt x="888683" y="691515"/>
                  </a:lnTo>
                  <a:lnTo>
                    <a:pt x="899160" y="701993"/>
                  </a:lnTo>
                  <a:lnTo>
                    <a:pt x="910590" y="691515"/>
                  </a:lnTo>
                  <a:lnTo>
                    <a:pt x="930593" y="657225"/>
                  </a:lnTo>
                  <a:lnTo>
                    <a:pt x="973455" y="629603"/>
                  </a:lnTo>
                  <a:lnTo>
                    <a:pt x="1004888" y="624840"/>
                  </a:lnTo>
                  <a:lnTo>
                    <a:pt x="1028700" y="615315"/>
                  </a:lnTo>
                  <a:lnTo>
                    <a:pt x="1044893" y="603885"/>
                  </a:lnTo>
                  <a:lnTo>
                    <a:pt x="1075373" y="570548"/>
                  </a:lnTo>
                  <a:lnTo>
                    <a:pt x="1048702" y="560070"/>
                  </a:lnTo>
                  <a:lnTo>
                    <a:pt x="1035368" y="546735"/>
                  </a:lnTo>
                  <a:lnTo>
                    <a:pt x="1036320" y="530543"/>
                  </a:lnTo>
                  <a:lnTo>
                    <a:pt x="1031558" y="524828"/>
                  </a:lnTo>
                  <a:lnTo>
                    <a:pt x="1012508" y="524828"/>
                  </a:lnTo>
                  <a:lnTo>
                    <a:pt x="1014413" y="501015"/>
                  </a:lnTo>
                  <a:lnTo>
                    <a:pt x="1007745" y="489585"/>
                  </a:lnTo>
                  <a:lnTo>
                    <a:pt x="982980" y="467678"/>
                  </a:lnTo>
                  <a:lnTo>
                    <a:pt x="940118" y="449580"/>
                  </a:lnTo>
                  <a:lnTo>
                    <a:pt x="913448" y="447675"/>
                  </a:lnTo>
                  <a:lnTo>
                    <a:pt x="882015" y="421957"/>
                  </a:lnTo>
                  <a:lnTo>
                    <a:pt x="870585" y="416243"/>
                  </a:lnTo>
                  <a:close/>
                  <a:moveTo>
                    <a:pt x="704850" y="256223"/>
                  </a:moveTo>
                  <a:lnTo>
                    <a:pt x="694373" y="270510"/>
                  </a:lnTo>
                  <a:lnTo>
                    <a:pt x="693420" y="286703"/>
                  </a:lnTo>
                  <a:lnTo>
                    <a:pt x="719138" y="309563"/>
                  </a:lnTo>
                  <a:lnTo>
                    <a:pt x="737235" y="314325"/>
                  </a:lnTo>
                  <a:lnTo>
                    <a:pt x="742950" y="323850"/>
                  </a:lnTo>
                  <a:lnTo>
                    <a:pt x="746760" y="352425"/>
                  </a:lnTo>
                  <a:lnTo>
                    <a:pt x="781050" y="354330"/>
                  </a:lnTo>
                  <a:lnTo>
                    <a:pt x="831533" y="329565"/>
                  </a:lnTo>
                  <a:lnTo>
                    <a:pt x="830580" y="305753"/>
                  </a:lnTo>
                  <a:lnTo>
                    <a:pt x="817245" y="300990"/>
                  </a:lnTo>
                  <a:lnTo>
                    <a:pt x="783908" y="276225"/>
                  </a:lnTo>
                  <a:lnTo>
                    <a:pt x="766763" y="273368"/>
                  </a:lnTo>
                  <a:lnTo>
                    <a:pt x="739140" y="285750"/>
                  </a:lnTo>
                  <a:lnTo>
                    <a:pt x="724852" y="260032"/>
                  </a:lnTo>
                  <a:close/>
                  <a:moveTo>
                    <a:pt x="690563" y="365760"/>
                  </a:moveTo>
                  <a:lnTo>
                    <a:pt x="699135" y="352425"/>
                  </a:lnTo>
                  <a:lnTo>
                    <a:pt x="722948" y="349568"/>
                  </a:lnTo>
                  <a:lnTo>
                    <a:pt x="728663" y="366713"/>
                  </a:lnTo>
                  <a:close/>
                  <a:moveTo>
                    <a:pt x="623888" y="282893"/>
                  </a:moveTo>
                  <a:lnTo>
                    <a:pt x="640080" y="320993"/>
                  </a:lnTo>
                  <a:lnTo>
                    <a:pt x="669608" y="315278"/>
                  </a:lnTo>
                  <a:lnTo>
                    <a:pt x="672465" y="296228"/>
                  </a:lnTo>
                  <a:lnTo>
                    <a:pt x="659130" y="281940"/>
                  </a:lnTo>
                  <a:close/>
                  <a:moveTo>
                    <a:pt x="584835" y="219075"/>
                  </a:moveTo>
                  <a:lnTo>
                    <a:pt x="574358" y="241935"/>
                  </a:lnTo>
                  <a:lnTo>
                    <a:pt x="621983" y="241935"/>
                  </a:lnTo>
                  <a:lnTo>
                    <a:pt x="667702" y="257175"/>
                  </a:lnTo>
                  <a:lnTo>
                    <a:pt x="691515" y="241935"/>
                  </a:lnTo>
                  <a:lnTo>
                    <a:pt x="693420" y="227648"/>
                  </a:lnTo>
                  <a:lnTo>
                    <a:pt x="647700" y="229553"/>
                  </a:lnTo>
                  <a:close/>
                  <a:moveTo>
                    <a:pt x="432435" y="118110"/>
                  </a:moveTo>
                  <a:lnTo>
                    <a:pt x="414338" y="138113"/>
                  </a:lnTo>
                  <a:lnTo>
                    <a:pt x="386715" y="143828"/>
                  </a:lnTo>
                  <a:lnTo>
                    <a:pt x="394335" y="164782"/>
                  </a:lnTo>
                  <a:lnTo>
                    <a:pt x="415290" y="191453"/>
                  </a:lnTo>
                  <a:lnTo>
                    <a:pt x="416242" y="200978"/>
                  </a:lnTo>
                  <a:lnTo>
                    <a:pt x="436245" y="198120"/>
                  </a:lnTo>
                  <a:lnTo>
                    <a:pt x="458152" y="199073"/>
                  </a:lnTo>
                  <a:lnTo>
                    <a:pt x="474345" y="210503"/>
                  </a:lnTo>
                  <a:lnTo>
                    <a:pt x="507683" y="202882"/>
                  </a:lnTo>
                  <a:lnTo>
                    <a:pt x="507683" y="196215"/>
                  </a:lnTo>
                  <a:lnTo>
                    <a:pt x="498158" y="188595"/>
                  </a:lnTo>
                  <a:lnTo>
                    <a:pt x="493395" y="168593"/>
                  </a:lnTo>
                  <a:lnTo>
                    <a:pt x="485775" y="165735"/>
                  </a:lnTo>
                  <a:lnTo>
                    <a:pt x="481013" y="175260"/>
                  </a:lnTo>
                  <a:lnTo>
                    <a:pt x="469583" y="162878"/>
                  </a:lnTo>
                  <a:lnTo>
                    <a:pt x="471488" y="149543"/>
                  </a:lnTo>
                  <a:lnTo>
                    <a:pt x="454342" y="118110"/>
                  </a:lnTo>
                  <a:lnTo>
                    <a:pt x="443865" y="111443"/>
                  </a:lnTo>
                  <a:close/>
                  <a:moveTo>
                    <a:pt x="129540" y="0"/>
                  </a:moveTo>
                  <a:lnTo>
                    <a:pt x="89535" y="27623"/>
                  </a:lnTo>
                  <a:lnTo>
                    <a:pt x="91440" y="49530"/>
                  </a:lnTo>
                  <a:lnTo>
                    <a:pt x="114300" y="60960"/>
                  </a:lnTo>
                  <a:lnTo>
                    <a:pt x="132398" y="73343"/>
                  </a:lnTo>
                  <a:lnTo>
                    <a:pt x="158115" y="77153"/>
                  </a:lnTo>
                  <a:lnTo>
                    <a:pt x="182880" y="56198"/>
                  </a:lnTo>
                  <a:lnTo>
                    <a:pt x="180975" y="38100"/>
                  </a:lnTo>
                  <a:lnTo>
                    <a:pt x="188595" y="21907"/>
                  </a:lnTo>
                  <a:lnTo>
                    <a:pt x="188595" y="8573"/>
                  </a:lnTo>
                  <a:lnTo>
                    <a:pt x="179070" y="0"/>
                  </a:lnTo>
                  <a:close/>
                  <a:moveTo>
                    <a:pt x="26670" y="45720"/>
                  </a:moveTo>
                  <a:lnTo>
                    <a:pt x="23813" y="57150"/>
                  </a:lnTo>
                  <a:lnTo>
                    <a:pt x="5715" y="65723"/>
                  </a:lnTo>
                  <a:lnTo>
                    <a:pt x="0" y="82868"/>
                  </a:lnTo>
                  <a:lnTo>
                    <a:pt x="9525" y="90488"/>
                  </a:lnTo>
                  <a:lnTo>
                    <a:pt x="20003" y="76200"/>
                  </a:lnTo>
                  <a:lnTo>
                    <a:pt x="38100" y="70485"/>
                  </a:lnTo>
                  <a:lnTo>
                    <a:pt x="41910" y="45720"/>
                  </a:lnTo>
                  <a:close/>
                </a:path>
              </a:pathLst>
            </a:custGeom>
            <a:solidFill>
              <a:srgbClr val="D0D0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510AF242-0064-35BF-CE16-5B9ADBA191CD}"/>
                </a:ext>
              </a:extLst>
            </p:cNvPr>
            <p:cNvSpPr/>
            <p:nvPr/>
          </p:nvSpPr>
          <p:spPr>
            <a:xfrm>
              <a:off x="2870834" y="1014412"/>
              <a:ext cx="991552" cy="1604962"/>
            </a:xfrm>
            <a:custGeom>
              <a:avLst/>
              <a:gdLst>
                <a:gd name="connsiteX0" fmla="*/ 232410 w 991552"/>
                <a:gd name="connsiteY0" fmla="*/ 1482090 h 1604962"/>
                <a:gd name="connsiteX1" fmla="*/ 0 w 991552"/>
                <a:gd name="connsiteY1" fmla="*/ 1430655 h 1604962"/>
                <a:gd name="connsiteX2" fmla="*/ 80963 w 991552"/>
                <a:gd name="connsiteY2" fmla="*/ 1075373 h 1604962"/>
                <a:gd name="connsiteX3" fmla="*/ 108585 w 991552"/>
                <a:gd name="connsiteY3" fmla="*/ 1020128 h 1604962"/>
                <a:gd name="connsiteX4" fmla="*/ 112395 w 991552"/>
                <a:gd name="connsiteY4" fmla="*/ 1000125 h 1604962"/>
                <a:gd name="connsiteX5" fmla="*/ 120015 w 991552"/>
                <a:gd name="connsiteY5" fmla="*/ 991553 h 1604962"/>
                <a:gd name="connsiteX6" fmla="*/ 111443 w 991552"/>
                <a:gd name="connsiteY6" fmla="*/ 972503 h 1604962"/>
                <a:gd name="connsiteX7" fmla="*/ 83820 w 991552"/>
                <a:gd name="connsiteY7" fmla="*/ 961072 h 1604962"/>
                <a:gd name="connsiteX8" fmla="*/ 85725 w 991552"/>
                <a:gd name="connsiteY8" fmla="*/ 921068 h 1604962"/>
                <a:gd name="connsiteX9" fmla="*/ 123825 w 991552"/>
                <a:gd name="connsiteY9" fmla="*/ 865823 h 1604962"/>
                <a:gd name="connsiteX10" fmla="*/ 147638 w 991552"/>
                <a:gd name="connsiteY10" fmla="*/ 858203 h 1604962"/>
                <a:gd name="connsiteX11" fmla="*/ 162878 w 991552"/>
                <a:gd name="connsiteY11" fmla="*/ 836295 h 1604962"/>
                <a:gd name="connsiteX12" fmla="*/ 161925 w 991552"/>
                <a:gd name="connsiteY12" fmla="*/ 821055 h 1604962"/>
                <a:gd name="connsiteX13" fmla="*/ 179070 w 991552"/>
                <a:gd name="connsiteY13" fmla="*/ 805815 h 1604962"/>
                <a:gd name="connsiteX14" fmla="*/ 209550 w 991552"/>
                <a:gd name="connsiteY14" fmla="*/ 753428 h 1604962"/>
                <a:gd name="connsiteX15" fmla="*/ 249555 w 991552"/>
                <a:gd name="connsiteY15" fmla="*/ 707708 h 1604962"/>
                <a:gd name="connsiteX16" fmla="*/ 244793 w 991552"/>
                <a:gd name="connsiteY16" fmla="*/ 677228 h 1604962"/>
                <a:gd name="connsiteX17" fmla="*/ 211455 w 991552"/>
                <a:gd name="connsiteY17" fmla="*/ 647700 h 1604962"/>
                <a:gd name="connsiteX18" fmla="*/ 196215 w 991552"/>
                <a:gd name="connsiteY18" fmla="*/ 613410 h 1604962"/>
                <a:gd name="connsiteX19" fmla="*/ 206693 w 991552"/>
                <a:gd name="connsiteY19" fmla="*/ 572453 h 1604962"/>
                <a:gd name="connsiteX20" fmla="*/ 200025 w 991552"/>
                <a:gd name="connsiteY20" fmla="*/ 534353 h 1604962"/>
                <a:gd name="connsiteX21" fmla="*/ 320993 w 991552"/>
                <a:gd name="connsiteY21" fmla="*/ 0 h 1604962"/>
                <a:gd name="connsiteX22" fmla="*/ 456248 w 991552"/>
                <a:gd name="connsiteY22" fmla="*/ 28575 h 1604962"/>
                <a:gd name="connsiteX23" fmla="*/ 410528 w 991552"/>
                <a:gd name="connsiteY23" fmla="*/ 238125 h 1604962"/>
                <a:gd name="connsiteX24" fmla="*/ 445770 w 991552"/>
                <a:gd name="connsiteY24" fmla="*/ 308610 h 1604962"/>
                <a:gd name="connsiteX25" fmla="*/ 430530 w 991552"/>
                <a:gd name="connsiteY25" fmla="*/ 354330 h 1604962"/>
                <a:gd name="connsiteX26" fmla="*/ 464820 w 991552"/>
                <a:gd name="connsiteY26" fmla="*/ 400050 h 1604962"/>
                <a:gd name="connsiteX27" fmla="*/ 482918 w 991552"/>
                <a:gd name="connsiteY27" fmla="*/ 406717 h 1604962"/>
                <a:gd name="connsiteX28" fmla="*/ 520065 w 991552"/>
                <a:gd name="connsiteY28" fmla="*/ 485775 h 1604962"/>
                <a:gd name="connsiteX29" fmla="*/ 520065 w 991552"/>
                <a:gd name="connsiteY29" fmla="*/ 505778 h 1604962"/>
                <a:gd name="connsiteX30" fmla="*/ 541973 w 991552"/>
                <a:gd name="connsiteY30" fmla="*/ 534353 h 1604962"/>
                <a:gd name="connsiteX31" fmla="*/ 550545 w 991552"/>
                <a:gd name="connsiteY31" fmla="*/ 534353 h 1604962"/>
                <a:gd name="connsiteX32" fmla="*/ 563880 w 991552"/>
                <a:gd name="connsiteY32" fmla="*/ 554355 h 1604962"/>
                <a:gd name="connsiteX33" fmla="*/ 594360 w 991552"/>
                <a:gd name="connsiteY33" fmla="*/ 554355 h 1604962"/>
                <a:gd name="connsiteX34" fmla="*/ 594360 w 991552"/>
                <a:gd name="connsiteY34" fmla="*/ 569595 h 1604962"/>
                <a:gd name="connsiteX35" fmla="*/ 526733 w 991552"/>
                <a:gd name="connsiteY35" fmla="*/ 731520 h 1604962"/>
                <a:gd name="connsiteX36" fmla="*/ 521970 w 991552"/>
                <a:gd name="connsiteY36" fmla="*/ 770573 h 1604962"/>
                <a:gd name="connsiteX37" fmla="*/ 535305 w 991552"/>
                <a:gd name="connsiteY37" fmla="*/ 775335 h 1604962"/>
                <a:gd name="connsiteX38" fmla="*/ 550545 w 991552"/>
                <a:gd name="connsiteY38" fmla="*/ 800100 h 1604962"/>
                <a:gd name="connsiteX39" fmla="*/ 577215 w 991552"/>
                <a:gd name="connsiteY39" fmla="*/ 786765 h 1604962"/>
                <a:gd name="connsiteX40" fmla="*/ 611505 w 991552"/>
                <a:gd name="connsiteY40" fmla="*/ 763905 h 1604962"/>
                <a:gd name="connsiteX41" fmla="*/ 629603 w 991552"/>
                <a:gd name="connsiteY41" fmla="*/ 782003 h 1604962"/>
                <a:gd name="connsiteX42" fmla="*/ 634365 w 991552"/>
                <a:gd name="connsiteY42" fmla="*/ 805815 h 1604962"/>
                <a:gd name="connsiteX43" fmla="*/ 629603 w 991552"/>
                <a:gd name="connsiteY43" fmla="*/ 836295 h 1604962"/>
                <a:gd name="connsiteX44" fmla="*/ 653415 w 991552"/>
                <a:gd name="connsiteY44" fmla="*/ 928688 h 1604962"/>
                <a:gd name="connsiteX45" fmla="*/ 678180 w 991552"/>
                <a:gd name="connsiteY45" fmla="*/ 962025 h 1604962"/>
                <a:gd name="connsiteX46" fmla="*/ 700088 w 991552"/>
                <a:gd name="connsiteY46" fmla="*/ 975360 h 1604962"/>
                <a:gd name="connsiteX47" fmla="*/ 703898 w 991552"/>
                <a:gd name="connsiteY47" fmla="*/ 1003935 h 1604962"/>
                <a:gd name="connsiteX48" fmla="*/ 703898 w 991552"/>
                <a:gd name="connsiteY48" fmla="*/ 1042988 h 1604962"/>
                <a:gd name="connsiteX49" fmla="*/ 725805 w 991552"/>
                <a:gd name="connsiteY49" fmla="*/ 1064895 h 1604962"/>
                <a:gd name="connsiteX50" fmla="*/ 741045 w 991552"/>
                <a:gd name="connsiteY50" fmla="*/ 1042988 h 1604962"/>
                <a:gd name="connsiteX51" fmla="*/ 806768 w 991552"/>
                <a:gd name="connsiteY51" fmla="*/ 1058228 h 1604962"/>
                <a:gd name="connsiteX52" fmla="*/ 826770 w 991552"/>
                <a:gd name="connsiteY52" fmla="*/ 1046797 h 1604962"/>
                <a:gd name="connsiteX53" fmla="*/ 912495 w 991552"/>
                <a:gd name="connsiteY53" fmla="*/ 1062990 h 1604962"/>
                <a:gd name="connsiteX54" fmla="*/ 939165 w 991552"/>
                <a:gd name="connsiteY54" fmla="*/ 1031558 h 1604962"/>
                <a:gd name="connsiteX55" fmla="*/ 956310 w 991552"/>
                <a:gd name="connsiteY55" fmla="*/ 1025843 h 1604962"/>
                <a:gd name="connsiteX56" fmla="*/ 967740 w 991552"/>
                <a:gd name="connsiteY56" fmla="*/ 1042988 h 1604962"/>
                <a:gd name="connsiteX57" fmla="*/ 982980 w 991552"/>
                <a:gd name="connsiteY57" fmla="*/ 1082040 h 1604962"/>
                <a:gd name="connsiteX58" fmla="*/ 991553 w 991552"/>
                <a:gd name="connsiteY58" fmla="*/ 1082993 h 1604962"/>
                <a:gd name="connsiteX59" fmla="*/ 910590 w 991552"/>
                <a:gd name="connsiteY59" fmla="*/ 1604963 h 1604962"/>
                <a:gd name="connsiteX60" fmla="*/ 454343 w 991552"/>
                <a:gd name="connsiteY60" fmla="*/ 1526858 h 1604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991552" h="1604962">
                  <a:moveTo>
                    <a:pt x="232410" y="1482090"/>
                  </a:moveTo>
                  <a:lnTo>
                    <a:pt x="0" y="1430655"/>
                  </a:lnTo>
                  <a:lnTo>
                    <a:pt x="80963" y="1075373"/>
                  </a:lnTo>
                  <a:lnTo>
                    <a:pt x="108585" y="1020128"/>
                  </a:lnTo>
                  <a:lnTo>
                    <a:pt x="112395" y="1000125"/>
                  </a:lnTo>
                  <a:lnTo>
                    <a:pt x="120015" y="991553"/>
                  </a:lnTo>
                  <a:lnTo>
                    <a:pt x="111443" y="972503"/>
                  </a:lnTo>
                  <a:lnTo>
                    <a:pt x="83820" y="961072"/>
                  </a:lnTo>
                  <a:lnTo>
                    <a:pt x="85725" y="921068"/>
                  </a:lnTo>
                  <a:lnTo>
                    <a:pt x="123825" y="865823"/>
                  </a:lnTo>
                  <a:lnTo>
                    <a:pt x="147638" y="858203"/>
                  </a:lnTo>
                  <a:lnTo>
                    <a:pt x="162878" y="836295"/>
                  </a:lnTo>
                  <a:lnTo>
                    <a:pt x="161925" y="821055"/>
                  </a:lnTo>
                  <a:lnTo>
                    <a:pt x="179070" y="805815"/>
                  </a:lnTo>
                  <a:lnTo>
                    <a:pt x="209550" y="753428"/>
                  </a:lnTo>
                  <a:lnTo>
                    <a:pt x="249555" y="707708"/>
                  </a:lnTo>
                  <a:lnTo>
                    <a:pt x="244793" y="677228"/>
                  </a:lnTo>
                  <a:lnTo>
                    <a:pt x="211455" y="647700"/>
                  </a:lnTo>
                  <a:lnTo>
                    <a:pt x="196215" y="613410"/>
                  </a:lnTo>
                  <a:lnTo>
                    <a:pt x="206693" y="572453"/>
                  </a:lnTo>
                  <a:lnTo>
                    <a:pt x="200025" y="534353"/>
                  </a:lnTo>
                  <a:lnTo>
                    <a:pt x="320993" y="0"/>
                  </a:lnTo>
                  <a:lnTo>
                    <a:pt x="456248" y="28575"/>
                  </a:lnTo>
                  <a:lnTo>
                    <a:pt x="410528" y="238125"/>
                  </a:lnTo>
                  <a:lnTo>
                    <a:pt x="445770" y="308610"/>
                  </a:lnTo>
                  <a:lnTo>
                    <a:pt x="430530" y="354330"/>
                  </a:lnTo>
                  <a:lnTo>
                    <a:pt x="464820" y="400050"/>
                  </a:lnTo>
                  <a:lnTo>
                    <a:pt x="482918" y="406717"/>
                  </a:lnTo>
                  <a:lnTo>
                    <a:pt x="520065" y="485775"/>
                  </a:lnTo>
                  <a:lnTo>
                    <a:pt x="520065" y="505778"/>
                  </a:lnTo>
                  <a:lnTo>
                    <a:pt x="541973" y="534353"/>
                  </a:lnTo>
                  <a:lnTo>
                    <a:pt x="550545" y="534353"/>
                  </a:lnTo>
                  <a:lnTo>
                    <a:pt x="563880" y="554355"/>
                  </a:lnTo>
                  <a:lnTo>
                    <a:pt x="594360" y="554355"/>
                  </a:lnTo>
                  <a:lnTo>
                    <a:pt x="594360" y="569595"/>
                  </a:lnTo>
                  <a:lnTo>
                    <a:pt x="526733" y="731520"/>
                  </a:lnTo>
                  <a:lnTo>
                    <a:pt x="521970" y="770573"/>
                  </a:lnTo>
                  <a:lnTo>
                    <a:pt x="535305" y="775335"/>
                  </a:lnTo>
                  <a:lnTo>
                    <a:pt x="550545" y="800100"/>
                  </a:lnTo>
                  <a:lnTo>
                    <a:pt x="577215" y="786765"/>
                  </a:lnTo>
                  <a:lnTo>
                    <a:pt x="611505" y="763905"/>
                  </a:lnTo>
                  <a:lnTo>
                    <a:pt x="629603" y="782003"/>
                  </a:lnTo>
                  <a:lnTo>
                    <a:pt x="634365" y="805815"/>
                  </a:lnTo>
                  <a:lnTo>
                    <a:pt x="629603" y="836295"/>
                  </a:lnTo>
                  <a:lnTo>
                    <a:pt x="653415" y="928688"/>
                  </a:lnTo>
                  <a:lnTo>
                    <a:pt x="678180" y="962025"/>
                  </a:lnTo>
                  <a:lnTo>
                    <a:pt x="700088" y="975360"/>
                  </a:lnTo>
                  <a:lnTo>
                    <a:pt x="703898" y="1003935"/>
                  </a:lnTo>
                  <a:lnTo>
                    <a:pt x="703898" y="1042988"/>
                  </a:lnTo>
                  <a:lnTo>
                    <a:pt x="725805" y="1064895"/>
                  </a:lnTo>
                  <a:lnTo>
                    <a:pt x="741045" y="1042988"/>
                  </a:lnTo>
                  <a:lnTo>
                    <a:pt x="806768" y="1058228"/>
                  </a:lnTo>
                  <a:lnTo>
                    <a:pt x="826770" y="1046797"/>
                  </a:lnTo>
                  <a:lnTo>
                    <a:pt x="912495" y="1062990"/>
                  </a:lnTo>
                  <a:lnTo>
                    <a:pt x="939165" y="1031558"/>
                  </a:lnTo>
                  <a:lnTo>
                    <a:pt x="956310" y="1025843"/>
                  </a:lnTo>
                  <a:lnTo>
                    <a:pt x="967740" y="1042988"/>
                  </a:lnTo>
                  <a:lnTo>
                    <a:pt x="982980" y="1082040"/>
                  </a:lnTo>
                  <a:lnTo>
                    <a:pt x="991553" y="1082993"/>
                  </a:lnTo>
                  <a:lnTo>
                    <a:pt x="910590" y="1604963"/>
                  </a:lnTo>
                  <a:lnTo>
                    <a:pt x="454343" y="1526858"/>
                  </a:lnTo>
                  <a:close/>
                </a:path>
              </a:pathLst>
            </a:custGeom>
            <a:solidFill>
              <a:srgbClr val="D0D0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123EBCBD-779F-9695-886A-887CD0599554}"/>
                </a:ext>
              </a:extLst>
            </p:cNvPr>
            <p:cNvSpPr/>
            <p:nvPr/>
          </p:nvSpPr>
          <p:spPr>
            <a:xfrm>
              <a:off x="6818947" y="2649854"/>
              <a:ext cx="667702" cy="1174432"/>
            </a:xfrm>
            <a:custGeom>
              <a:avLst/>
              <a:gdLst>
                <a:gd name="connsiteX0" fmla="*/ 648652 w 667702"/>
                <a:gd name="connsiteY0" fmla="*/ 635318 h 1174432"/>
                <a:gd name="connsiteX1" fmla="*/ 639127 w 667702"/>
                <a:gd name="connsiteY1" fmla="*/ 684848 h 1174432"/>
                <a:gd name="connsiteX2" fmla="*/ 639127 w 667702"/>
                <a:gd name="connsiteY2" fmla="*/ 703898 h 1174432"/>
                <a:gd name="connsiteX3" fmla="*/ 661988 w 667702"/>
                <a:gd name="connsiteY3" fmla="*/ 737235 h 1174432"/>
                <a:gd name="connsiteX4" fmla="*/ 661988 w 667702"/>
                <a:gd name="connsiteY4" fmla="*/ 743902 h 1174432"/>
                <a:gd name="connsiteX5" fmla="*/ 659130 w 667702"/>
                <a:gd name="connsiteY5" fmla="*/ 752475 h 1174432"/>
                <a:gd name="connsiteX6" fmla="*/ 667702 w 667702"/>
                <a:gd name="connsiteY6" fmla="*/ 770573 h 1174432"/>
                <a:gd name="connsiteX7" fmla="*/ 664845 w 667702"/>
                <a:gd name="connsiteY7" fmla="*/ 793433 h 1174432"/>
                <a:gd name="connsiteX8" fmla="*/ 649605 w 667702"/>
                <a:gd name="connsiteY8" fmla="*/ 810577 h 1174432"/>
                <a:gd name="connsiteX9" fmla="*/ 637222 w 667702"/>
                <a:gd name="connsiteY9" fmla="*/ 850583 h 1174432"/>
                <a:gd name="connsiteX10" fmla="*/ 601027 w 667702"/>
                <a:gd name="connsiteY10" fmla="*/ 901065 h 1174432"/>
                <a:gd name="connsiteX11" fmla="*/ 600075 w 667702"/>
                <a:gd name="connsiteY11" fmla="*/ 967740 h 1174432"/>
                <a:gd name="connsiteX12" fmla="*/ 590550 w 667702"/>
                <a:gd name="connsiteY12" fmla="*/ 967740 h 1174432"/>
                <a:gd name="connsiteX13" fmla="*/ 599122 w 667702"/>
                <a:gd name="connsiteY13" fmla="*/ 985838 h 1174432"/>
                <a:gd name="connsiteX14" fmla="*/ 599122 w 667702"/>
                <a:gd name="connsiteY14" fmla="*/ 994410 h 1174432"/>
                <a:gd name="connsiteX15" fmla="*/ 578167 w 667702"/>
                <a:gd name="connsiteY15" fmla="*/ 1020127 h 1174432"/>
                <a:gd name="connsiteX16" fmla="*/ 579120 w 667702"/>
                <a:gd name="connsiteY16" fmla="*/ 1030605 h 1174432"/>
                <a:gd name="connsiteX17" fmla="*/ 593407 w 667702"/>
                <a:gd name="connsiteY17" fmla="*/ 1051560 h 1174432"/>
                <a:gd name="connsiteX18" fmla="*/ 592455 w 667702"/>
                <a:gd name="connsiteY18" fmla="*/ 1060133 h 1174432"/>
                <a:gd name="connsiteX19" fmla="*/ 557213 w 667702"/>
                <a:gd name="connsiteY19" fmla="*/ 1065848 h 1174432"/>
                <a:gd name="connsiteX20" fmla="*/ 551497 w 667702"/>
                <a:gd name="connsiteY20" fmla="*/ 1077277 h 1174432"/>
                <a:gd name="connsiteX21" fmla="*/ 540067 w 667702"/>
                <a:gd name="connsiteY21" fmla="*/ 1071563 h 1174432"/>
                <a:gd name="connsiteX22" fmla="*/ 530542 w 667702"/>
                <a:gd name="connsiteY22" fmla="*/ 1076325 h 1174432"/>
                <a:gd name="connsiteX23" fmla="*/ 526732 w 667702"/>
                <a:gd name="connsiteY23" fmla="*/ 1107758 h 1174432"/>
                <a:gd name="connsiteX24" fmla="*/ 542925 w 667702"/>
                <a:gd name="connsiteY24" fmla="*/ 1124902 h 1174432"/>
                <a:gd name="connsiteX25" fmla="*/ 539115 w 667702"/>
                <a:gd name="connsiteY25" fmla="*/ 1147763 h 1174432"/>
                <a:gd name="connsiteX26" fmla="*/ 524827 w 667702"/>
                <a:gd name="connsiteY26" fmla="*/ 1150620 h 1174432"/>
                <a:gd name="connsiteX27" fmla="*/ 459105 w 667702"/>
                <a:gd name="connsiteY27" fmla="*/ 1122045 h 1174432"/>
                <a:gd name="connsiteX28" fmla="*/ 421005 w 667702"/>
                <a:gd name="connsiteY28" fmla="*/ 1157288 h 1174432"/>
                <a:gd name="connsiteX29" fmla="*/ 423863 w 667702"/>
                <a:gd name="connsiteY29" fmla="*/ 1174433 h 1174432"/>
                <a:gd name="connsiteX30" fmla="*/ 397192 w 667702"/>
                <a:gd name="connsiteY30" fmla="*/ 1174433 h 1174432"/>
                <a:gd name="connsiteX31" fmla="*/ 383857 w 667702"/>
                <a:gd name="connsiteY31" fmla="*/ 1160145 h 1174432"/>
                <a:gd name="connsiteX32" fmla="*/ 366713 w 667702"/>
                <a:gd name="connsiteY32" fmla="*/ 1123950 h 1174432"/>
                <a:gd name="connsiteX33" fmla="*/ 366713 w 667702"/>
                <a:gd name="connsiteY33" fmla="*/ 1105852 h 1174432"/>
                <a:gd name="connsiteX34" fmla="*/ 374332 w 667702"/>
                <a:gd name="connsiteY34" fmla="*/ 1100138 h 1174432"/>
                <a:gd name="connsiteX35" fmla="*/ 375285 w 667702"/>
                <a:gd name="connsiteY35" fmla="*/ 1087755 h 1174432"/>
                <a:gd name="connsiteX36" fmla="*/ 359092 w 667702"/>
                <a:gd name="connsiteY36" fmla="*/ 1069658 h 1174432"/>
                <a:gd name="connsiteX37" fmla="*/ 350520 w 667702"/>
                <a:gd name="connsiteY37" fmla="*/ 1045845 h 1174432"/>
                <a:gd name="connsiteX38" fmla="*/ 324802 w 667702"/>
                <a:gd name="connsiteY38" fmla="*/ 1006793 h 1174432"/>
                <a:gd name="connsiteX39" fmla="*/ 279082 w 667702"/>
                <a:gd name="connsiteY39" fmla="*/ 994410 h 1174432"/>
                <a:gd name="connsiteX40" fmla="*/ 208597 w 667702"/>
                <a:gd name="connsiteY40" fmla="*/ 926783 h 1174432"/>
                <a:gd name="connsiteX41" fmla="*/ 204788 w 667702"/>
                <a:gd name="connsiteY41" fmla="*/ 903923 h 1174432"/>
                <a:gd name="connsiteX42" fmla="*/ 231457 w 667702"/>
                <a:gd name="connsiteY42" fmla="*/ 831533 h 1174432"/>
                <a:gd name="connsiteX43" fmla="*/ 227647 w 667702"/>
                <a:gd name="connsiteY43" fmla="*/ 813435 h 1174432"/>
                <a:gd name="connsiteX44" fmla="*/ 239077 w 667702"/>
                <a:gd name="connsiteY44" fmla="*/ 802958 h 1174432"/>
                <a:gd name="connsiteX45" fmla="*/ 239077 w 667702"/>
                <a:gd name="connsiteY45" fmla="*/ 790575 h 1174432"/>
                <a:gd name="connsiteX46" fmla="*/ 212407 w 667702"/>
                <a:gd name="connsiteY46" fmla="*/ 776288 h 1174432"/>
                <a:gd name="connsiteX47" fmla="*/ 183832 w 667702"/>
                <a:gd name="connsiteY47" fmla="*/ 769620 h 1174432"/>
                <a:gd name="connsiteX48" fmla="*/ 151447 w 667702"/>
                <a:gd name="connsiteY48" fmla="*/ 781050 h 1174432"/>
                <a:gd name="connsiteX49" fmla="*/ 139065 w 667702"/>
                <a:gd name="connsiteY49" fmla="*/ 759143 h 1174432"/>
                <a:gd name="connsiteX50" fmla="*/ 144780 w 667702"/>
                <a:gd name="connsiteY50" fmla="*/ 741045 h 1174432"/>
                <a:gd name="connsiteX51" fmla="*/ 138113 w 667702"/>
                <a:gd name="connsiteY51" fmla="*/ 718185 h 1174432"/>
                <a:gd name="connsiteX52" fmla="*/ 56197 w 667702"/>
                <a:gd name="connsiteY52" fmla="*/ 638175 h 1174432"/>
                <a:gd name="connsiteX53" fmla="*/ 35242 w 667702"/>
                <a:gd name="connsiteY53" fmla="*/ 623888 h 1174432"/>
                <a:gd name="connsiteX54" fmla="*/ 11430 w 667702"/>
                <a:gd name="connsiteY54" fmla="*/ 567690 h 1174432"/>
                <a:gd name="connsiteX55" fmla="*/ 0 w 667702"/>
                <a:gd name="connsiteY55" fmla="*/ 516255 h 1174432"/>
                <a:gd name="connsiteX56" fmla="*/ 13335 w 667702"/>
                <a:gd name="connsiteY56" fmla="*/ 481013 h 1174432"/>
                <a:gd name="connsiteX57" fmla="*/ 20002 w 667702"/>
                <a:gd name="connsiteY57" fmla="*/ 474345 h 1174432"/>
                <a:gd name="connsiteX58" fmla="*/ 20955 w 667702"/>
                <a:gd name="connsiteY58" fmla="*/ 452438 h 1174432"/>
                <a:gd name="connsiteX59" fmla="*/ 14288 w 667702"/>
                <a:gd name="connsiteY59" fmla="*/ 443865 h 1174432"/>
                <a:gd name="connsiteX60" fmla="*/ 23813 w 667702"/>
                <a:gd name="connsiteY60" fmla="*/ 429578 h 1174432"/>
                <a:gd name="connsiteX61" fmla="*/ 40957 w 667702"/>
                <a:gd name="connsiteY61" fmla="*/ 423863 h 1174432"/>
                <a:gd name="connsiteX62" fmla="*/ 49530 w 667702"/>
                <a:gd name="connsiteY62" fmla="*/ 421005 h 1174432"/>
                <a:gd name="connsiteX63" fmla="*/ 59055 w 667702"/>
                <a:gd name="connsiteY63" fmla="*/ 409575 h 1174432"/>
                <a:gd name="connsiteX64" fmla="*/ 59055 w 667702"/>
                <a:gd name="connsiteY64" fmla="*/ 386715 h 1174432"/>
                <a:gd name="connsiteX65" fmla="*/ 75247 w 667702"/>
                <a:gd name="connsiteY65" fmla="*/ 363855 h 1174432"/>
                <a:gd name="connsiteX66" fmla="*/ 80010 w 667702"/>
                <a:gd name="connsiteY66" fmla="*/ 359092 h 1174432"/>
                <a:gd name="connsiteX67" fmla="*/ 80963 w 667702"/>
                <a:gd name="connsiteY67" fmla="*/ 325755 h 1174432"/>
                <a:gd name="connsiteX68" fmla="*/ 72390 w 667702"/>
                <a:gd name="connsiteY68" fmla="*/ 312420 h 1174432"/>
                <a:gd name="connsiteX69" fmla="*/ 62865 w 667702"/>
                <a:gd name="connsiteY69" fmla="*/ 309563 h 1174432"/>
                <a:gd name="connsiteX70" fmla="*/ 52388 w 667702"/>
                <a:gd name="connsiteY70" fmla="*/ 294323 h 1174432"/>
                <a:gd name="connsiteX71" fmla="*/ 61913 w 667702"/>
                <a:gd name="connsiteY71" fmla="*/ 256223 h 1174432"/>
                <a:gd name="connsiteX72" fmla="*/ 90488 w 667702"/>
                <a:gd name="connsiteY72" fmla="*/ 248603 h 1174432"/>
                <a:gd name="connsiteX73" fmla="*/ 113347 w 667702"/>
                <a:gd name="connsiteY73" fmla="*/ 248603 h 1174432"/>
                <a:gd name="connsiteX74" fmla="*/ 153352 w 667702"/>
                <a:gd name="connsiteY74" fmla="*/ 231458 h 1174432"/>
                <a:gd name="connsiteX75" fmla="*/ 169545 w 667702"/>
                <a:gd name="connsiteY75" fmla="*/ 210503 h 1174432"/>
                <a:gd name="connsiteX76" fmla="*/ 170497 w 667702"/>
                <a:gd name="connsiteY76" fmla="*/ 187642 h 1174432"/>
                <a:gd name="connsiteX77" fmla="*/ 180975 w 667702"/>
                <a:gd name="connsiteY77" fmla="*/ 175260 h 1174432"/>
                <a:gd name="connsiteX78" fmla="*/ 193357 w 667702"/>
                <a:gd name="connsiteY78" fmla="*/ 144780 h 1174432"/>
                <a:gd name="connsiteX79" fmla="*/ 192405 w 667702"/>
                <a:gd name="connsiteY79" fmla="*/ 120015 h 1174432"/>
                <a:gd name="connsiteX80" fmla="*/ 165735 w 667702"/>
                <a:gd name="connsiteY80" fmla="*/ 86678 h 1174432"/>
                <a:gd name="connsiteX81" fmla="*/ 154305 w 667702"/>
                <a:gd name="connsiteY81" fmla="*/ 86678 h 1174432"/>
                <a:gd name="connsiteX82" fmla="*/ 145732 w 667702"/>
                <a:gd name="connsiteY82" fmla="*/ 76200 h 1174432"/>
                <a:gd name="connsiteX83" fmla="*/ 147638 w 667702"/>
                <a:gd name="connsiteY83" fmla="*/ 60960 h 1174432"/>
                <a:gd name="connsiteX84" fmla="*/ 131445 w 667702"/>
                <a:gd name="connsiteY84" fmla="*/ 44767 h 1174432"/>
                <a:gd name="connsiteX85" fmla="*/ 107632 w 667702"/>
                <a:gd name="connsiteY85" fmla="*/ 32385 h 1174432"/>
                <a:gd name="connsiteX86" fmla="*/ 112395 w 667702"/>
                <a:gd name="connsiteY86" fmla="*/ 26670 h 1174432"/>
                <a:gd name="connsiteX87" fmla="*/ 549592 w 667702"/>
                <a:gd name="connsiteY87" fmla="*/ 0 h 1174432"/>
                <a:gd name="connsiteX88" fmla="*/ 550545 w 667702"/>
                <a:gd name="connsiteY88" fmla="*/ 43815 h 1174432"/>
                <a:gd name="connsiteX89" fmla="*/ 582930 w 667702"/>
                <a:gd name="connsiteY89" fmla="*/ 87630 h 1174432"/>
                <a:gd name="connsiteX90" fmla="*/ 594360 w 667702"/>
                <a:gd name="connsiteY90" fmla="*/ 126683 h 1174432"/>
                <a:gd name="connsiteX91" fmla="*/ 609600 w 667702"/>
                <a:gd name="connsiteY91" fmla="*/ 157163 h 1174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667702" h="1174432">
                  <a:moveTo>
                    <a:pt x="648652" y="635318"/>
                  </a:moveTo>
                  <a:lnTo>
                    <a:pt x="639127" y="684848"/>
                  </a:lnTo>
                  <a:lnTo>
                    <a:pt x="639127" y="703898"/>
                  </a:lnTo>
                  <a:lnTo>
                    <a:pt x="661988" y="737235"/>
                  </a:lnTo>
                  <a:lnTo>
                    <a:pt x="661988" y="743902"/>
                  </a:lnTo>
                  <a:lnTo>
                    <a:pt x="659130" y="752475"/>
                  </a:lnTo>
                  <a:lnTo>
                    <a:pt x="667702" y="770573"/>
                  </a:lnTo>
                  <a:lnTo>
                    <a:pt x="664845" y="793433"/>
                  </a:lnTo>
                  <a:lnTo>
                    <a:pt x="649605" y="810577"/>
                  </a:lnTo>
                  <a:lnTo>
                    <a:pt x="637222" y="850583"/>
                  </a:lnTo>
                  <a:lnTo>
                    <a:pt x="601027" y="901065"/>
                  </a:lnTo>
                  <a:lnTo>
                    <a:pt x="600075" y="967740"/>
                  </a:lnTo>
                  <a:lnTo>
                    <a:pt x="590550" y="967740"/>
                  </a:lnTo>
                  <a:lnTo>
                    <a:pt x="599122" y="985838"/>
                  </a:lnTo>
                  <a:lnTo>
                    <a:pt x="599122" y="994410"/>
                  </a:lnTo>
                  <a:lnTo>
                    <a:pt x="578167" y="1020127"/>
                  </a:lnTo>
                  <a:lnTo>
                    <a:pt x="579120" y="1030605"/>
                  </a:lnTo>
                  <a:lnTo>
                    <a:pt x="593407" y="1051560"/>
                  </a:lnTo>
                  <a:lnTo>
                    <a:pt x="592455" y="1060133"/>
                  </a:lnTo>
                  <a:lnTo>
                    <a:pt x="557213" y="1065848"/>
                  </a:lnTo>
                  <a:lnTo>
                    <a:pt x="551497" y="1077277"/>
                  </a:lnTo>
                  <a:lnTo>
                    <a:pt x="540067" y="1071563"/>
                  </a:lnTo>
                  <a:lnTo>
                    <a:pt x="530542" y="1076325"/>
                  </a:lnTo>
                  <a:lnTo>
                    <a:pt x="526732" y="1107758"/>
                  </a:lnTo>
                  <a:lnTo>
                    <a:pt x="542925" y="1124902"/>
                  </a:lnTo>
                  <a:lnTo>
                    <a:pt x="539115" y="1147763"/>
                  </a:lnTo>
                  <a:lnTo>
                    <a:pt x="524827" y="1150620"/>
                  </a:lnTo>
                  <a:lnTo>
                    <a:pt x="459105" y="1122045"/>
                  </a:lnTo>
                  <a:lnTo>
                    <a:pt x="421005" y="1157288"/>
                  </a:lnTo>
                  <a:lnTo>
                    <a:pt x="423863" y="1174433"/>
                  </a:lnTo>
                  <a:lnTo>
                    <a:pt x="397192" y="1174433"/>
                  </a:lnTo>
                  <a:lnTo>
                    <a:pt x="383857" y="1160145"/>
                  </a:lnTo>
                  <a:lnTo>
                    <a:pt x="366713" y="1123950"/>
                  </a:lnTo>
                  <a:lnTo>
                    <a:pt x="366713" y="1105852"/>
                  </a:lnTo>
                  <a:lnTo>
                    <a:pt x="374332" y="1100138"/>
                  </a:lnTo>
                  <a:lnTo>
                    <a:pt x="375285" y="1087755"/>
                  </a:lnTo>
                  <a:lnTo>
                    <a:pt x="359092" y="1069658"/>
                  </a:lnTo>
                  <a:lnTo>
                    <a:pt x="350520" y="1045845"/>
                  </a:lnTo>
                  <a:lnTo>
                    <a:pt x="324802" y="1006793"/>
                  </a:lnTo>
                  <a:lnTo>
                    <a:pt x="279082" y="994410"/>
                  </a:lnTo>
                  <a:lnTo>
                    <a:pt x="208597" y="926783"/>
                  </a:lnTo>
                  <a:lnTo>
                    <a:pt x="204788" y="903923"/>
                  </a:lnTo>
                  <a:lnTo>
                    <a:pt x="231457" y="831533"/>
                  </a:lnTo>
                  <a:lnTo>
                    <a:pt x="227647" y="813435"/>
                  </a:lnTo>
                  <a:lnTo>
                    <a:pt x="239077" y="802958"/>
                  </a:lnTo>
                  <a:lnTo>
                    <a:pt x="239077" y="790575"/>
                  </a:lnTo>
                  <a:lnTo>
                    <a:pt x="212407" y="776288"/>
                  </a:lnTo>
                  <a:lnTo>
                    <a:pt x="183832" y="769620"/>
                  </a:lnTo>
                  <a:lnTo>
                    <a:pt x="151447" y="781050"/>
                  </a:lnTo>
                  <a:lnTo>
                    <a:pt x="139065" y="759143"/>
                  </a:lnTo>
                  <a:lnTo>
                    <a:pt x="144780" y="741045"/>
                  </a:lnTo>
                  <a:lnTo>
                    <a:pt x="138113" y="718185"/>
                  </a:lnTo>
                  <a:lnTo>
                    <a:pt x="56197" y="638175"/>
                  </a:lnTo>
                  <a:lnTo>
                    <a:pt x="35242" y="623888"/>
                  </a:lnTo>
                  <a:lnTo>
                    <a:pt x="11430" y="567690"/>
                  </a:lnTo>
                  <a:lnTo>
                    <a:pt x="0" y="516255"/>
                  </a:lnTo>
                  <a:lnTo>
                    <a:pt x="13335" y="481013"/>
                  </a:lnTo>
                  <a:lnTo>
                    <a:pt x="20002" y="474345"/>
                  </a:lnTo>
                  <a:lnTo>
                    <a:pt x="20955" y="452438"/>
                  </a:lnTo>
                  <a:lnTo>
                    <a:pt x="14288" y="443865"/>
                  </a:lnTo>
                  <a:lnTo>
                    <a:pt x="23813" y="429578"/>
                  </a:lnTo>
                  <a:lnTo>
                    <a:pt x="40957" y="423863"/>
                  </a:lnTo>
                  <a:lnTo>
                    <a:pt x="49530" y="421005"/>
                  </a:lnTo>
                  <a:lnTo>
                    <a:pt x="59055" y="409575"/>
                  </a:lnTo>
                  <a:lnTo>
                    <a:pt x="59055" y="386715"/>
                  </a:lnTo>
                  <a:lnTo>
                    <a:pt x="75247" y="363855"/>
                  </a:lnTo>
                  <a:lnTo>
                    <a:pt x="80010" y="359092"/>
                  </a:lnTo>
                  <a:lnTo>
                    <a:pt x="80963" y="325755"/>
                  </a:lnTo>
                  <a:lnTo>
                    <a:pt x="72390" y="312420"/>
                  </a:lnTo>
                  <a:lnTo>
                    <a:pt x="62865" y="309563"/>
                  </a:lnTo>
                  <a:lnTo>
                    <a:pt x="52388" y="294323"/>
                  </a:lnTo>
                  <a:lnTo>
                    <a:pt x="61913" y="256223"/>
                  </a:lnTo>
                  <a:lnTo>
                    <a:pt x="90488" y="248603"/>
                  </a:lnTo>
                  <a:lnTo>
                    <a:pt x="113347" y="248603"/>
                  </a:lnTo>
                  <a:lnTo>
                    <a:pt x="153352" y="231458"/>
                  </a:lnTo>
                  <a:lnTo>
                    <a:pt x="169545" y="210503"/>
                  </a:lnTo>
                  <a:lnTo>
                    <a:pt x="170497" y="187642"/>
                  </a:lnTo>
                  <a:lnTo>
                    <a:pt x="180975" y="175260"/>
                  </a:lnTo>
                  <a:lnTo>
                    <a:pt x="193357" y="144780"/>
                  </a:lnTo>
                  <a:lnTo>
                    <a:pt x="192405" y="120015"/>
                  </a:lnTo>
                  <a:lnTo>
                    <a:pt x="165735" y="86678"/>
                  </a:lnTo>
                  <a:lnTo>
                    <a:pt x="154305" y="86678"/>
                  </a:lnTo>
                  <a:lnTo>
                    <a:pt x="145732" y="76200"/>
                  </a:lnTo>
                  <a:lnTo>
                    <a:pt x="147638" y="60960"/>
                  </a:lnTo>
                  <a:lnTo>
                    <a:pt x="131445" y="44767"/>
                  </a:lnTo>
                  <a:lnTo>
                    <a:pt x="107632" y="32385"/>
                  </a:lnTo>
                  <a:lnTo>
                    <a:pt x="112395" y="26670"/>
                  </a:lnTo>
                  <a:lnTo>
                    <a:pt x="549592" y="0"/>
                  </a:lnTo>
                  <a:lnTo>
                    <a:pt x="550545" y="43815"/>
                  </a:lnTo>
                  <a:lnTo>
                    <a:pt x="582930" y="87630"/>
                  </a:lnTo>
                  <a:lnTo>
                    <a:pt x="594360" y="126683"/>
                  </a:lnTo>
                  <a:lnTo>
                    <a:pt x="609600" y="157163"/>
                  </a:lnTo>
                  <a:close/>
                </a:path>
              </a:pathLst>
            </a:custGeom>
            <a:solidFill>
              <a:srgbClr val="D0D0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999D7049-F09E-A3DD-7BCF-C7F0401BC29F}"/>
                </a:ext>
              </a:extLst>
            </p:cNvPr>
            <p:cNvSpPr/>
            <p:nvPr/>
          </p:nvSpPr>
          <p:spPr>
            <a:xfrm>
              <a:off x="7409497" y="2750820"/>
              <a:ext cx="509587" cy="892492"/>
            </a:xfrm>
            <a:custGeom>
              <a:avLst/>
              <a:gdLst>
                <a:gd name="connsiteX0" fmla="*/ 112395 w 509587"/>
                <a:gd name="connsiteY0" fmla="*/ 47625 h 892492"/>
                <a:gd name="connsiteX1" fmla="*/ 63817 w 509587"/>
                <a:gd name="connsiteY1" fmla="*/ 69533 h 892492"/>
                <a:gd name="connsiteX2" fmla="*/ 19050 w 509587"/>
                <a:gd name="connsiteY2" fmla="*/ 56197 h 892492"/>
                <a:gd name="connsiteX3" fmla="*/ 58102 w 509587"/>
                <a:gd name="connsiteY3" fmla="*/ 534352 h 892492"/>
                <a:gd name="connsiteX4" fmla="*/ 48577 w 509587"/>
                <a:gd name="connsiteY4" fmla="*/ 583883 h 892492"/>
                <a:gd name="connsiteX5" fmla="*/ 48577 w 509587"/>
                <a:gd name="connsiteY5" fmla="*/ 602933 h 892492"/>
                <a:gd name="connsiteX6" fmla="*/ 71438 w 509587"/>
                <a:gd name="connsiteY6" fmla="*/ 636270 h 892492"/>
                <a:gd name="connsiteX7" fmla="*/ 71438 w 509587"/>
                <a:gd name="connsiteY7" fmla="*/ 642937 h 892492"/>
                <a:gd name="connsiteX8" fmla="*/ 68580 w 509587"/>
                <a:gd name="connsiteY8" fmla="*/ 651510 h 892492"/>
                <a:gd name="connsiteX9" fmla="*/ 77152 w 509587"/>
                <a:gd name="connsiteY9" fmla="*/ 669608 h 892492"/>
                <a:gd name="connsiteX10" fmla="*/ 74295 w 509587"/>
                <a:gd name="connsiteY10" fmla="*/ 692468 h 892492"/>
                <a:gd name="connsiteX11" fmla="*/ 59055 w 509587"/>
                <a:gd name="connsiteY11" fmla="*/ 709612 h 892492"/>
                <a:gd name="connsiteX12" fmla="*/ 46672 w 509587"/>
                <a:gd name="connsiteY12" fmla="*/ 749618 h 892492"/>
                <a:gd name="connsiteX13" fmla="*/ 10477 w 509587"/>
                <a:gd name="connsiteY13" fmla="*/ 800100 h 892492"/>
                <a:gd name="connsiteX14" fmla="*/ 9525 w 509587"/>
                <a:gd name="connsiteY14" fmla="*/ 866775 h 892492"/>
                <a:gd name="connsiteX15" fmla="*/ 0 w 509587"/>
                <a:gd name="connsiteY15" fmla="*/ 866775 h 892492"/>
                <a:gd name="connsiteX16" fmla="*/ 8572 w 509587"/>
                <a:gd name="connsiteY16" fmla="*/ 884873 h 892492"/>
                <a:gd name="connsiteX17" fmla="*/ 19050 w 509587"/>
                <a:gd name="connsiteY17" fmla="*/ 892493 h 892492"/>
                <a:gd name="connsiteX18" fmla="*/ 24765 w 509587"/>
                <a:gd name="connsiteY18" fmla="*/ 882968 h 892492"/>
                <a:gd name="connsiteX19" fmla="*/ 18097 w 509587"/>
                <a:gd name="connsiteY19" fmla="*/ 866775 h 892492"/>
                <a:gd name="connsiteX20" fmla="*/ 61913 w 509587"/>
                <a:gd name="connsiteY20" fmla="*/ 862012 h 892492"/>
                <a:gd name="connsiteX21" fmla="*/ 63817 w 509587"/>
                <a:gd name="connsiteY21" fmla="*/ 873443 h 892492"/>
                <a:gd name="connsiteX22" fmla="*/ 74295 w 509587"/>
                <a:gd name="connsiteY22" fmla="*/ 875348 h 892492"/>
                <a:gd name="connsiteX23" fmla="*/ 78105 w 509587"/>
                <a:gd name="connsiteY23" fmla="*/ 866775 h 892492"/>
                <a:gd name="connsiteX24" fmla="*/ 72390 w 509587"/>
                <a:gd name="connsiteY24" fmla="*/ 854393 h 892492"/>
                <a:gd name="connsiteX25" fmla="*/ 75247 w 509587"/>
                <a:gd name="connsiteY25" fmla="*/ 846773 h 892492"/>
                <a:gd name="connsiteX26" fmla="*/ 87630 w 509587"/>
                <a:gd name="connsiteY26" fmla="*/ 854393 h 892492"/>
                <a:gd name="connsiteX27" fmla="*/ 103822 w 509587"/>
                <a:gd name="connsiteY27" fmla="*/ 850583 h 892492"/>
                <a:gd name="connsiteX28" fmla="*/ 120015 w 509587"/>
                <a:gd name="connsiteY28" fmla="*/ 856298 h 892492"/>
                <a:gd name="connsiteX29" fmla="*/ 152400 w 509587"/>
                <a:gd name="connsiteY29" fmla="*/ 876300 h 892492"/>
                <a:gd name="connsiteX30" fmla="*/ 169545 w 509587"/>
                <a:gd name="connsiteY30" fmla="*/ 849630 h 892492"/>
                <a:gd name="connsiteX31" fmla="*/ 202882 w 509587"/>
                <a:gd name="connsiteY31" fmla="*/ 828675 h 892492"/>
                <a:gd name="connsiteX32" fmla="*/ 231457 w 509587"/>
                <a:gd name="connsiteY32" fmla="*/ 860108 h 892492"/>
                <a:gd name="connsiteX33" fmla="*/ 246697 w 509587"/>
                <a:gd name="connsiteY33" fmla="*/ 840105 h 892492"/>
                <a:gd name="connsiteX34" fmla="*/ 249555 w 509587"/>
                <a:gd name="connsiteY34" fmla="*/ 814387 h 892492"/>
                <a:gd name="connsiteX35" fmla="*/ 285750 w 509587"/>
                <a:gd name="connsiteY35" fmla="*/ 792480 h 892492"/>
                <a:gd name="connsiteX36" fmla="*/ 287655 w 509587"/>
                <a:gd name="connsiteY36" fmla="*/ 804862 h 892492"/>
                <a:gd name="connsiteX37" fmla="*/ 305752 w 509587"/>
                <a:gd name="connsiteY37" fmla="*/ 816293 h 892492"/>
                <a:gd name="connsiteX38" fmla="*/ 334327 w 509587"/>
                <a:gd name="connsiteY38" fmla="*/ 814387 h 892492"/>
                <a:gd name="connsiteX39" fmla="*/ 345757 w 509587"/>
                <a:gd name="connsiteY39" fmla="*/ 807720 h 892492"/>
                <a:gd name="connsiteX40" fmla="*/ 346710 w 509587"/>
                <a:gd name="connsiteY40" fmla="*/ 775335 h 892492"/>
                <a:gd name="connsiteX41" fmla="*/ 370522 w 509587"/>
                <a:gd name="connsiteY41" fmla="*/ 740093 h 892492"/>
                <a:gd name="connsiteX42" fmla="*/ 414338 w 509587"/>
                <a:gd name="connsiteY42" fmla="*/ 698183 h 892492"/>
                <a:gd name="connsiteX43" fmla="*/ 413385 w 509587"/>
                <a:gd name="connsiteY43" fmla="*/ 681990 h 892492"/>
                <a:gd name="connsiteX44" fmla="*/ 424815 w 509587"/>
                <a:gd name="connsiteY44" fmla="*/ 645795 h 892492"/>
                <a:gd name="connsiteX45" fmla="*/ 445770 w 509587"/>
                <a:gd name="connsiteY45" fmla="*/ 655320 h 892492"/>
                <a:gd name="connsiteX46" fmla="*/ 509588 w 509587"/>
                <a:gd name="connsiteY46" fmla="*/ 612458 h 892492"/>
                <a:gd name="connsiteX47" fmla="*/ 505777 w 509587"/>
                <a:gd name="connsiteY47" fmla="*/ 596265 h 892492"/>
                <a:gd name="connsiteX48" fmla="*/ 491490 w 509587"/>
                <a:gd name="connsiteY48" fmla="*/ 576262 h 892492"/>
                <a:gd name="connsiteX49" fmla="*/ 501015 w 509587"/>
                <a:gd name="connsiteY49" fmla="*/ 558165 h 892492"/>
                <a:gd name="connsiteX50" fmla="*/ 438150 w 509587"/>
                <a:gd name="connsiteY50" fmla="*/ 13335 h 892492"/>
                <a:gd name="connsiteX51" fmla="*/ 437197 w 509587"/>
                <a:gd name="connsiteY51" fmla="*/ 0 h 892492"/>
                <a:gd name="connsiteX52" fmla="*/ 128588 w 509587"/>
                <a:gd name="connsiteY52" fmla="*/ 32385 h 892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509587" h="892492">
                  <a:moveTo>
                    <a:pt x="112395" y="47625"/>
                  </a:moveTo>
                  <a:lnTo>
                    <a:pt x="63817" y="69533"/>
                  </a:lnTo>
                  <a:lnTo>
                    <a:pt x="19050" y="56197"/>
                  </a:lnTo>
                  <a:lnTo>
                    <a:pt x="58102" y="534352"/>
                  </a:lnTo>
                  <a:lnTo>
                    <a:pt x="48577" y="583883"/>
                  </a:lnTo>
                  <a:lnTo>
                    <a:pt x="48577" y="602933"/>
                  </a:lnTo>
                  <a:lnTo>
                    <a:pt x="71438" y="636270"/>
                  </a:lnTo>
                  <a:lnTo>
                    <a:pt x="71438" y="642937"/>
                  </a:lnTo>
                  <a:lnTo>
                    <a:pt x="68580" y="651510"/>
                  </a:lnTo>
                  <a:lnTo>
                    <a:pt x="77152" y="669608"/>
                  </a:lnTo>
                  <a:lnTo>
                    <a:pt x="74295" y="692468"/>
                  </a:lnTo>
                  <a:lnTo>
                    <a:pt x="59055" y="709612"/>
                  </a:lnTo>
                  <a:lnTo>
                    <a:pt x="46672" y="749618"/>
                  </a:lnTo>
                  <a:lnTo>
                    <a:pt x="10477" y="800100"/>
                  </a:lnTo>
                  <a:lnTo>
                    <a:pt x="9525" y="866775"/>
                  </a:lnTo>
                  <a:lnTo>
                    <a:pt x="0" y="866775"/>
                  </a:lnTo>
                  <a:lnTo>
                    <a:pt x="8572" y="884873"/>
                  </a:lnTo>
                  <a:lnTo>
                    <a:pt x="19050" y="892493"/>
                  </a:lnTo>
                  <a:lnTo>
                    <a:pt x="24765" y="882968"/>
                  </a:lnTo>
                  <a:lnTo>
                    <a:pt x="18097" y="866775"/>
                  </a:lnTo>
                  <a:lnTo>
                    <a:pt x="61913" y="862012"/>
                  </a:lnTo>
                  <a:lnTo>
                    <a:pt x="63817" y="873443"/>
                  </a:lnTo>
                  <a:lnTo>
                    <a:pt x="74295" y="875348"/>
                  </a:lnTo>
                  <a:lnTo>
                    <a:pt x="78105" y="866775"/>
                  </a:lnTo>
                  <a:lnTo>
                    <a:pt x="72390" y="854393"/>
                  </a:lnTo>
                  <a:lnTo>
                    <a:pt x="75247" y="846773"/>
                  </a:lnTo>
                  <a:lnTo>
                    <a:pt x="87630" y="854393"/>
                  </a:lnTo>
                  <a:lnTo>
                    <a:pt x="103822" y="850583"/>
                  </a:lnTo>
                  <a:lnTo>
                    <a:pt x="120015" y="856298"/>
                  </a:lnTo>
                  <a:lnTo>
                    <a:pt x="152400" y="876300"/>
                  </a:lnTo>
                  <a:lnTo>
                    <a:pt x="169545" y="849630"/>
                  </a:lnTo>
                  <a:lnTo>
                    <a:pt x="202882" y="828675"/>
                  </a:lnTo>
                  <a:lnTo>
                    <a:pt x="231457" y="860108"/>
                  </a:lnTo>
                  <a:lnTo>
                    <a:pt x="246697" y="840105"/>
                  </a:lnTo>
                  <a:lnTo>
                    <a:pt x="249555" y="814387"/>
                  </a:lnTo>
                  <a:lnTo>
                    <a:pt x="285750" y="792480"/>
                  </a:lnTo>
                  <a:lnTo>
                    <a:pt x="287655" y="804862"/>
                  </a:lnTo>
                  <a:lnTo>
                    <a:pt x="305752" y="816293"/>
                  </a:lnTo>
                  <a:lnTo>
                    <a:pt x="334327" y="814387"/>
                  </a:lnTo>
                  <a:lnTo>
                    <a:pt x="345757" y="807720"/>
                  </a:lnTo>
                  <a:lnTo>
                    <a:pt x="346710" y="775335"/>
                  </a:lnTo>
                  <a:lnTo>
                    <a:pt x="370522" y="740093"/>
                  </a:lnTo>
                  <a:lnTo>
                    <a:pt x="414338" y="698183"/>
                  </a:lnTo>
                  <a:lnTo>
                    <a:pt x="413385" y="681990"/>
                  </a:lnTo>
                  <a:lnTo>
                    <a:pt x="424815" y="645795"/>
                  </a:lnTo>
                  <a:lnTo>
                    <a:pt x="445770" y="655320"/>
                  </a:lnTo>
                  <a:lnTo>
                    <a:pt x="509588" y="612458"/>
                  </a:lnTo>
                  <a:lnTo>
                    <a:pt x="505777" y="596265"/>
                  </a:lnTo>
                  <a:lnTo>
                    <a:pt x="491490" y="576262"/>
                  </a:lnTo>
                  <a:lnTo>
                    <a:pt x="501015" y="558165"/>
                  </a:lnTo>
                  <a:lnTo>
                    <a:pt x="438150" y="13335"/>
                  </a:lnTo>
                  <a:lnTo>
                    <a:pt x="437197" y="0"/>
                  </a:lnTo>
                  <a:lnTo>
                    <a:pt x="128588" y="32385"/>
                  </a:lnTo>
                  <a:close/>
                </a:path>
              </a:pathLst>
            </a:custGeom>
            <a:solidFill>
              <a:srgbClr val="D0D0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5A1250B9-2ADC-D7E5-1BE4-C6CF17C086A2}"/>
                </a:ext>
              </a:extLst>
            </p:cNvPr>
            <p:cNvSpPr/>
            <p:nvPr/>
          </p:nvSpPr>
          <p:spPr>
            <a:xfrm>
              <a:off x="6016942" y="2470784"/>
              <a:ext cx="995362" cy="660082"/>
            </a:xfrm>
            <a:custGeom>
              <a:avLst/>
              <a:gdLst>
                <a:gd name="connsiteX0" fmla="*/ 816293 w 995362"/>
                <a:gd name="connsiteY0" fmla="*/ 24765 h 660082"/>
                <a:gd name="connsiteX1" fmla="*/ 836295 w 995362"/>
                <a:gd name="connsiteY1" fmla="*/ 40005 h 660082"/>
                <a:gd name="connsiteX2" fmla="*/ 842010 w 995362"/>
                <a:gd name="connsiteY2" fmla="*/ 50483 h 660082"/>
                <a:gd name="connsiteX3" fmla="*/ 826770 w 995362"/>
                <a:gd name="connsiteY3" fmla="*/ 81915 h 660082"/>
                <a:gd name="connsiteX4" fmla="*/ 825818 w 995362"/>
                <a:gd name="connsiteY4" fmla="*/ 105728 h 660082"/>
                <a:gd name="connsiteX5" fmla="*/ 844868 w 995362"/>
                <a:gd name="connsiteY5" fmla="*/ 158115 h 660082"/>
                <a:gd name="connsiteX6" fmla="*/ 870585 w 995362"/>
                <a:gd name="connsiteY6" fmla="*/ 172403 h 660082"/>
                <a:gd name="connsiteX7" fmla="*/ 902018 w 995362"/>
                <a:gd name="connsiteY7" fmla="*/ 179070 h 660082"/>
                <a:gd name="connsiteX8" fmla="*/ 914400 w 995362"/>
                <a:gd name="connsiteY8" fmla="*/ 205740 h 660082"/>
                <a:gd name="connsiteX9" fmla="*/ 909638 w 995362"/>
                <a:gd name="connsiteY9" fmla="*/ 211455 h 660082"/>
                <a:gd name="connsiteX10" fmla="*/ 933450 w 995362"/>
                <a:gd name="connsiteY10" fmla="*/ 223838 h 660082"/>
                <a:gd name="connsiteX11" fmla="*/ 949643 w 995362"/>
                <a:gd name="connsiteY11" fmla="*/ 240030 h 660082"/>
                <a:gd name="connsiteX12" fmla="*/ 947738 w 995362"/>
                <a:gd name="connsiteY12" fmla="*/ 255270 h 660082"/>
                <a:gd name="connsiteX13" fmla="*/ 956310 w 995362"/>
                <a:gd name="connsiteY13" fmla="*/ 265748 h 660082"/>
                <a:gd name="connsiteX14" fmla="*/ 967740 w 995362"/>
                <a:gd name="connsiteY14" fmla="*/ 265748 h 660082"/>
                <a:gd name="connsiteX15" fmla="*/ 994410 w 995362"/>
                <a:gd name="connsiteY15" fmla="*/ 299085 h 660082"/>
                <a:gd name="connsiteX16" fmla="*/ 995363 w 995362"/>
                <a:gd name="connsiteY16" fmla="*/ 323850 h 660082"/>
                <a:gd name="connsiteX17" fmla="*/ 982980 w 995362"/>
                <a:gd name="connsiteY17" fmla="*/ 354330 h 660082"/>
                <a:gd name="connsiteX18" fmla="*/ 972502 w 995362"/>
                <a:gd name="connsiteY18" fmla="*/ 366713 h 660082"/>
                <a:gd name="connsiteX19" fmla="*/ 971550 w 995362"/>
                <a:gd name="connsiteY19" fmla="*/ 389573 h 660082"/>
                <a:gd name="connsiteX20" fmla="*/ 955357 w 995362"/>
                <a:gd name="connsiteY20" fmla="*/ 410528 h 660082"/>
                <a:gd name="connsiteX21" fmla="*/ 915352 w 995362"/>
                <a:gd name="connsiteY21" fmla="*/ 427673 h 660082"/>
                <a:gd name="connsiteX22" fmla="*/ 892493 w 995362"/>
                <a:gd name="connsiteY22" fmla="*/ 427673 h 660082"/>
                <a:gd name="connsiteX23" fmla="*/ 863918 w 995362"/>
                <a:gd name="connsiteY23" fmla="*/ 435293 h 660082"/>
                <a:gd name="connsiteX24" fmla="*/ 854393 w 995362"/>
                <a:gd name="connsiteY24" fmla="*/ 473393 h 660082"/>
                <a:gd name="connsiteX25" fmla="*/ 864870 w 995362"/>
                <a:gd name="connsiteY25" fmla="*/ 488633 h 660082"/>
                <a:gd name="connsiteX26" fmla="*/ 874395 w 995362"/>
                <a:gd name="connsiteY26" fmla="*/ 491490 h 660082"/>
                <a:gd name="connsiteX27" fmla="*/ 882968 w 995362"/>
                <a:gd name="connsiteY27" fmla="*/ 504825 h 660082"/>
                <a:gd name="connsiteX28" fmla="*/ 882015 w 995362"/>
                <a:gd name="connsiteY28" fmla="*/ 538163 h 660082"/>
                <a:gd name="connsiteX29" fmla="*/ 877252 w 995362"/>
                <a:gd name="connsiteY29" fmla="*/ 542925 h 660082"/>
                <a:gd name="connsiteX30" fmla="*/ 861060 w 995362"/>
                <a:gd name="connsiteY30" fmla="*/ 565785 h 660082"/>
                <a:gd name="connsiteX31" fmla="*/ 861060 w 995362"/>
                <a:gd name="connsiteY31" fmla="*/ 588645 h 660082"/>
                <a:gd name="connsiteX32" fmla="*/ 851535 w 995362"/>
                <a:gd name="connsiteY32" fmla="*/ 600075 h 660082"/>
                <a:gd name="connsiteX33" fmla="*/ 842963 w 995362"/>
                <a:gd name="connsiteY33" fmla="*/ 602933 h 660082"/>
                <a:gd name="connsiteX34" fmla="*/ 825818 w 995362"/>
                <a:gd name="connsiteY34" fmla="*/ 608648 h 660082"/>
                <a:gd name="connsiteX35" fmla="*/ 816293 w 995362"/>
                <a:gd name="connsiteY35" fmla="*/ 622935 h 660082"/>
                <a:gd name="connsiteX36" fmla="*/ 822960 w 995362"/>
                <a:gd name="connsiteY36" fmla="*/ 631508 h 660082"/>
                <a:gd name="connsiteX37" fmla="*/ 822007 w 995362"/>
                <a:gd name="connsiteY37" fmla="*/ 653415 h 660082"/>
                <a:gd name="connsiteX38" fmla="*/ 815340 w 995362"/>
                <a:gd name="connsiteY38" fmla="*/ 660083 h 660082"/>
                <a:gd name="connsiteX39" fmla="*/ 801052 w 995362"/>
                <a:gd name="connsiteY39" fmla="*/ 652463 h 660082"/>
                <a:gd name="connsiteX40" fmla="*/ 790575 w 995362"/>
                <a:gd name="connsiteY40" fmla="*/ 641985 h 660082"/>
                <a:gd name="connsiteX41" fmla="*/ 784860 w 995362"/>
                <a:gd name="connsiteY41" fmla="*/ 626745 h 660082"/>
                <a:gd name="connsiteX42" fmla="*/ 768668 w 995362"/>
                <a:gd name="connsiteY42" fmla="*/ 614363 h 660082"/>
                <a:gd name="connsiteX43" fmla="*/ 632460 w 995362"/>
                <a:gd name="connsiteY43" fmla="*/ 621983 h 660082"/>
                <a:gd name="connsiteX44" fmla="*/ 373380 w 995362"/>
                <a:gd name="connsiteY44" fmla="*/ 633413 h 660082"/>
                <a:gd name="connsiteX45" fmla="*/ 126682 w 995362"/>
                <a:gd name="connsiteY45" fmla="*/ 632460 h 660082"/>
                <a:gd name="connsiteX46" fmla="*/ 109538 w 995362"/>
                <a:gd name="connsiteY46" fmla="*/ 590550 h 660082"/>
                <a:gd name="connsiteX47" fmla="*/ 116205 w 995362"/>
                <a:gd name="connsiteY47" fmla="*/ 569595 h 660082"/>
                <a:gd name="connsiteX48" fmla="*/ 108585 w 995362"/>
                <a:gd name="connsiteY48" fmla="*/ 538163 h 660082"/>
                <a:gd name="connsiteX49" fmla="*/ 110490 w 995362"/>
                <a:gd name="connsiteY49" fmla="*/ 510540 h 660082"/>
                <a:gd name="connsiteX50" fmla="*/ 98107 w 995362"/>
                <a:gd name="connsiteY50" fmla="*/ 503873 h 660082"/>
                <a:gd name="connsiteX51" fmla="*/ 94297 w 995362"/>
                <a:gd name="connsiteY51" fmla="*/ 445770 h 660082"/>
                <a:gd name="connsiteX52" fmla="*/ 67627 w 995362"/>
                <a:gd name="connsiteY52" fmla="*/ 398145 h 660082"/>
                <a:gd name="connsiteX53" fmla="*/ 65722 w 995362"/>
                <a:gd name="connsiteY53" fmla="*/ 362903 h 660082"/>
                <a:gd name="connsiteX54" fmla="*/ 44767 w 995362"/>
                <a:gd name="connsiteY54" fmla="*/ 321945 h 660082"/>
                <a:gd name="connsiteX55" fmla="*/ 32385 w 995362"/>
                <a:gd name="connsiteY55" fmla="*/ 286703 h 660082"/>
                <a:gd name="connsiteX56" fmla="*/ 32385 w 995362"/>
                <a:gd name="connsiteY56" fmla="*/ 273368 h 660082"/>
                <a:gd name="connsiteX57" fmla="*/ 26670 w 995362"/>
                <a:gd name="connsiteY57" fmla="*/ 257175 h 660082"/>
                <a:gd name="connsiteX58" fmla="*/ 26670 w 995362"/>
                <a:gd name="connsiteY58" fmla="*/ 235268 h 660082"/>
                <a:gd name="connsiteX59" fmla="*/ 21907 w 995362"/>
                <a:gd name="connsiteY59" fmla="*/ 226695 h 660082"/>
                <a:gd name="connsiteX60" fmla="*/ 15240 w 995362"/>
                <a:gd name="connsiteY60" fmla="*/ 210503 h 660082"/>
                <a:gd name="connsiteX61" fmla="*/ 12382 w 995362"/>
                <a:gd name="connsiteY61" fmla="*/ 198120 h 660082"/>
                <a:gd name="connsiteX62" fmla="*/ 0 w 995362"/>
                <a:gd name="connsiteY62" fmla="*/ 186690 h 660082"/>
                <a:gd name="connsiteX63" fmla="*/ 9525 w 995362"/>
                <a:gd name="connsiteY63" fmla="*/ 145733 h 660082"/>
                <a:gd name="connsiteX64" fmla="*/ 25717 w 995362"/>
                <a:gd name="connsiteY64" fmla="*/ 97155 h 660082"/>
                <a:gd name="connsiteX65" fmla="*/ 19050 w 995362"/>
                <a:gd name="connsiteY65" fmla="*/ 78105 h 660082"/>
                <a:gd name="connsiteX66" fmla="*/ 6667 w 995362"/>
                <a:gd name="connsiteY66" fmla="*/ 74295 h 660082"/>
                <a:gd name="connsiteX67" fmla="*/ 2857 w 995362"/>
                <a:gd name="connsiteY67" fmla="*/ 59055 h 660082"/>
                <a:gd name="connsiteX68" fmla="*/ 12382 w 995362"/>
                <a:gd name="connsiteY68" fmla="*/ 54293 h 660082"/>
                <a:gd name="connsiteX69" fmla="*/ 13335 w 995362"/>
                <a:gd name="connsiteY69" fmla="*/ 43815 h 660082"/>
                <a:gd name="connsiteX70" fmla="*/ 952 w 995362"/>
                <a:gd name="connsiteY70" fmla="*/ 29528 h 660082"/>
                <a:gd name="connsiteX71" fmla="*/ 1905 w 995362"/>
                <a:gd name="connsiteY71" fmla="*/ 14288 h 660082"/>
                <a:gd name="connsiteX72" fmla="*/ 22860 w 995362"/>
                <a:gd name="connsiteY72" fmla="*/ 15240 h 660082"/>
                <a:gd name="connsiteX73" fmla="*/ 291465 w 995362"/>
                <a:gd name="connsiteY73" fmla="*/ 15240 h 660082"/>
                <a:gd name="connsiteX74" fmla="*/ 637222 w 995362"/>
                <a:gd name="connsiteY74" fmla="*/ 6668 h 660082"/>
                <a:gd name="connsiteX75" fmla="*/ 814388 w 995362"/>
                <a:gd name="connsiteY75" fmla="*/ 0 h 660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</a:cxnLst>
              <a:rect l="l" t="t" r="r" b="b"/>
              <a:pathLst>
                <a:path w="995362" h="660082">
                  <a:moveTo>
                    <a:pt x="816293" y="24765"/>
                  </a:moveTo>
                  <a:lnTo>
                    <a:pt x="836295" y="40005"/>
                  </a:lnTo>
                  <a:lnTo>
                    <a:pt x="842010" y="50483"/>
                  </a:lnTo>
                  <a:lnTo>
                    <a:pt x="826770" y="81915"/>
                  </a:lnTo>
                  <a:lnTo>
                    <a:pt x="825818" y="105728"/>
                  </a:lnTo>
                  <a:lnTo>
                    <a:pt x="844868" y="158115"/>
                  </a:lnTo>
                  <a:lnTo>
                    <a:pt x="870585" y="172403"/>
                  </a:lnTo>
                  <a:lnTo>
                    <a:pt x="902018" y="179070"/>
                  </a:lnTo>
                  <a:lnTo>
                    <a:pt x="914400" y="205740"/>
                  </a:lnTo>
                  <a:lnTo>
                    <a:pt x="909638" y="211455"/>
                  </a:lnTo>
                  <a:lnTo>
                    <a:pt x="933450" y="223838"/>
                  </a:lnTo>
                  <a:lnTo>
                    <a:pt x="949643" y="240030"/>
                  </a:lnTo>
                  <a:lnTo>
                    <a:pt x="947738" y="255270"/>
                  </a:lnTo>
                  <a:lnTo>
                    <a:pt x="956310" y="265748"/>
                  </a:lnTo>
                  <a:lnTo>
                    <a:pt x="967740" y="265748"/>
                  </a:lnTo>
                  <a:lnTo>
                    <a:pt x="994410" y="299085"/>
                  </a:lnTo>
                  <a:lnTo>
                    <a:pt x="995363" y="323850"/>
                  </a:lnTo>
                  <a:lnTo>
                    <a:pt x="982980" y="354330"/>
                  </a:lnTo>
                  <a:lnTo>
                    <a:pt x="972502" y="366713"/>
                  </a:lnTo>
                  <a:lnTo>
                    <a:pt x="971550" y="389573"/>
                  </a:lnTo>
                  <a:lnTo>
                    <a:pt x="955357" y="410528"/>
                  </a:lnTo>
                  <a:lnTo>
                    <a:pt x="915352" y="427673"/>
                  </a:lnTo>
                  <a:lnTo>
                    <a:pt x="892493" y="427673"/>
                  </a:lnTo>
                  <a:lnTo>
                    <a:pt x="863918" y="435293"/>
                  </a:lnTo>
                  <a:lnTo>
                    <a:pt x="854393" y="473393"/>
                  </a:lnTo>
                  <a:lnTo>
                    <a:pt x="864870" y="488633"/>
                  </a:lnTo>
                  <a:lnTo>
                    <a:pt x="874395" y="491490"/>
                  </a:lnTo>
                  <a:lnTo>
                    <a:pt x="882968" y="504825"/>
                  </a:lnTo>
                  <a:lnTo>
                    <a:pt x="882015" y="538163"/>
                  </a:lnTo>
                  <a:lnTo>
                    <a:pt x="877252" y="542925"/>
                  </a:lnTo>
                  <a:lnTo>
                    <a:pt x="861060" y="565785"/>
                  </a:lnTo>
                  <a:lnTo>
                    <a:pt x="861060" y="588645"/>
                  </a:lnTo>
                  <a:lnTo>
                    <a:pt x="851535" y="600075"/>
                  </a:lnTo>
                  <a:lnTo>
                    <a:pt x="842963" y="602933"/>
                  </a:lnTo>
                  <a:lnTo>
                    <a:pt x="825818" y="608648"/>
                  </a:lnTo>
                  <a:lnTo>
                    <a:pt x="816293" y="622935"/>
                  </a:lnTo>
                  <a:lnTo>
                    <a:pt x="822960" y="631508"/>
                  </a:lnTo>
                  <a:lnTo>
                    <a:pt x="822007" y="653415"/>
                  </a:lnTo>
                  <a:lnTo>
                    <a:pt x="815340" y="660083"/>
                  </a:lnTo>
                  <a:lnTo>
                    <a:pt x="801052" y="652463"/>
                  </a:lnTo>
                  <a:lnTo>
                    <a:pt x="790575" y="641985"/>
                  </a:lnTo>
                  <a:lnTo>
                    <a:pt x="784860" y="626745"/>
                  </a:lnTo>
                  <a:lnTo>
                    <a:pt x="768668" y="614363"/>
                  </a:lnTo>
                  <a:lnTo>
                    <a:pt x="632460" y="621983"/>
                  </a:lnTo>
                  <a:lnTo>
                    <a:pt x="373380" y="633413"/>
                  </a:lnTo>
                  <a:lnTo>
                    <a:pt x="126682" y="632460"/>
                  </a:lnTo>
                  <a:lnTo>
                    <a:pt x="109538" y="590550"/>
                  </a:lnTo>
                  <a:lnTo>
                    <a:pt x="116205" y="569595"/>
                  </a:lnTo>
                  <a:lnTo>
                    <a:pt x="108585" y="538163"/>
                  </a:lnTo>
                  <a:lnTo>
                    <a:pt x="110490" y="510540"/>
                  </a:lnTo>
                  <a:lnTo>
                    <a:pt x="98107" y="503873"/>
                  </a:lnTo>
                  <a:lnTo>
                    <a:pt x="94297" y="445770"/>
                  </a:lnTo>
                  <a:lnTo>
                    <a:pt x="67627" y="398145"/>
                  </a:lnTo>
                  <a:lnTo>
                    <a:pt x="65722" y="362903"/>
                  </a:lnTo>
                  <a:lnTo>
                    <a:pt x="44767" y="321945"/>
                  </a:lnTo>
                  <a:lnTo>
                    <a:pt x="32385" y="286703"/>
                  </a:lnTo>
                  <a:lnTo>
                    <a:pt x="32385" y="273368"/>
                  </a:lnTo>
                  <a:lnTo>
                    <a:pt x="26670" y="257175"/>
                  </a:lnTo>
                  <a:lnTo>
                    <a:pt x="26670" y="235268"/>
                  </a:lnTo>
                  <a:lnTo>
                    <a:pt x="21907" y="226695"/>
                  </a:lnTo>
                  <a:lnTo>
                    <a:pt x="15240" y="210503"/>
                  </a:lnTo>
                  <a:lnTo>
                    <a:pt x="12382" y="198120"/>
                  </a:lnTo>
                  <a:lnTo>
                    <a:pt x="0" y="186690"/>
                  </a:lnTo>
                  <a:lnTo>
                    <a:pt x="9525" y="145733"/>
                  </a:lnTo>
                  <a:lnTo>
                    <a:pt x="25717" y="97155"/>
                  </a:lnTo>
                  <a:lnTo>
                    <a:pt x="19050" y="78105"/>
                  </a:lnTo>
                  <a:lnTo>
                    <a:pt x="6667" y="74295"/>
                  </a:lnTo>
                  <a:lnTo>
                    <a:pt x="2857" y="59055"/>
                  </a:lnTo>
                  <a:lnTo>
                    <a:pt x="12382" y="54293"/>
                  </a:lnTo>
                  <a:lnTo>
                    <a:pt x="13335" y="43815"/>
                  </a:lnTo>
                  <a:lnTo>
                    <a:pt x="952" y="29528"/>
                  </a:lnTo>
                  <a:lnTo>
                    <a:pt x="1905" y="14288"/>
                  </a:lnTo>
                  <a:lnTo>
                    <a:pt x="22860" y="15240"/>
                  </a:lnTo>
                  <a:lnTo>
                    <a:pt x="291465" y="15240"/>
                  </a:lnTo>
                  <a:lnTo>
                    <a:pt x="637222" y="6668"/>
                  </a:lnTo>
                  <a:lnTo>
                    <a:pt x="814388" y="0"/>
                  </a:lnTo>
                  <a:close/>
                </a:path>
              </a:pathLst>
            </a:custGeom>
            <a:solidFill>
              <a:srgbClr val="D0D0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A51C1F2A-AE1C-E1F3-91D5-9E247E481EDA}"/>
                </a:ext>
              </a:extLst>
            </p:cNvPr>
            <p:cNvSpPr/>
            <p:nvPr/>
          </p:nvSpPr>
          <p:spPr>
            <a:xfrm>
              <a:off x="5096827" y="3193732"/>
              <a:ext cx="1235392" cy="666750"/>
            </a:xfrm>
            <a:custGeom>
              <a:avLst/>
              <a:gdLst>
                <a:gd name="connsiteX0" fmla="*/ 804863 w 1235392"/>
                <a:gd name="connsiteY0" fmla="*/ 30480 h 666750"/>
                <a:gd name="connsiteX1" fmla="*/ 388620 w 1235392"/>
                <a:gd name="connsiteY1" fmla="*/ 19050 h 666750"/>
                <a:gd name="connsiteX2" fmla="*/ 45720 w 1235392"/>
                <a:gd name="connsiteY2" fmla="*/ 0 h 666750"/>
                <a:gd name="connsiteX3" fmla="*/ 0 w 1235392"/>
                <a:gd name="connsiteY3" fmla="*/ 638175 h 666750"/>
                <a:gd name="connsiteX4" fmla="*/ 644842 w 1235392"/>
                <a:gd name="connsiteY4" fmla="*/ 665798 h 666750"/>
                <a:gd name="connsiteX5" fmla="*/ 1235392 w 1235392"/>
                <a:gd name="connsiteY5" fmla="*/ 666750 h 666750"/>
                <a:gd name="connsiteX6" fmla="*/ 1230630 w 1235392"/>
                <a:gd name="connsiteY6" fmla="*/ 208598 h 666750"/>
                <a:gd name="connsiteX7" fmla="*/ 1200150 w 1235392"/>
                <a:gd name="connsiteY7" fmla="*/ 201930 h 666750"/>
                <a:gd name="connsiteX8" fmla="*/ 1175385 w 1235392"/>
                <a:gd name="connsiteY8" fmla="*/ 157163 h 666750"/>
                <a:gd name="connsiteX9" fmla="*/ 1151573 w 1235392"/>
                <a:gd name="connsiteY9" fmla="*/ 133350 h 666750"/>
                <a:gd name="connsiteX10" fmla="*/ 1156335 w 1235392"/>
                <a:gd name="connsiteY10" fmla="*/ 111443 h 666750"/>
                <a:gd name="connsiteX11" fmla="*/ 1182053 w 1235392"/>
                <a:gd name="connsiteY11" fmla="*/ 86678 h 666750"/>
                <a:gd name="connsiteX12" fmla="*/ 1183005 w 1235392"/>
                <a:gd name="connsiteY12" fmla="*/ 75248 h 666750"/>
                <a:gd name="connsiteX13" fmla="*/ 1168717 w 1235392"/>
                <a:gd name="connsiteY13" fmla="*/ 55245 h 666750"/>
                <a:gd name="connsiteX14" fmla="*/ 1160145 w 1235392"/>
                <a:gd name="connsiteY14" fmla="*/ 64770 h 666750"/>
                <a:gd name="connsiteX15" fmla="*/ 1141095 w 1235392"/>
                <a:gd name="connsiteY15" fmla="*/ 59055 h 666750"/>
                <a:gd name="connsiteX16" fmla="*/ 1113473 w 1235392"/>
                <a:gd name="connsiteY16" fmla="*/ 30480 h 666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35392" h="666750">
                  <a:moveTo>
                    <a:pt x="804863" y="30480"/>
                  </a:moveTo>
                  <a:lnTo>
                    <a:pt x="388620" y="19050"/>
                  </a:lnTo>
                  <a:lnTo>
                    <a:pt x="45720" y="0"/>
                  </a:lnTo>
                  <a:lnTo>
                    <a:pt x="0" y="638175"/>
                  </a:lnTo>
                  <a:lnTo>
                    <a:pt x="644842" y="665798"/>
                  </a:lnTo>
                  <a:lnTo>
                    <a:pt x="1235392" y="666750"/>
                  </a:lnTo>
                  <a:lnTo>
                    <a:pt x="1230630" y="208598"/>
                  </a:lnTo>
                  <a:lnTo>
                    <a:pt x="1200150" y="201930"/>
                  </a:lnTo>
                  <a:lnTo>
                    <a:pt x="1175385" y="157163"/>
                  </a:lnTo>
                  <a:lnTo>
                    <a:pt x="1151573" y="133350"/>
                  </a:lnTo>
                  <a:lnTo>
                    <a:pt x="1156335" y="111443"/>
                  </a:lnTo>
                  <a:lnTo>
                    <a:pt x="1182053" y="86678"/>
                  </a:lnTo>
                  <a:lnTo>
                    <a:pt x="1183005" y="75248"/>
                  </a:lnTo>
                  <a:lnTo>
                    <a:pt x="1168717" y="55245"/>
                  </a:lnTo>
                  <a:lnTo>
                    <a:pt x="1160145" y="64770"/>
                  </a:lnTo>
                  <a:lnTo>
                    <a:pt x="1141095" y="59055"/>
                  </a:lnTo>
                  <a:lnTo>
                    <a:pt x="1113473" y="30480"/>
                  </a:lnTo>
                  <a:close/>
                </a:path>
              </a:pathLst>
            </a:custGeom>
            <a:solidFill>
              <a:srgbClr val="D0D0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EC13C0EF-0964-74EE-DF69-C723EB2C607E}"/>
                </a:ext>
              </a:extLst>
            </p:cNvPr>
            <p:cNvSpPr/>
            <p:nvPr/>
          </p:nvSpPr>
          <p:spPr>
            <a:xfrm>
              <a:off x="7180897" y="3307080"/>
              <a:ext cx="1231582" cy="624839"/>
            </a:xfrm>
            <a:custGeom>
              <a:avLst/>
              <a:gdLst>
                <a:gd name="connsiteX0" fmla="*/ 940117 w 1231582"/>
                <a:gd name="connsiteY0" fmla="*/ 517207 h 624839"/>
                <a:gd name="connsiteX1" fmla="*/ 744855 w 1231582"/>
                <a:gd name="connsiteY1" fmla="*/ 530542 h 624839"/>
                <a:gd name="connsiteX2" fmla="*/ 695325 w 1231582"/>
                <a:gd name="connsiteY2" fmla="*/ 538163 h 624839"/>
                <a:gd name="connsiteX3" fmla="*/ 529590 w 1231582"/>
                <a:gd name="connsiteY3" fmla="*/ 547688 h 624839"/>
                <a:gd name="connsiteX4" fmla="*/ 504825 w 1231582"/>
                <a:gd name="connsiteY4" fmla="*/ 555307 h 624839"/>
                <a:gd name="connsiteX5" fmla="*/ 289560 w 1231582"/>
                <a:gd name="connsiteY5" fmla="*/ 574357 h 624839"/>
                <a:gd name="connsiteX6" fmla="*/ 282892 w 1231582"/>
                <a:gd name="connsiteY6" fmla="*/ 568642 h 624839"/>
                <a:gd name="connsiteX7" fmla="*/ 247650 w 1231582"/>
                <a:gd name="connsiteY7" fmla="*/ 568642 h 624839"/>
                <a:gd name="connsiteX8" fmla="*/ 259080 w 1231582"/>
                <a:gd name="connsiteY8" fmla="*/ 599122 h 624839"/>
                <a:gd name="connsiteX9" fmla="*/ 253365 w 1231582"/>
                <a:gd name="connsiteY9" fmla="*/ 607695 h 624839"/>
                <a:gd name="connsiteX10" fmla="*/ 31432 w 1231582"/>
                <a:gd name="connsiteY10" fmla="*/ 621982 h 624839"/>
                <a:gd name="connsiteX11" fmla="*/ 40957 w 1231582"/>
                <a:gd name="connsiteY11" fmla="*/ 596265 h 624839"/>
                <a:gd name="connsiteX12" fmla="*/ 54292 w 1231582"/>
                <a:gd name="connsiteY12" fmla="*/ 604838 h 624839"/>
                <a:gd name="connsiteX13" fmla="*/ 60960 w 1231582"/>
                <a:gd name="connsiteY13" fmla="*/ 601027 h 624839"/>
                <a:gd name="connsiteX14" fmla="*/ 72390 w 1231582"/>
                <a:gd name="connsiteY14" fmla="*/ 561975 h 624839"/>
                <a:gd name="connsiteX15" fmla="*/ 62865 w 1231582"/>
                <a:gd name="connsiteY15" fmla="*/ 552450 h 624839"/>
                <a:gd name="connsiteX16" fmla="*/ 72390 w 1231582"/>
                <a:gd name="connsiteY16" fmla="*/ 533400 h 624839"/>
                <a:gd name="connsiteX17" fmla="*/ 74295 w 1231582"/>
                <a:gd name="connsiteY17" fmla="*/ 524827 h 624839"/>
                <a:gd name="connsiteX18" fmla="*/ 61913 w 1231582"/>
                <a:gd name="connsiteY18" fmla="*/ 517207 h 624839"/>
                <a:gd name="connsiteX19" fmla="*/ 59055 w 1231582"/>
                <a:gd name="connsiteY19" fmla="*/ 500063 h 624839"/>
                <a:gd name="connsiteX20" fmla="*/ 97155 w 1231582"/>
                <a:gd name="connsiteY20" fmla="*/ 464820 h 624839"/>
                <a:gd name="connsiteX21" fmla="*/ 162877 w 1231582"/>
                <a:gd name="connsiteY21" fmla="*/ 493395 h 624839"/>
                <a:gd name="connsiteX22" fmla="*/ 177165 w 1231582"/>
                <a:gd name="connsiteY22" fmla="*/ 490538 h 624839"/>
                <a:gd name="connsiteX23" fmla="*/ 180975 w 1231582"/>
                <a:gd name="connsiteY23" fmla="*/ 467677 h 624839"/>
                <a:gd name="connsiteX24" fmla="*/ 164782 w 1231582"/>
                <a:gd name="connsiteY24" fmla="*/ 450532 h 624839"/>
                <a:gd name="connsiteX25" fmla="*/ 168592 w 1231582"/>
                <a:gd name="connsiteY25" fmla="*/ 419100 h 624839"/>
                <a:gd name="connsiteX26" fmla="*/ 178117 w 1231582"/>
                <a:gd name="connsiteY26" fmla="*/ 414338 h 624839"/>
                <a:gd name="connsiteX27" fmla="*/ 189547 w 1231582"/>
                <a:gd name="connsiteY27" fmla="*/ 420052 h 624839"/>
                <a:gd name="connsiteX28" fmla="*/ 195263 w 1231582"/>
                <a:gd name="connsiteY28" fmla="*/ 408622 h 624839"/>
                <a:gd name="connsiteX29" fmla="*/ 230505 w 1231582"/>
                <a:gd name="connsiteY29" fmla="*/ 402907 h 624839"/>
                <a:gd name="connsiteX30" fmla="*/ 231457 w 1231582"/>
                <a:gd name="connsiteY30" fmla="*/ 394335 h 624839"/>
                <a:gd name="connsiteX31" fmla="*/ 217170 w 1231582"/>
                <a:gd name="connsiteY31" fmla="*/ 373380 h 624839"/>
                <a:gd name="connsiteX32" fmla="*/ 216217 w 1231582"/>
                <a:gd name="connsiteY32" fmla="*/ 362902 h 624839"/>
                <a:gd name="connsiteX33" fmla="*/ 237172 w 1231582"/>
                <a:gd name="connsiteY33" fmla="*/ 337185 h 624839"/>
                <a:gd name="connsiteX34" fmla="*/ 237172 w 1231582"/>
                <a:gd name="connsiteY34" fmla="*/ 328613 h 624839"/>
                <a:gd name="connsiteX35" fmla="*/ 247650 w 1231582"/>
                <a:gd name="connsiteY35" fmla="*/ 336232 h 624839"/>
                <a:gd name="connsiteX36" fmla="*/ 253365 w 1231582"/>
                <a:gd name="connsiteY36" fmla="*/ 326707 h 624839"/>
                <a:gd name="connsiteX37" fmla="*/ 246697 w 1231582"/>
                <a:gd name="connsiteY37" fmla="*/ 310515 h 624839"/>
                <a:gd name="connsiteX38" fmla="*/ 290513 w 1231582"/>
                <a:gd name="connsiteY38" fmla="*/ 305752 h 624839"/>
                <a:gd name="connsiteX39" fmla="*/ 292417 w 1231582"/>
                <a:gd name="connsiteY39" fmla="*/ 317182 h 624839"/>
                <a:gd name="connsiteX40" fmla="*/ 302895 w 1231582"/>
                <a:gd name="connsiteY40" fmla="*/ 319088 h 624839"/>
                <a:gd name="connsiteX41" fmla="*/ 306705 w 1231582"/>
                <a:gd name="connsiteY41" fmla="*/ 310515 h 624839"/>
                <a:gd name="connsiteX42" fmla="*/ 300990 w 1231582"/>
                <a:gd name="connsiteY42" fmla="*/ 298132 h 624839"/>
                <a:gd name="connsiteX43" fmla="*/ 303847 w 1231582"/>
                <a:gd name="connsiteY43" fmla="*/ 290513 h 624839"/>
                <a:gd name="connsiteX44" fmla="*/ 316230 w 1231582"/>
                <a:gd name="connsiteY44" fmla="*/ 298132 h 624839"/>
                <a:gd name="connsiteX45" fmla="*/ 332422 w 1231582"/>
                <a:gd name="connsiteY45" fmla="*/ 294322 h 624839"/>
                <a:gd name="connsiteX46" fmla="*/ 348615 w 1231582"/>
                <a:gd name="connsiteY46" fmla="*/ 300038 h 624839"/>
                <a:gd name="connsiteX47" fmla="*/ 381000 w 1231582"/>
                <a:gd name="connsiteY47" fmla="*/ 320040 h 624839"/>
                <a:gd name="connsiteX48" fmla="*/ 398145 w 1231582"/>
                <a:gd name="connsiteY48" fmla="*/ 293370 h 624839"/>
                <a:gd name="connsiteX49" fmla="*/ 431482 w 1231582"/>
                <a:gd name="connsiteY49" fmla="*/ 272415 h 624839"/>
                <a:gd name="connsiteX50" fmla="*/ 460057 w 1231582"/>
                <a:gd name="connsiteY50" fmla="*/ 303847 h 624839"/>
                <a:gd name="connsiteX51" fmla="*/ 475297 w 1231582"/>
                <a:gd name="connsiteY51" fmla="*/ 283845 h 624839"/>
                <a:gd name="connsiteX52" fmla="*/ 478155 w 1231582"/>
                <a:gd name="connsiteY52" fmla="*/ 258127 h 624839"/>
                <a:gd name="connsiteX53" fmla="*/ 514350 w 1231582"/>
                <a:gd name="connsiteY53" fmla="*/ 236220 h 624839"/>
                <a:gd name="connsiteX54" fmla="*/ 516255 w 1231582"/>
                <a:gd name="connsiteY54" fmla="*/ 248602 h 624839"/>
                <a:gd name="connsiteX55" fmla="*/ 534352 w 1231582"/>
                <a:gd name="connsiteY55" fmla="*/ 260032 h 624839"/>
                <a:gd name="connsiteX56" fmla="*/ 562927 w 1231582"/>
                <a:gd name="connsiteY56" fmla="*/ 258127 h 624839"/>
                <a:gd name="connsiteX57" fmla="*/ 574357 w 1231582"/>
                <a:gd name="connsiteY57" fmla="*/ 251460 h 624839"/>
                <a:gd name="connsiteX58" fmla="*/ 575310 w 1231582"/>
                <a:gd name="connsiteY58" fmla="*/ 219075 h 624839"/>
                <a:gd name="connsiteX59" fmla="*/ 599122 w 1231582"/>
                <a:gd name="connsiteY59" fmla="*/ 183832 h 624839"/>
                <a:gd name="connsiteX60" fmla="*/ 642938 w 1231582"/>
                <a:gd name="connsiteY60" fmla="*/ 141922 h 624839"/>
                <a:gd name="connsiteX61" fmla="*/ 641985 w 1231582"/>
                <a:gd name="connsiteY61" fmla="*/ 125730 h 624839"/>
                <a:gd name="connsiteX62" fmla="*/ 653415 w 1231582"/>
                <a:gd name="connsiteY62" fmla="*/ 89535 h 624839"/>
                <a:gd name="connsiteX63" fmla="*/ 674370 w 1231582"/>
                <a:gd name="connsiteY63" fmla="*/ 99060 h 624839"/>
                <a:gd name="connsiteX64" fmla="*/ 738188 w 1231582"/>
                <a:gd name="connsiteY64" fmla="*/ 56197 h 624839"/>
                <a:gd name="connsiteX65" fmla="*/ 734377 w 1231582"/>
                <a:gd name="connsiteY65" fmla="*/ 40005 h 624839"/>
                <a:gd name="connsiteX66" fmla="*/ 720090 w 1231582"/>
                <a:gd name="connsiteY66" fmla="*/ 20002 h 624839"/>
                <a:gd name="connsiteX67" fmla="*/ 729615 w 1231582"/>
                <a:gd name="connsiteY67" fmla="*/ 1905 h 624839"/>
                <a:gd name="connsiteX68" fmla="*/ 741997 w 1231582"/>
                <a:gd name="connsiteY68" fmla="*/ 6667 h 624839"/>
                <a:gd name="connsiteX69" fmla="*/ 762952 w 1231582"/>
                <a:gd name="connsiteY69" fmla="*/ 7620 h 624839"/>
                <a:gd name="connsiteX70" fmla="*/ 781050 w 1231582"/>
                <a:gd name="connsiteY70" fmla="*/ 0 h 624839"/>
                <a:gd name="connsiteX71" fmla="*/ 808672 w 1231582"/>
                <a:gd name="connsiteY71" fmla="*/ 11430 h 624839"/>
                <a:gd name="connsiteX72" fmla="*/ 829627 w 1231582"/>
                <a:gd name="connsiteY72" fmla="*/ 43815 h 624839"/>
                <a:gd name="connsiteX73" fmla="*/ 829627 w 1231582"/>
                <a:gd name="connsiteY73" fmla="*/ 53340 h 624839"/>
                <a:gd name="connsiteX74" fmla="*/ 868680 w 1231582"/>
                <a:gd name="connsiteY74" fmla="*/ 60007 h 624839"/>
                <a:gd name="connsiteX75" fmla="*/ 890588 w 1231582"/>
                <a:gd name="connsiteY75" fmla="*/ 58102 h 624839"/>
                <a:gd name="connsiteX76" fmla="*/ 908685 w 1231582"/>
                <a:gd name="connsiteY76" fmla="*/ 78105 h 624839"/>
                <a:gd name="connsiteX77" fmla="*/ 929640 w 1231582"/>
                <a:gd name="connsiteY77" fmla="*/ 80010 h 624839"/>
                <a:gd name="connsiteX78" fmla="*/ 929640 w 1231582"/>
                <a:gd name="connsiteY78" fmla="*/ 70485 h 624839"/>
                <a:gd name="connsiteX79" fmla="*/ 947738 w 1231582"/>
                <a:gd name="connsiteY79" fmla="*/ 62865 h 624839"/>
                <a:gd name="connsiteX80" fmla="*/ 976313 w 1231582"/>
                <a:gd name="connsiteY80" fmla="*/ 70485 h 624839"/>
                <a:gd name="connsiteX81" fmla="*/ 987742 w 1231582"/>
                <a:gd name="connsiteY81" fmla="*/ 78105 h 624839"/>
                <a:gd name="connsiteX82" fmla="*/ 1000125 w 1231582"/>
                <a:gd name="connsiteY82" fmla="*/ 71438 h 624839"/>
                <a:gd name="connsiteX83" fmla="*/ 1008697 w 1231582"/>
                <a:gd name="connsiteY83" fmla="*/ 71438 h 624839"/>
                <a:gd name="connsiteX84" fmla="*/ 1014413 w 1231582"/>
                <a:gd name="connsiteY84" fmla="*/ 55245 h 624839"/>
                <a:gd name="connsiteX85" fmla="*/ 1046797 w 1231582"/>
                <a:gd name="connsiteY85" fmla="*/ 38100 h 624839"/>
                <a:gd name="connsiteX86" fmla="*/ 1051560 w 1231582"/>
                <a:gd name="connsiteY86" fmla="*/ 45720 h 624839"/>
                <a:gd name="connsiteX87" fmla="*/ 1059180 w 1231582"/>
                <a:gd name="connsiteY87" fmla="*/ 73342 h 624839"/>
                <a:gd name="connsiteX88" fmla="*/ 1092517 w 1231582"/>
                <a:gd name="connsiteY88" fmla="*/ 86677 h 624839"/>
                <a:gd name="connsiteX89" fmla="*/ 1103947 w 1231582"/>
                <a:gd name="connsiteY89" fmla="*/ 106680 h 624839"/>
                <a:gd name="connsiteX90" fmla="*/ 1102995 w 1231582"/>
                <a:gd name="connsiteY90" fmla="*/ 117157 h 624839"/>
                <a:gd name="connsiteX91" fmla="*/ 1108710 w 1231582"/>
                <a:gd name="connsiteY91" fmla="*/ 126682 h 624839"/>
                <a:gd name="connsiteX92" fmla="*/ 1102995 w 1231582"/>
                <a:gd name="connsiteY92" fmla="*/ 160972 h 624839"/>
                <a:gd name="connsiteX93" fmla="*/ 1121092 w 1231582"/>
                <a:gd name="connsiteY93" fmla="*/ 176213 h 624839"/>
                <a:gd name="connsiteX94" fmla="*/ 1128713 w 1231582"/>
                <a:gd name="connsiteY94" fmla="*/ 186690 h 624839"/>
                <a:gd name="connsiteX95" fmla="*/ 1138238 w 1231582"/>
                <a:gd name="connsiteY95" fmla="*/ 192405 h 624839"/>
                <a:gd name="connsiteX96" fmla="*/ 1137285 w 1231582"/>
                <a:gd name="connsiteY96" fmla="*/ 200977 h 624839"/>
                <a:gd name="connsiteX97" fmla="*/ 1179195 w 1231582"/>
                <a:gd name="connsiteY97" fmla="*/ 254317 h 624839"/>
                <a:gd name="connsiteX98" fmla="*/ 1192530 w 1231582"/>
                <a:gd name="connsiteY98" fmla="*/ 254317 h 624839"/>
                <a:gd name="connsiteX99" fmla="*/ 1206817 w 1231582"/>
                <a:gd name="connsiteY99" fmla="*/ 271463 h 624839"/>
                <a:gd name="connsiteX100" fmla="*/ 1218247 w 1231582"/>
                <a:gd name="connsiteY100" fmla="*/ 274320 h 624839"/>
                <a:gd name="connsiteX101" fmla="*/ 1231582 w 1231582"/>
                <a:gd name="connsiteY101" fmla="*/ 273367 h 624839"/>
                <a:gd name="connsiteX102" fmla="*/ 1184910 w 1231582"/>
                <a:gd name="connsiteY102" fmla="*/ 336232 h 624839"/>
                <a:gd name="connsiteX103" fmla="*/ 1157288 w 1231582"/>
                <a:gd name="connsiteY103" fmla="*/ 345757 h 624839"/>
                <a:gd name="connsiteX104" fmla="*/ 1128713 w 1231582"/>
                <a:gd name="connsiteY104" fmla="*/ 374332 h 624839"/>
                <a:gd name="connsiteX105" fmla="*/ 1124902 w 1231582"/>
                <a:gd name="connsiteY105" fmla="*/ 395288 h 624839"/>
                <a:gd name="connsiteX106" fmla="*/ 1104900 w 1231582"/>
                <a:gd name="connsiteY106" fmla="*/ 407670 h 624839"/>
                <a:gd name="connsiteX107" fmla="*/ 1103947 w 1231582"/>
                <a:gd name="connsiteY107" fmla="*/ 423863 h 624839"/>
                <a:gd name="connsiteX108" fmla="*/ 1090613 w 1231582"/>
                <a:gd name="connsiteY108" fmla="*/ 437197 h 624839"/>
                <a:gd name="connsiteX109" fmla="*/ 1073467 w 1231582"/>
                <a:gd name="connsiteY109" fmla="*/ 441960 h 624839"/>
                <a:gd name="connsiteX110" fmla="*/ 1068705 w 1231582"/>
                <a:gd name="connsiteY110" fmla="*/ 460057 h 624839"/>
                <a:gd name="connsiteX111" fmla="*/ 1059180 w 1231582"/>
                <a:gd name="connsiteY111" fmla="*/ 463867 h 624839"/>
                <a:gd name="connsiteX112" fmla="*/ 993457 w 1231582"/>
                <a:gd name="connsiteY112" fmla="*/ 503872 h 624839"/>
                <a:gd name="connsiteX113" fmla="*/ 6667 w 1231582"/>
                <a:gd name="connsiteY113" fmla="*/ 624840 h 624839"/>
                <a:gd name="connsiteX114" fmla="*/ 0 w 1231582"/>
                <a:gd name="connsiteY114" fmla="*/ 618172 h 624839"/>
                <a:gd name="connsiteX115" fmla="*/ 1905 w 1231582"/>
                <a:gd name="connsiteY115" fmla="*/ 608647 h 624839"/>
                <a:gd name="connsiteX116" fmla="*/ 12382 w 1231582"/>
                <a:gd name="connsiteY116" fmla="*/ 608647 h 624839"/>
                <a:gd name="connsiteX117" fmla="*/ 19050 w 1231582"/>
                <a:gd name="connsiteY117" fmla="*/ 615315 h 624839"/>
                <a:gd name="connsiteX118" fmla="*/ 16192 w 1231582"/>
                <a:gd name="connsiteY118" fmla="*/ 624840 h 624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</a:cxnLst>
              <a:rect l="l" t="t" r="r" b="b"/>
              <a:pathLst>
                <a:path w="1231582" h="624839">
                  <a:moveTo>
                    <a:pt x="940117" y="517207"/>
                  </a:moveTo>
                  <a:lnTo>
                    <a:pt x="744855" y="530542"/>
                  </a:lnTo>
                  <a:lnTo>
                    <a:pt x="695325" y="538163"/>
                  </a:lnTo>
                  <a:lnTo>
                    <a:pt x="529590" y="547688"/>
                  </a:lnTo>
                  <a:lnTo>
                    <a:pt x="504825" y="555307"/>
                  </a:lnTo>
                  <a:lnTo>
                    <a:pt x="289560" y="574357"/>
                  </a:lnTo>
                  <a:lnTo>
                    <a:pt x="282892" y="568642"/>
                  </a:lnTo>
                  <a:lnTo>
                    <a:pt x="247650" y="568642"/>
                  </a:lnTo>
                  <a:lnTo>
                    <a:pt x="259080" y="599122"/>
                  </a:lnTo>
                  <a:lnTo>
                    <a:pt x="253365" y="607695"/>
                  </a:lnTo>
                  <a:lnTo>
                    <a:pt x="31432" y="621982"/>
                  </a:lnTo>
                  <a:lnTo>
                    <a:pt x="40957" y="596265"/>
                  </a:lnTo>
                  <a:lnTo>
                    <a:pt x="54292" y="604838"/>
                  </a:lnTo>
                  <a:lnTo>
                    <a:pt x="60960" y="601027"/>
                  </a:lnTo>
                  <a:lnTo>
                    <a:pt x="72390" y="561975"/>
                  </a:lnTo>
                  <a:lnTo>
                    <a:pt x="62865" y="552450"/>
                  </a:lnTo>
                  <a:lnTo>
                    <a:pt x="72390" y="533400"/>
                  </a:lnTo>
                  <a:lnTo>
                    <a:pt x="74295" y="524827"/>
                  </a:lnTo>
                  <a:lnTo>
                    <a:pt x="61913" y="517207"/>
                  </a:lnTo>
                  <a:lnTo>
                    <a:pt x="59055" y="500063"/>
                  </a:lnTo>
                  <a:lnTo>
                    <a:pt x="97155" y="464820"/>
                  </a:lnTo>
                  <a:lnTo>
                    <a:pt x="162877" y="493395"/>
                  </a:lnTo>
                  <a:lnTo>
                    <a:pt x="177165" y="490538"/>
                  </a:lnTo>
                  <a:lnTo>
                    <a:pt x="180975" y="467677"/>
                  </a:lnTo>
                  <a:lnTo>
                    <a:pt x="164782" y="450532"/>
                  </a:lnTo>
                  <a:lnTo>
                    <a:pt x="168592" y="419100"/>
                  </a:lnTo>
                  <a:lnTo>
                    <a:pt x="178117" y="414338"/>
                  </a:lnTo>
                  <a:lnTo>
                    <a:pt x="189547" y="420052"/>
                  </a:lnTo>
                  <a:lnTo>
                    <a:pt x="195263" y="408622"/>
                  </a:lnTo>
                  <a:lnTo>
                    <a:pt x="230505" y="402907"/>
                  </a:lnTo>
                  <a:lnTo>
                    <a:pt x="231457" y="394335"/>
                  </a:lnTo>
                  <a:lnTo>
                    <a:pt x="217170" y="373380"/>
                  </a:lnTo>
                  <a:lnTo>
                    <a:pt x="216217" y="362902"/>
                  </a:lnTo>
                  <a:lnTo>
                    <a:pt x="237172" y="337185"/>
                  </a:lnTo>
                  <a:lnTo>
                    <a:pt x="237172" y="328613"/>
                  </a:lnTo>
                  <a:lnTo>
                    <a:pt x="247650" y="336232"/>
                  </a:lnTo>
                  <a:lnTo>
                    <a:pt x="253365" y="326707"/>
                  </a:lnTo>
                  <a:lnTo>
                    <a:pt x="246697" y="310515"/>
                  </a:lnTo>
                  <a:lnTo>
                    <a:pt x="290513" y="305752"/>
                  </a:lnTo>
                  <a:lnTo>
                    <a:pt x="292417" y="317182"/>
                  </a:lnTo>
                  <a:lnTo>
                    <a:pt x="302895" y="319088"/>
                  </a:lnTo>
                  <a:lnTo>
                    <a:pt x="306705" y="310515"/>
                  </a:lnTo>
                  <a:lnTo>
                    <a:pt x="300990" y="298132"/>
                  </a:lnTo>
                  <a:lnTo>
                    <a:pt x="303847" y="290513"/>
                  </a:lnTo>
                  <a:lnTo>
                    <a:pt x="316230" y="298132"/>
                  </a:lnTo>
                  <a:lnTo>
                    <a:pt x="332422" y="294322"/>
                  </a:lnTo>
                  <a:lnTo>
                    <a:pt x="348615" y="300038"/>
                  </a:lnTo>
                  <a:lnTo>
                    <a:pt x="381000" y="320040"/>
                  </a:lnTo>
                  <a:lnTo>
                    <a:pt x="398145" y="293370"/>
                  </a:lnTo>
                  <a:lnTo>
                    <a:pt x="431482" y="272415"/>
                  </a:lnTo>
                  <a:lnTo>
                    <a:pt x="460057" y="303847"/>
                  </a:lnTo>
                  <a:lnTo>
                    <a:pt x="475297" y="283845"/>
                  </a:lnTo>
                  <a:lnTo>
                    <a:pt x="478155" y="258127"/>
                  </a:lnTo>
                  <a:lnTo>
                    <a:pt x="514350" y="236220"/>
                  </a:lnTo>
                  <a:lnTo>
                    <a:pt x="516255" y="248602"/>
                  </a:lnTo>
                  <a:lnTo>
                    <a:pt x="534352" y="260032"/>
                  </a:lnTo>
                  <a:lnTo>
                    <a:pt x="562927" y="258127"/>
                  </a:lnTo>
                  <a:lnTo>
                    <a:pt x="574357" y="251460"/>
                  </a:lnTo>
                  <a:lnTo>
                    <a:pt x="575310" y="219075"/>
                  </a:lnTo>
                  <a:lnTo>
                    <a:pt x="599122" y="183832"/>
                  </a:lnTo>
                  <a:lnTo>
                    <a:pt x="642938" y="141922"/>
                  </a:lnTo>
                  <a:lnTo>
                    <a:pt x="641985" y="125730"/>
                  </a:lnTo>
                  <a:lnTo>
                    <a:pt x="653415" y="89535"/>
                  </a:lnTo>
                  <a:lnTo>
                    <a:pt x="674370" y="99060"/>
                  </a:lnTo>
                  <a:lnTo>
                    <a:pt x="738188" y="56197"/>
                  </a:lnTo>
                  <a:lnTo>
                    <a:pt x="734377" y="40005"/>
                  </a:lnTo>
                  <a:lnTo>
                    <a:pt x="720090" y="20002"/>
                  </a:lnTo>
                  <a:lnTo>
                    <a:pt x="729615" y="1905"/>
                  </a:lnTo>
                  <a:lnTo>
                    <a:pt x="741997" y="6667"/>
                  </a:lnTo>
                  <a:lnTo>
                    <a:pt x="762952" y="7620"/>
                  </a:lnTo>
                  <a:lnTo>
                    <a:pt x="781050" y="0"/>
                  </a:lnTo>
                  <a:lnTo>
                    <a:pt x="808672" y="11430"/>
                  </a:lnTo>
                  <a:lnTo>
                    <a:pt x="829627" y="43815"/>
                  </a:lnTo>
                  <a:lnTo>
                    <a:pt x="829627" y="53340"/>
                  </a:lnTo>
                  <a:lnTo>
                    <a:pt x="868680" y="60007"/>
                  </a:lnTo>
                  <a:lnTo>
                    <a:pt x="890588" y="58102"/>
                  </a:lnTo>
                  <a:lnTo>
                    <a:pt x="908685" y="78105"/>
                  </a:lnTo>
                  <a:lnTo>
                    <a:pt x="929640" y="80010"/>
                  </a:lnTo>
                  <a:lnTo>
                    <a:pt x="929640" y="70485"/>
                  </a:lnTo>
                  <a:lnTo>
                    <a:pt x="947738" y="62865"/>
                  </a:lnTo>
                  <a:lnTo>
                    <a:pt x="976313" y="70485"/>
                  </a:lnTo>
                  <a:lnTo>
                    <a:pt x="987742" y="78105"/>
                  </a:lnTo>
                  <a:lnTo>
                    <a:pt x="1000125" y="71438"/>
                  </a:lnTo>
                  <a:lnTo>
                    <a:pt x="1008697" y="71438"/>
                  </a:lnTo>
                  <a:lnTo>
                    <a:pt x="1014413" y="55245"/>
                  </a:lnTo>
                  <a:lnTo>
                    <a:pt x="1046797" y="38100"/>
                  </a:lnTo>
                  <a:lnTo>
                    <a:pt x="1051560" y="45720"/>
                  </a:lnTo>
                  <a:lnTo>
                    <a:pt x="1059180" y="73342"/>
                  </a:lnTo>
                  <a:lnTo>
                    <a:pt x="1092517" y="86677"/>
                  </a:lnTo>
                  <a:lnTo>
                    <a:pt x="1103947" y="106680"/>
                  </a:lnTo>
                  <a:lnTo>
                    <a:pt x="1102995" y="117157"/>
                  </a:lnTo>
                  <a:lnTo>
                    <a:pt x="1108710" y="126682"/>
                  </a:lnTo>
                  <a:lnTo>
                    <a:pt x="1102995" y="160972"/>
                  </a:lnTo>
                  <a:lnTo>
                    <a:pt x="1121092" y="176213"/>
                  </a:lnTo>
                  <a:lnTo>
                    <a:pt x="1128713" y="186690"/>
                  </a:lnTo>
                  <a:lnTo>
                    <a:pt x="1138238" y="192405"/>
                  </a:lnTo>
                  <a:lnTo>
                    <a:pt x="1137285" y="200977"/>
                  </a:lnTo>
                  <a:lnTo>
                    <a:pt x="1179195" y="254317"/>
                  </a:lnTo>
                  <a:lnTo>
                    <a:pt x="1192530" y="254317"/>
                  </a:lnTo>
                  <a:lnTo>
                    <a:pt x="1206817" y="271463"/>
                  </a:lnTo>
                  <a:lnTo>
                    <a:pt x="1218247" y="274320"/>
                  </a:lnTo>
                  <a:lnTo>
                    <a:pt x="1231582" y="273367"/>
                  </a:lnTo>
                  <a:lnTo>
                    <a:pt x="1184910" y="336232"/>
                  </a:lnTo>
                  <a:lnTo>
                    <a:pt x="1157288" y="345757"/>
                  </a:lnTo>
                  <a:lnTo>
                    <a:pt x="1128713" y="374332"/>
                  </a:lnTo>
                  <a:lnTo>
                    <a:pt x="1124902" y="395288"/>
                  </a:lnTo>
                  <a:lnTo>
                    <a:pt x="1104900" y="407670"/>
                  </a:lnTo>
                  <a:lnTo>
                    <a:pt x="1103947" y="423863"/>
                  </a:lnTo>
                  <a:lnTo>
                    <a:pt x="1090613" y="437197"/>
                  </a:lnTo>
                  <a:lnTo>
                    <a:pt x="1073467" y="441960"/>
                  </a:lnTo>
                  <a:lnTo>
                    <a:pt x="1068705" y="460057"/>
                  </a:lnTo>
                  <a:lnTo>
                    <a:pt x="1059180" y="463867"/>
                  </a:lnTo>
                  <a:lnTo>
                    <a:pt x="993457" y="503872"/>
                  </a:lnTo>
                  <a:close/>
                  <a:moveTo>
                    <a:pt x="6667" y="624840"/>
                  </a:moveTo>
                  <a:lnTo>
                    <a:pt x="0" y="618172"/>
                  </a:lnTo>
                  <a:lnTo>
                    <a:pt x="1905" y="608647"/>
                  </a:lnTo>
                  <a:lnTo>
                    <a:pt x="12382" y="608647"/>
                  </a:lnTo>
                  <a:lnTo>
                    <a:pt x="19050" y="615315"/>
                  </a:lnTo>
                  <a:lnTo>
                    <a:pt x="16192" y="624840"/>
                  </a:lnTo>
                  <a:close/>
                </a:path>
              </a:pathLst>
            </a:custGeom>
            <a:solidFill>
              <a:srgbClr val="D0D0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65E5E7FD-2D72-DB7E-CF04-41C924611C6B}"/>
                </a:ext>
              </a:extLst>
            </p:cNvPr>
            <p:cNvSpPr/>
            <p:nvPr/>
          </p:nvSpPr>
          <p:spPr>
            <a:xfrm>
              <a:off x="6450329" y="4685347"/>
              <a:ext cx="942022" cy="825817"/>
            </a:xfrm>
            <a:custGeom>
              <a:avLst/>
              <a:gdLst>
                <a:gd name="connsiteX0" fmla="*/ 817245 w 942022"/>
                <a:gd name="connsiteY0" fmla="*/ 570547 h 825817"/>
                <a:gd name="connsiteX1" fmla="*/ 805815 w 942022"/>
                <a:gd name="connsiteY1" fmla="*/ 553403 h 825817"/>
                <a:gd name="connsiteX2" fmla="*/ 808672 w 942022"/>
                <a:gd name="connsiteY2" fmla="*/ 541020 h 825817"/>
                <a:gd name="connsiteX3" fmla="*/ 762952 w 942022"/>
                <a:gd name="connsiteY3" fmla="*/ 476250 h 825817"/>
                <a:gd name="connsiteX4" fmla="*/ 771525 w 942022"/>
                <a:gd name="connsiteY4" fmla="*/ 432435 h 825817"/>
                <a:gd name="connsiteX5" fmla="*/ 781050 w 942022"/>
                <a:gd name="connsiteY5" fmla="*/ 419100 h 825817"/>
                <a:gd name="connsiteX6" fmla="*/ 782002 w 942022"/>
                <a:gd name="connsiteY6" fmla="*/ 405765 h 825817"/>
                <a:gd name="connsiteX7" fmla="*/ 439102 w 942022"/>
                <a:gd name="connsiteY7" fmla="*/ 424815 h 825817"/>
                <a:gd name="connsiteX8" fmla="*/ 455295 w 942022"/>
                <a:gd name="connsiteY8" fmla="*/ 311468 h 825817"/>
                <a:gd name="connsiteX9" fmla="*/ 478155 w 942022"/>
                <a:gd name="connsiteY9" fmla="*/ 265747 h 825817"/>
                <a:gd name="connsiteX10" fmla="*/ 535305 w 942022"/>
                <a:gd name="connsiteY10" fmla="*/ 185738 h 825817"/>
                <a:gd name="connsiteX11" fmla="*/ 518160 w 942022"/>
                <a:gd name="connsiteY11" fmla="*/ 161925 h 825817"/>
                <a:gd name="connsiteX12" fmla="*/ 537210 w 942022"/>
                <a:gd name="connsiteY12" fmla="*/ 161925 h 825817"/>
                <a:gd name="connsiteX13" fmla="*/ 537210 w 942022"/>
                <a:gd name="connsiteY13" fmla="*/ 130493 h 825817"/>
                <a:gd name="connsiteX14" fmla="*/ 514350 w 942022"/>
                <a:gd name="connsiteY14" fmla="*/ 106680 h 825817"/>
                <a:gd name="connsiteX15" fmla="*/ 519113 w 942022"/>
                <a:gd name="connsiteY15" fmla="*/ 90488 h 825817"/>
                <a:gd name="connsiteX16" fmla="*/ 507682 w 942022"/>
                <a:gd name="connsiteY16" fmla="*/ 80963 h 825817"/>
                <a:gd name="connsiteX17" fmla="*/ 492443 w 942022"/>
                <a:gd name="connsiteY17" fmla="*/ 13335 h 825817"/>
                <a:gd name="connsiteX18" fmla="*/ 498157 w 942022"/>
                <a:gd name="connsiteY18" fmla="*/ 0 h 825817"/>
                <a:gd name="connsiteX19" fmla="*/ 0 w 942022"/>
                <a:gd name="connsiteY19" fmla="*/ 12383 h 825817"/>
                <a:gd name="connsiteX20" fmla="*/ 4763 w 942022"/>
                <a:gd name="connsiteY20" fmla="*/ 201930 h 825817"/>
                <a:gd name="connsiteX21" fmla="*/ 11430 w 942022"/>
                <a:gd name="connsiteY21" fmla="*/ 234315 h 825817"/>
                <a:gd name="connsiteX22" fmla="*/ 36195 w 942022"/>
                <a:gd name="connsiteY22" fmla="*/ 260985 h 825817"/>
                <a:gd name="connsiteX23" fmla="*/ 42863 w 942022"/>
                <a:gd name="connsiteY23" fmla="*/ 312420 h 825817"/>
                <a:gd name="connsiteX24" fmla="*/ 79057 w 942022"/>
                <a:gd name="connsiteY24" fmla="*/ 356235 h 825817"/>
                <a:gd name="connsiteX25" fmla="*/ 86677 w 942022"/>
                <a:gd name="connsiteY25" fmla="*/ 397193 h 825817"/>
                <a:gd name="connsiteX26" fmla="*/ 96202 w 942022"/>
                <a:gd name="connsiteY26" fmla="*/ 397193 h 825817"/>
                <a:gd name="connsiteX27" fmla="*/ 95250 w 942022"/>
                <a:gd name="connsiteY27" fmla="*/ 466725 h 825817"/>
                <a:gd name="connsiteX28" fmla="*/ 63818 w 942022"/>
                <a:gd name="connsiteY28" fmla="*/ 527685 h 825817"/>
                <a:gd name="connsiteX29" fmla="*/ 76200 w 942022"/>
                <a:gd name="connsiteY29" fmla="*/ 549593 h 825817"/>
                <a:gd name="connsiteX30" fmla="*/ 63818 w 942022"/>
                <a:gd name="connsiteY30" fmla="*/ 563880 h 825817"/>
                <a:gd name="connsiteX31" fmla="*/ 70485 w 942022"/>
                <a:gd name="connsiteY31" fmla="*/ 592455 h 825817"/>
                <a:gd name="connsiteX32" fmla="*/ 69532 w 942022"/>
                <a:gd name="connsiteY32" fmla="*/ 633413 h 825817"/>
                <a:gd name="connsiteX33" fmla="*/ 48577 w 942022"/>
                <a:gd name="connsiteY33" fmla="*/ 666750 h 825817"/>
                <a:gd name="connsiteX34" fmla="*/ 47625 w 942022"/>
                <a:gd name="connsiteY34" fmla="*/ 674370 h 825817"/>
                <a:gd name="connsiteX35" fmla="*/ 31432 w 942022"/>
                <a:gd name="connsiteY35" fmla="*/ 685800 h 825817"/>
                <a:gd name="connsiteX36" fmla="*/ 40957 w 942022"/>
                <a:gd name="connsiteY36" fmla="*/ 702945 h 825817"/>
                <a:gd name="connsiteX37" fmla="*/ 52388 w 942022"/>
                <a:gd name="connsiteY37" fmla="*/ 713422 h 825817"/>
                <a:gd name="connsiteX38" fmla="*/ 67627 w 942022"/>
                <a:gd name="connsiteY38" fmla="*/ 701040 h 825817"/>
                <a:gd name="connsiteX39" fmla="*/ 118110 w 942022"/>
                <a:gd name="connsiteY39" fmla="*/ 692468 h 825817"/>
                <a:gd name="connsiteX40" fmla="*/ 176213 w 942022"/>
                <a:gd name="connsiteY40" fmla="*/ 691515 h 825817"/>
                <a:gd name="connsiteX41" fmla="*/ 267652 w 942022"/>
                <a:gd name="connsiteY41" fmla="*/ 727710 h 825817"/>
                <a:gd name="connsiteX42" fmla="*/ 343852 w 942022"/>
                <a:gd name="connsiteY42" fmla="*/ 737235 h 825817"/>
                <a:gd name="connsiteX43" fmla="*/ 358140 w 942022"/>
                <a:gd name="connsiteY43" fmla="*/ 723900 h 825817"/>
                <a:gd name="connsiteX44" fmla="*/ 375285 w 942022"/>
                <a:gd name="connsiteY44" fmla="*/ 721995 h 825817"/>
                <a:gd name="connsiteX45" fmla="*/ 421005 w 942022"/>
                <a:gd name="connsiteY45" fmla="*/ 742950 h 825817"/>
                <a:gd name="connsiteX46" fmla="*/ 436245 w 942022"/>
                <a:gd name="connsiteY46" fmla="*/ 739140 h 825817"/>
                <a:gd name="connsiteX47" fmla="*/ 446722 w 942022"/>
                <a:gd name="connsiteY47" fmla="*/ 724853 h 825817"/>
                <a:gd name="connsiteX48" fmla="*/ 406718 w 942022"/>
                <a:gd name="connsiteY48" fmla="*/ 707708 h 825817"/>
                <a:gd name="connsiteX49" fmla="*/ 385763 w 942022"/>
                <a:gd name="connsiteY49" fmla="*/ 717233 h 825817"/>
                <a:gd name="connsiteX50" fmla="*/ 375285 w 942022"/>
                <a:gd name="connsiteY50" fmla="*/ 715328 h 825817"/>
                <a:gd name="connsiteX51" fmla="*/ 361950 w 942022"/>
                <a:gd name="connsiteY51" fmla="*/ 696278 h 825817"/>
                <a:gd name="connsiteX52" fmla="*/ 393382 w 942022"/>
                <a:gd name="connsiteY52" fmla="*/ 675322 h 825817"/>
                <a:gd name="connsiteX53" fmla="*/ 408622 w 942022"/>
                <a:gd name="connsiteY53" fmla="*/ 674370 h 825817"/>
                <a:gd name="connsiteX54" fmla="*/ 408622 w 942022"/>
                <a:gd name="connsiteY54" fmla="*/ 690563 h 825817"/>
                <a:gd name="connsiteX55" fmla="*/ 422910 w 942022"/>
                <a:gd name="connsiteY55" fmla="*/ 689610 h 825817"/>
                <a:gd name="connsiteX56" fmla="*/ 455295 w 942022"/>
                <a:gd name="connsiteY56" fmla="*/ 686753 h 825817"/>
                <a:gd name="connsiteX57" fmla="*/ 459105 w 942022"/>
                <a:gd name="connsiteY57" fmla="*/ 708660 h 825817"/>
                <a:gd name="connsiteX58" fmla="*/ 469582 w 942022"/>
                <a:gd name="connsiteY58" fmla="*/ 712470 h 825817"/>
                <a:gd name="connsiteX59" fmla="*/ 475297 w 942022"/>
                <a:gd name="connsiteY59" fmla="*/ 730568 h 825817"/>
                <a:gd name="connsiteX60" fmla="*/ 521018 w 942022"/>
                <a:gd name="connsiteY60" fmla="*/ 740093 h 825817"/>
                <a:gd name="connsiteX61" fmla="*/ 537210 w 942022"/>
                <a:gd name="connsiteY61" fmla="*/ 755333 h 825817"/>
                <a:gd name="connsiteX62" fmla="*/ 537210 w 942022"/>
                <a:gd name="connsiteY62" fmla="*/ 762000 h 825817"/>
                <a:gd name="connsiteX63" fmla="*/ 525780 w 942022"/>
                <a:gd name="connsiteY63" fmla="*/ 762000 h 825817"/>
                <a:gd name="connsiteX64" fmla="*/ 511493 w 942022"/>
                <a:gd name="connsiteY64" fmla="*/ 778193 h 825817"/>
                <a:gd name="connsiteX65" fmla="*/ 527685 w 942022"/>
                <a:gd name="connsiteY65" fmla="*/ 789622 h 825817"/>
                <a:gd name="connsiteX66" fmla="*/ 579120 w 942022"/>
                <a:gd name="connsiteY66" fmla="*/ 799147 h 825817"/>
                <a:gd name="connsiteX67" fmla="*/ 604838 w 942022"/>
                <a:gd name="connsiteY67" fmla="*/ 825818 h 825817"/>
                <a:gd name="connsiteX68" fmla="*/ 646747 w 942022"/>
                <a:gd name="connsiteY68" fmla="*/ 816293 h 825817"/>
                <a:gd name="connsiteX69" fmla="*/ 611505 w 942022"/>
                <a:gd name="connsiteY69" fmla="*/ 818197 h 825817"/>
                <a:gd name="connsiteX70" fmla="*/ 610552 w 942022"/>
                <a:gd name="connsiteY70" fmla="*/ 812483 h 825817"/>
                <a:gd name="connsiteX71" fmla="*/ 637222 w 942022"/>
                <a:gd name="connsiteY71" fmla="*/ 805815 h 825817"/>
                <a:gd name="connsiteX72" fmla="*/ 639127 w 942022"/>
                <a:gd name="connsiteY72" fmla="*/ 788670 h 825817"/>
                <a:gd name="connsiteX73" fmla="*/ 650557 w 942022"/>
                <a:gd name="connsiteY73" fmla="*/ 785813 h 825817"/>
                <a:gd name="connsiteX74" fmla="*/ 650557 w 942022"/>
                <a:gd name="connsiteY74" fmla="*/ 772478 h 825817"/>
                <a:gd name="connsiteX75" fmla="*/ 661035 w 942022"/>
                <a:gd name="connsiteY75" fmla="*/ 773430 h 825817"/>
                <a:gd name="connsiteX76" fmla="*/ 661035 w 942022"/>
                <a:gd name="connsiteY76" fmla="*/ 788670 h 825817"/>
                <a:gd name="connsiteX77" fmla="*/ 684847 w 942022"/>
                <a:gd name="connsiteY77" fmla="*/ 789622 h 825817"/>
                <a:gd name="connsiteX78" fmla="*/ 692468 w 942022"/>
                <a:gd name="connsiteY78" fmla="*/ 771525 h 825817"/>
                <a:gd name="connsiteX79" fmla="*/ 701040 w 942022"/>
                <a:gd name="connsiteY79" fmla="*/ 774383 h 825817"/>
                <a:gd name="connsiteX80" fmla="*/ 702945 w 942022"/>
                <a:gd name="connsiteY80" fmla="*/ 798195 h 825817"/>
                <a:gd name="connsiteX81" fmla="*/ 714375 w 942022"/>
                <a:gd name="connsiteY81" fmla="*/ 800100 h 825817"/>
                <a:gd name="connsiteX82" fmla="*/ 697230 w 942022"/>
                <a:gd name="connsiteY82" fmla="*/ 819150 h 825817"/>
                <a:gd name="connsiteX83" fmla="*/ 721995 w 942022"/>
                <a:gd name="connsiteY83" fmla="*/ 810578 h 825817"/>
                <a:gd name="connsiteX84" fmla="*/ 741045 w 942022"/>
                <a:gd name="connsiteY84" fmla="*/ 800100 h 825817"/>
                <a:gd name="connsiteX85" fmla="*/ 768668 w 942022"/>
                <a:gd name="connsiteY85" fmla="*/ 768668 h 825817"/>
                <a:gd name="connsiteX86" fmla="*/ 762000 w 942022"/>
                <a:gd name="connsiteY86" fmla="*/ 768668 h 825817"/>
                <a:gd name="connsiteX87" fmla="*/ 749618 w 942022"/>
                <a:gd name="connsiteY87" fmla="*/ 780097 h 825817"/>
                <a:gd name="connsiteX88" fmla="*/ 745807 w 942022"/>
                <a:gd name="connsiteY88" fmla="*/ 779145 h 825817"/>
                <a:gd name="connsiteX89" fmla="*/ 741045 w 942022"/>
                <a:gd name="connsiteY89" fmla="*/ 771525 h 825817"/>
                <a:gd name="connsiteX90" fmla="*/ 749618 w 942022"/>
                <a:gd name="connsiteY90" fmla="*/ 760095 h 825817"/>
                <a:gd name="connsiteX91" fmla="*/ 749618 w 942022"/>
                <a:gd name="connsiteY91" fmla="*/ 738188 h 825817"/>
                <a:gd name="connsiteX92" fmla="*/ 760095 w 942022"/>
                <a:gd name="connsiteY92" fmla="*/ 730568 h 825817"/>
                <a:gd name="connsiteX93" fmla="*/ 766763 w 942022"/>
                <a:gd name="connsiteY93" fmla="*/ 737235 h 825817"/>
                <a:gd name="connsiteX94" fmla="*/ 776288 w 942022"/>
                <a:gd name="connsiteY94" fmla="*/ 729615 h 825817"/>
                <a:gd name="connsiteX95" fmla="*/ 785813 w 942022"/>
                <a:gd name="connsiteY95" fmla="*/ 728663 h 825817"/>
                <a:gd name="connsiteX96" fmla="*/ 791527 w 942022"/>
                <a:gd name="connsiteY96" fmla="*/ 741045 h 825817"/>
                <a:gd name="connsiteX97" fmla="*/ 785813 w 942022"/>
                <a:gd name="connsiteY97" fmla="*/ 759143 h 825817"/>
                <a:gd name="connsiteX98" fmla="*/ 808672 w 942022"/>
                <a:gd name="connsiteY98" fmla="*/ 759143 h 825817"/>
                <a:gd name="connsiteX99" fmla="*/ 857250 w 942022"/>
                <a:gd name="connsiteY99" fmla="*/ 775335 h 825817"/>
                <a:gd name="connsiteX100" fmla="*/ 862013 w 942022"/>
                <a:gd name="connsiteY100" fmla="*/ 787718 h 825817"/>
                <a:gd name="connsiteX101" fmla="*/ 877252 w 942022"/>
                <a:gd name="connsiteY101" fmla="*/ 801053 h 825817"/>
                <a:gd name="connsiteX102" fmla="*/ 903922 w 942022"/>
                <a:gd name="connsiteY102" fmla="*/ 802005 h 825817"/>
                <a:gd name="connsiteX103" fmla="*/ 916305 w 942022"/>
                <a:gd name="connsiteY103" fmla="*/ 808672 h 825817"/>
                <a:gd name="connsiteX104" fmla="*/ 933450 w 942022"/>
                <a:gd name="connsiteY104" fmla="*/ 799147 h 825817"/>
                <a:gd name="connsiteX105" fmla="*/ 942022 w 942022"/>
                <a:gd name="connsiteY105" fmla="*/ 782955 h 825817"/>
                <a:gd name="connsiteX106" fmla="*/ 942022 w 942022"/>
                <a:gd name="connsiteY106" fmla="*/ 766763 h 825817"/>
                <a:gd name="connsiteX107" fmla="*/ 928688 w 942022"/>
                <a:gd name="connsiteY107" fmla="*/ 766763 h 825817"/>
                <a:gd name="connsiteX108" fmla="*/ 917257 w 942022"/>
                <a:gd name="connsiteY108" fmla="*/ 753428 h 825817"/>
                <a:gd name="connsiteX109" fmla="*/ 906780 w 942022"/>
                <a:gd name="connsiteY109" fmla="*/ 742950 h 825817"/>
                <a:gd name="connsiteX110" fmla="*/ 876300 w 942022"/>
                <a:gd name="connsiteY110" fmla="*/ 734378 h 825817"/>
                <a:gd name="connsiteX111" fmla="*/ 851535 w 942022"/>
                <a:gd name="connsiteY111" fmla="*/ 736283 h 825817"/>
                <a:gd name="connsiteX112" fmla="*/ 811530 w 942022"/>
                <a:gd name="connsiteY112" fmla="*/ 713422 h 825817"/>
                <a:gd name="connsiteX113" fmla="*/ 811530 w 942022"/>
                <a:gd name="connsiteY113" fmla="*/ 691515 h 825817"/>
                <a:gd name="connsiteX114" fmla="*/ 823913 w 942022"/>
                <a:gd name="connsiteY114" fmla="*/ 681990 h 825817"/>
                <a:gd name="connsiteX115" fmla="*/ 846772 w 942022"/>
                <a:gd name="connsiteY115" fmla="*/ 687705 h 825817"/>
                <a:gd name="connsiteX116" fmla="*/ 817245 w 942022"/>
                <a:gd name="connsiteY116" fmla="*/ 672465 h 825817"/>
                <a:gd name="connsiteX117" fmla="*/ 819150 w 942022"/>
                <a:gd name="connsiteY117" fmla="*/ 664845 h 825817"/>
                <a:gd name="connsiteX118" fmla="*/ 853440 w 942022"/>
                <a:gd name="connsiteY118" fmla="*/ 664845 h 825817"/>
                <a:gd name="connsiteX119" fmla="*/ 878205 w 942022"/>
                <a:gd name="connsiteY119" fmla="*/ 631508 h 825817"/>
                <a:gd name="connsiteX120" fmla="*/ 853440 w 942022"/>
                <a:gd name="connsiteY120" fmla="*/ 614363 h 825817"/>
                <a:gd name="connsiteX121" fmla="*/ 861060 w 942022"/>
                <a:gd name="connsiteY121" fmla="*/ 600075 h 825817"/>
                <a:gd name="connsiteX122" fmla="*/ 849630 w 942022"/>
                <a:gd name="connsiteY122" fmla="*/ 592455 h 825817"/>
                <a:gd name="connsiteX123" fmla="*/ 842010 w 942022"/>
                <a:gd name="connsiteY123" fmla="*/ 592455 h 825817"/>
                <a:gd name="connsiteX124" fmla="*/ 822960 w 942022"/>
                <a:gd name="connsiteY124" fmla="*/ 612458 h 825817"/>
                <a:gd name="connsiteX125" fmla="*/ 822960 w 942022"/>
                <a:gd name="connsiteY125" fmla="*/ 632460 h 825817"/>
                <a:gd name="connsiteX126" fmla="*/ 817245 w 942022"/>
                <a:gd name="connsiteY126" fmla="*/ 639128 h 825817"/>
                <a:gd name="connsiteX127" fmla="*/ 806768 w 942022"/>
                <a:gd name="connsiteY127" fmla="*/ 638175 h 825817"/>
                <a:gd name="connsiteX128" fmla="*/ 791527 w 942022"/>
                <a:gd name="connsiteY128" fmla="*/ 624840 h 825817"/>
                <a:gd name="connsiteX129" fmla="*/ 779145 w 942022"/>
                <a:gd name="connsiteY129" fmla="*/ 624840 h 825817"/>
                <a:gd name="connsiteX130" fmla="*/ 779145 w 942022"/>
                <a:gd name="connsiteY130" fmla="*/ 610553 h 825817"/>
                <a:gd name="connsiteX131" fmla="*/ 784860 w 942022"/>
                <a:gd name="connsiteY131" fmla="*/ 603885 h 825817"/>
                <a:gd name="connsiteX132" fmla="*/ 792480 w 942022"/>
                <a:gd name="connsiteY132" fmla="*/ 610553 h 825817"/>
                <a:gd name="connsiteX133" fmla="*/ 808672 w 942022"/>
                <a:gd name="connsiteY133" fmla="*/ 595313 h 825817"/>
                <a:gd name="connsiteX134" fmla="*/ 815340 w 942022"/>
                <a:gd name="connsiteY134" fmla="*/ 580072 h 825817"/>
                <a:gd name="connsiteX135" fmla="*/ 822960 w 942022"/>
                <a:gd name="connsiteY135" fmla="*/ 577215 h 825817"/>
                <a:gd name="connsiteX136" fmla="*/ 719138 w 942022"/>
                <a:gd name="connsiteY136" fmla="*/ 544830 h 825817"/>
                <a:gd name="connsiteX137" fmla="*/ 737235 w 942022"/>
                <a:gd name="connsiteY137" fmla="*/ 554355 h 825817"/>
                <a:gd name="connsiteX138" fmla="*/ 744855 w 942022"/>
                <a:gd name="connsiteY138" fmla="*/ 564833 h 825817"/>
                <a:gd name="connsiteX139" fmla="*/ 768668 w 942022"/>
                <a:gd name="connsiteY139" fmla="*/ 565785 h 825817"/>
                <a:gd name="connsiteX140" fmla="*/ 782955 w 942022"/>
                <a:gd name="connsiteY140" fmla="*/ 573405 h 825817"/>
                <a:gd name="connsiteX141" fmla="*/ 784860 w 942022"/>
                <a:gd name="connsiteY141" fmla="*/ 586740 h 825817"/>
                <a:gd name="connsiteX142" fmla="*/ 781050 w 942022"/>
                <a:gd name="connsiteY142" fmla="*/ 592455 h 825817"/>
                <a:gd name="connsiteX143" fmla="*/ 772477 w 942022"/>
                <a:gd name="connsiteY143" fmla="*/ 578168 h 825817"/>
                <a:gd name="connsiteX144" fmla="*/ 759143 w 942022"/>
                <a:gd name="connsiteY144" fmla="*/ 589597 h 825817"/>
                <a:gd name="connsiteX145" fmla="*/ 750570 w 942022"/>
                <a:gd name="connsiteY145" fmla="*/ 602933 h 825817"/>
                <a:gd name="connsiteX146" fmla="*/ 723900 w 942022"/>
                <a:gd name="connsiteY146" fmla="*/ 610553 h 825817"/>
                <a:gd name="connsiteX147" fmla="*/ 708660 w 942022"/>
                <a:gd name="connsiteY147" fmla="*/ 611505 h 825817"/>
                <a:gd name="connsiteX148" fmla="*/ 673418 w 942022"/>
                <a:gd name="connsiteY148" fmla="*/ 601980 h 825817"/>
                <a:gd name="connsiteX149" fmla="*/ 674370 w 942022"/>
                <a:gd name="connsiteY149" fmla="*/ 585788 h 825817"/>
                <a:gd name="connsiteX150" fmla="*/ 693420 w 942022"/>
                <a:gd name="connsiteY150" fmla="*/ 566738 h 825817"/>
                <a:gd name="connsiteX151" fmla="*/ 703897 w 942022"/>
                <a:gd name="connsiteY151" fmla="*/ 543878 h 825817"/>
                <a:gd name="connsiteX152" fmla="*/ 674370 w 942022"/>
                <a:gd name="connsiteY152" fmla="*/ 556260 h 825817"/>
                <a:gd name="connsiteX153" fmla="*/ 674370 w 942022"/>
                <a:gd name="connsiteY153" fmla="*/ 566738 h 825817"/>
                <a:gd name="connsiteX154" fmla="*/ 657225 w 942022"/>
                <a:gd name="connsiteY154" fmla="*/ 585788 h 825817"/>
                <a:gd name="connsiteX155" fmla="*/ 645795 w 942022"/>
                <a:gd name="connsiteY155" fmla="*/ 585788 h 825817"/>
                <a:gd name="connsiteX156" fmla="*/ 645795 w 942022"/>
                <a:gd name="connsiteY156" fmla="*/ 564833 h 825817"/>
                <a:gd name="connsiteX157" fmla="*/ 661035 w 942022"/>
                <a:gd name="connsiteY157" fmla="*/ 550545 h 825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</a:cxnLst>
              <a:rect l="l" t="t" r="r" b="b"/>
              <a:pathLst>
                <a:path w="942022" h="825817">
                  <a:moveTo>
                    <a:pt x="817245" y="570547"/>
                  </a:moveTo>
                  <a:lnTo>
                    <a:pt x="805815" y="553403"/>
                  </a:lnTo>
                  <a:lnTo>
                    <a:pt x="808672" y="541020"/>
                  </a:lnTo>
                  <a:lnTo>
                    <a:pt x="762952" y="476250"/>
                  </a:lnTo>
                  <a:lnTo>
                    <a:pt x="771525" y="432435"/>
                  </a:lnTo>
                  <a:lnTo>
                    <a:pt x="781050" y="419100"/>
                  </a:lnTo>
                  <a:lnTo>
                    <a:pt x="782002" y="405765"/>
                  </a:lnTo>
                  <a:lnTo>
                    <a:pt x="439102" y="424815"/>
                  </a:lnTo>
                  <a:lnTo>
                    <a:pt x="455295" y="311468"/>
                  </a:lnTo>
                  <a:lnTo>
                    <a:pt x="478155" y="265747"/>
                  </a:lnTo>
                  <a:lnTo>
                    <a:pt x="535305" y="185738"/>
                  </a:lnTo>
                  <a:lnTo>
                    <a:pt x="518160" y="161925"/>
                  </a:lnTo>
                  <a:lnTo>
                    <a:pt x="537210" y="161925"/>
                  </a:lnTo>
                  <a:lnTo>
                    <a:pt x="537210" y="130493"/>
                  </a:lnTo>
                  <a:lnTo>
                    <a:pt x="514350" y="106680"/>
                  </a:lnTo>
                  <a:lnTo>
                    <a:pt x="519113" y="90488"/>
                  </a:lnTo>
                  <a:lnTo>
                    <a:pt x="507682" y="80963"/>
                  </a:lnTo>
                  <a:lnTo>
                    <a:pt x="492443" y="13335"/>
                  </a:lnTo>
                  <a:lnTo>
                    <a:pt x="498157" y="0"/>
                  </a:lnTo>
                  <a:lnTo>
                    <a:pt x="0" y="12383"/>
                  </a:lnTo>
                  <a:lnTo>
                    <a:pt x="4763" y="201930"/>
                  </a:lnTo>
                  <a:lnTo>
                    <a:pt x="11430" y="234315"/>
                  </a:lnTo>
                  <a:lnTo>
                    <a:pt x="36195" y="260985"/>
                  </a:lnTo>
                  <a:lnTo>
                    <a:pt x="42863" y="312420"/>
                  </a:lnTo>
                  <a:lnTo>
                    <a:pt x="79057" y="356235"/>
                  </a:lnTo>
                  <a:lnTo>
                    <a:pt x="86677" y="397193"/>
                  </a:lnTo>
                  <a:lnTo>
                    <a:pt x="96202" y="397193"/>
                  </a:lnTo>
                  <a:lnTo>
                    <a:pt x="95250" y="466725"/>
                  </a:lnTo>
                  <a:lnTo>
                    <a:pt x="63818" y="527685"/>
                  </a:lnTo>
                  <a:lnTo>
                    <a:pt x="76200" y="549593"/>
                  </a:lnTo>
                  <a:lnTo>
                    <a:pt x="63818" y="563880"/>
                  </a:lnTo>
                  <a:lnTo>
                    <a:pt x="70485" y="592455"/>
                  </a:lnTo>
                  <a:lnTo>
                    <a:pt x="69532" y="633413"/>
                  </a:lnTo>
                  <a:lnTo>
                    <a:pt x="48577" y="666750"/>
                  </a:lnTo>
                  <a:lnTo>
                    <a:pt x="47625" y="674370"/>
                  </a:lnTo>
                  <a:lnTo>
                    <a:pt x="31432" y="685800"/>
                  </a:lnTo>
                  <a:lnTo>
                    <a:pt x="40957" y="702945"/>
                  </a:lnTo>
                  <a:lnTo>
                    <a:pt x="52388" y="713422"/>
                  </a:lnTo>
                  <a:lnTo>
                    <a:pt x="67627" y="701040"/>
                  </a:lnTo>
                  <a:lnTo>
                    <a:pt x="118110" y="692468"/>
                  </a:lnTo>
                  <a:lnTo>
                    <a:pt x="176213" y="691515"/>
                  </a:lnTo>
                  <a:lnTo>
                    <a:pt x="267652" y="727710"/>
                  </a:lnTo>
                  <a:lnTo>
                    <a:pt x="343852" y="737235"/>
                  </a:lnTo>
                  <a:lnTo>
                    <a:pt x="358140" y="723900"/>
                  </a:lnTo>
                  <a:lnTo>
                    <a:pt x="375285" y="721995"/>
                  </a:lnTo>
                  <a:lnTo>
                    <a:pt x="421005" y="742950"/>
                  </a:lnTo>
                  <a:lnTo>
                    <a:pt x="436245" y="739140"/>
                  </a:lnTo>
                  <a:lnTo>
                    <a:pt x="446722" y="724853"/>
                  </a:lnTo>
                  <a:lnTo>
                    <a:pt x="406718" y="707708"/>
                  </a:lnTo>
                  <a:lnTo>
                    <a:pt x="385763" y="717233"/>
                  </a:lnTo>
                  <a:lnTo>
                    <a:pt x="375285" y="715328"/>
                  </a:lnTo>
                  <a:lnTo>
                    <a:pt x="361950" y="696278"/>
                  </a:lnTo>
                  <a:lnTo>
                    <a:pt x="393382" y="675322"/>
                  </a:lnTo>
                  <a:lnTo>
                    <a:pt x="408622" y="674370"/>
                  </a:lnTo>
                  <a:lnTo>
                    <a:pt x="408622" y="690563"/>
                  </a:lnTo>
                  <a:lnTo>
                    <a:pt x="422910" y="689610"/>
                  </a:lnTo>
                  <a:lnTo>
                    <a:pt x="455295" y="686753"/>
                  </a:lnTo>
                  <a:lnTo>
                    <a:pt x="459105" y="708660"/>
                  </a:lnTo>
                  <a:lnTo>
                    <a:pt x="469582" y="712470"/>
                  </a:lnTo>
                  <a:lnTo>
                    <a:pt x="475297" y="730568"/>
                  </a:lnTo>
                  <a:lnTo>
                    <a:pt x="521018" y="740093"/>
                  </a:lnTo>
                  <a:lnTo>
                    <a:pt x="537210" y="755333"/>
                  </a:lnTo>
                  <a:lnTo>
                    <a:pt x="537210" y="762000"/>
                  </a:lnTo>
                  <a:lnTo>
                    <a:pt x="525780" y="762000"/>
                  </a:lnTo>
                  <a:lnTo>
                    <a:pt x="511493" y="778193"/>
                  </a:lnTo>
                  <a:lnTo>
                    <a:pt x="527685" y="789622"/>
                  </a:lnTo>
                  <a:lnTo>
                    <a:pt x="579120" y="799147"/>
                  </a:lnTo>
                  <a:lnTo>
                    <a:pt x="604838" y="825818"/>
                  </a:lnTo>
                  <a:lnTo>
                    <a:pt x="646747" y="816293"/>
                  </a:lnTo>
                  <a:lnTo>
                    <a:pt x="611505" y="818197"/>
                  </a:lnTo>
                  <a:lnTo>
                    <a:pt x="610552" y="812483"/>
                  </a:lnTo>
                  <a:lnTo>
                    <a:pt x="637222" y="805815"/>
                  </a:lnTo>
                  <a:lnTo>
                    <a:pt x="639127" y="788670"/>
                  </a:lnTo>
                  <a:lnTo>
                    <a:pt x="650557" y="785813"/>
                  </a:lnTo>
                  <a:lnTo>
                    <a:pt x="650557" y="772478"/>
                  </a:lnTo>
                  <a:lnTo>
                    <a:pt x="661035" y="773430"/>
                  </a:lnTo>
                  <a:lnTo>
                    <a:pt x="661035" y="788670"/>
                  </a:lnTo>
                  <a:lnTo>
                    <a:pt x="684847" y="789622"/>
                  </a:lnTo>
                  <a:lnTo>
                    <a:pt x="692468" y="771525"/>
                  </a:lnTo>
                  <a:lnTo>
                    <a:pt x="701040" y="774383"/>
                  </a:lnTo>
                  <a:lnTo>
                    <a:pt x="702945" y="798195"/>
                  </a:lnTo>
                  <a:lnTo>
                    <a:pt x="714375" y="800100"/>
                  </a:lnTo>
                  <a:lnTo>
                    <a:pt x="697230" y="819150"/>
                  </a:lnTo>
                  <a:lnTo>
                    <a:pt x="721995" y="810578"/>
                  </a:lnTo>
                  <a:lnTo>
                    <a:pt x="741045" y="800100"/>
                  </a:lnTo>
                  <a:lnTo>
                    <a:pt x="768668" y="768668"/>
                  </a:lnTo>
                  <a:lnTo>
                    <a:pt x="762000" y="768668"/>
                  </a:lnTo>
                  <a:lnTo>
                    <a:pt x="749618" y="780097"/>
                  </a:lnTo>
                  <a:lnTo>
                    <a:pt x="745807" y="779145"/>
                  </a:lnTo>
                  <a:lnTo>
                    <a:pt x="741045" y="771525"/>
                  </a:lnTo>
                  <a:lnTo>
                    <a:pt x="749618" y="760095"/>
                  </a:lnTo>
                  <a:lnTo>
                    <a:pt x="749618" y="738188"/>
                  </a:lnTo>
                  <a:lnTo>
                    <a:pt x="760095" y="730568"/>
                  </a:lnTo>
                  <a:lnTo>
                    <a:pt x="766763" y="737235"/>
                  </a:lnTo>
                  <a:lnTo>
                    <a:pt x="776288" y="729615"/>
                  </a:lnTo>
                  <a:lnTo>
                    <a:pt x="785813" y="728663"/>
                  </a:lnTo>
                  <a:lnTo>
                    <a:pt x="791527" y="741045"/>
                  </a:lnTo>
                  <a:lnTo>
                    <a:pt x="785813" y="759143"/>
                  </a:lnTo>
                  <a:lnTo>
                    <a:pt x="808672" y="759143"/>
                  </a:lnTo>
                  <a:lnTo>
                    <a:pt x="857250" y="775335"/>
                  </a:lnTo>
                  <a:lnTo>
                    <a:pt x="862013" y="787718"/>
                  </a:lnTo>
                  <a:lnTo>
                    <a:pt x="877252" y="801053"/>
                  </a:lnTo>
                  <a:lnTo>
                    <a:pt x="903922" y="802005"/>
                  </a:lnTo>
                  <a:lnTo>
                    <a:pt x="916305" y="808672"/>
                  </a:lnTo>
                  <a:lnTo>
                    <a:pt x="933450" y="799147"/>
                  </a:lnTo>
                  <a:lnTo>
                    <a:pt x="942022" y="782955"/>
                  </a:lnTo>
                  <a:lnTo>
                    <a:pt x="942022" y="766763"/>
                  </a:lnTo>
                  <a:lnTo>
                    <a:pt x="928688" y="766763"/>
                  </a:lnTo>
                  <a:lnTo>
                    <a:pt x="917257" y="753428"/>
                  </a:lnTo>
                  <a:lnTo>
                    <a:pt x="906780" y="742950"/>
                  </a:lnTo>
                  <a:lnTo>
                    <a:pt x="876300" y="734378"/>
                  </a:lnTo>
                  <a:lnTo>
                    <a:pt x="851535" y="736283"/>
                  </a:lnTo>
                  <a:lnTo>
                    <a:pt x="811530" y="713422"/>
                  </a:lnTo>
                  <a:lnTo>
                    <a:pt x="811530" y="691515"/>
                  </a:lnTo>
                  <a:lnTo>
                    <a:pt x="823913" y="681990"/>
                  </a:lnTo>
                  <a:lnTo>
                    <a:pt x="846772" y="687705"/>
                  </a:lnTo>
                  <a:lnTo>
                    <a:pt x="817245" y="672465"/>
                  </a:lnTo>
                  <a:lnTo>
                    <a:pt x="819150" y="664845"/>
                  </a:lnTo>
                  <a:lnTo>
                    <a:pt x="853440" y="664845"/>
                  </a:lnTo>
                  <a:lnTo>
                    <a:pt x="878205" y="631508"/>
                  </a:lnTo>
                  <a:lnTo>
                    <a:pt x="853440" y="614363"/>
                  </a:lnTo>
                  <a:lnTo>
                    <a:pt x="861060" y="600075"/>
                  </a:lnTo>
                  <a:lnTo>
                    <a:pt x="849630" y="592455"/>
                  </a:lnTo>
                  <a:lnTo>
                    <a:pt x="842010" y="592455"/>
                  </a:lnTo>
                  <a:lnTo>
                    <a:pt x="822960" y="612458"/>
                  </a:lnTo>
                  <a:lnTo>
                    <a:pt x="822960" y="632460"/>
                  </a:lnTo>
                  <a:lnTo>
                    <a:pt x="817245" y="639128"/>
                  </a:lnTo>
                  <a:lnTo>
                    <a:pt x="806768" y="638175"/>
                  </a:lnTo>
                  <a:lnTo>
                    <a:pt x="791527" y="624840"/>
                  </a:lnTo>
                  <a:lnTo>
                    <a:pt x="779145" y="624840"/>
                  </a:lnTo>
                  <a:lnTo>
                    <a:pt x="779145" y="610553"/>
                  </a:lnTo>
                  <a:lnTo>
                    <a:pt x="784860" y="603885"/>
                  </a:lnTo>
                  <a:lnTo>
                    <a:pt x="792480" y="610553"/>
                  </a:lnTo>
                  <a:lnTo>
                    <a:pt x="808672" y="595313"/>
                  </a:lnTo>
                  <a:lnTo>
                    <a:pt x="815340" y="580072"/>
                  </a:lnTo>
                  <a:lnTo>
                    <a:pt x="822960" y="577215"/>
                  </a:lnTo>
                  <a:close/>
                  <a:moveTo>
                    <a:pt x="719138" y="544830"/>
                  </a:moveTo>
                  <a:lnTo>
                    <a:pt x="737235" y="554355"/>
                  </a:lnTo>
                  <a:lnTo>
                    <a:pt x="744855" y="564833"/>
                  </a:lnTo>
                  <a:lnTo>
                    <a:pt x="768668" y="565785"/>
                  </a:lnTo>
                  <a:lnTo>
                    <a:pt x="782955" y="573405"/>
                  </a:lnTo>
                  <a:lnTo>
                    <a:pt x="784860" y="586740"/>
                  </a:lnTo>
                  <a:lnTo>
                    <a:pt x="781050" y="592455"/>
                  </a:lnTo>
                  <a:lnTo>
                    <a:pt x="772477" y="578168"/>
                  </a:lnTo>
                  <a:lnTo>
                    <a:pt x="759143" y="589597"/>
                  </a:lnTo>
                  <a:lnTo>
                    <a:pt x="750570" y="602933"/>
                  </a:lnTo>
                  <a:lnTo>
                    <a:pt x="723900" y="610553"/>
                  </a:lnTo>
                  <a:lnTo>
                    <a:pt x="708660" y="611505"/>
                  </a:lnTo>
                  <a:lnTo>
                    <a:pt x="673418" y="601980"/>
                  </a:lnTo>
                  <a:lnTo>
                    <a:pt x="674370" y="585788"/>
                  </a:lnTo>
                  <a:lnTo>
                    <a:pt x="693420" y="566738"/>
                  </a:lnTo>
                  <a:lnTo>
                    <a:pt x="703897" y="543878"/>
                  </a:lnTo>
                  <a:close/>
                  <a:moveTo>
                    <a:pt x="674370" y="556260"/>
                  </a:moveTo>
                  <a:lnTo>
                    <a:pt x="674370" y="566738"/>
                  </a:lnTo>
                  <a:lnTo>
                    <a:pt x="657225" y="585788"/>
                  </a:lnTo>
                  <a:lnTo>
                    <a:pt x="645795" y="585788"/>
                  </a:lnTo>
                  <a:lnTo>
                    <a:pt x="645795" y="564833"/>
                  </a:lnTo>
                  <a:lnTo>
                    <a:pt x="661035" y="550545"/>
                  </a:lnTo>
                  <a:close/>
                </a:path>
              </a:pathLst>
            </a:custGeom>
            <a:solidFill>
              <a:srgbClr val="D0D0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C2D3E145-13A9-C36F-E499-DDF6A9FFE3F8}"/>
                </a:ext>
              </a:extLst>
            </p:cNvPr>
            <p:cNvSpPr/>
            <p:nvPr/>
          </p:nvSpPr>
          <p:spPr>
            <a:xfrm>
              <a:off x="9749789" y="1102042"/>
              <a:ext cx="612457" cy="967740"/>
            </a:xfrm>
            <a:custGeom>
              <a:avLst/>
              <a:gdLst>
                <a:gd name="connsiteX0" fmla="*/ 113348 w 612457"/>
                <a:gd name="connsiteY0" fmla="*/ 876300 h 967740"/>
                <a:gd name="connsiteX1" fmla="*/ 119063 w 612457"/>
                <a:gd name="connsiteY1" fmla="*/ 914400 h 967740"/>
                <a:gd name="connsiteX2" fmla="*/ 149543 w 612457"/>
                <a:gd name="connsiteY2" fmla="*/ 933450 h 967740"/>
                <a:gd name="connsiteX3" fmla="*/ 157163 w 612457"/>
                <a:gd name="connsiteY3" fmla="*/ 954405 h 967740"/>
                <a:gd name="connsiteX4" fmla="*/ 179070 w 612457"/>
                <a:gd name="connsiteY4" fmla="*/ 967740 h 967740"/>
                <a:gd name="connsiteX5" fmla="*/ 192405 w 612457"/>
                <a:gd name="connsiteY5" fmla="*/ 964883 h 967740"/>
                <a:gd name="connsiteX6" fmla="*/ 201930 w 612457"/>
                <a:gd name="connsiteY6" fmla="*/ 936308 h 967740"/>
                <a:gd name="connsiteX7" fmla="*/ 194310 w 612457"/>
                <a:gd name="connsiteY7" fmla="*/ 908685 h 967740"/>
                <a:gd name="connsiteX8" fmla="*/ 209550 w 612457"/>
                <a:gd name="connsiteY8" fmla="*/ 900112 h 967740"/>
                <a:gd name="connsiteX9" fmla="*/ 214313 w 612457"/>
                <a:gd name="connsiteY9" fmla="*/ 873442 h 967740"/>
                <a:gd name="connsiteX10" fmla="*/ 208598 w 612457"/>
                <a:gd name="connsiteY10" fmla="*/ 861060 h 967740"/>
                <a:gd name="connsiteX11" fmla="*/ 240030 w 612457"/>
                <a:gd name="connsiteY11" fmla="*/ 842962 h 967740"/>
                <a:gd name="connsiteX12" fmla="*/ 219075 w 612457"/>
                <a:gd name="connsiteY12" fmla="*/ 821055 h 967740"/>
                <a:gd name="connsiteX13" fmla="*/ 227648 w 612457"/>
                <a:gd name="connsiteY13" fmla="*/ 798195 h 967740"/>
                <a:gd name="connsiteX14" fmla="*/ 240983 w 612457"/>
                <a:gd name="connsiteY14" fmla="*/ 777240 h 967740"/>
                <a:gd name="connsiteX15" fmla="*/ 245745 w 612457"/>
                <a:gd name="connsiteY15" fmla="*/ 807720 h 967740"/>
                <a:gd name="connsiteX16" fmla="*/ 260985 w 612457"/>
                <a:gd name="connsiteY16" fmla="*/ 788670 h 967740"/>
                <a:gd name="connsiteX17" fmla="*/ 273368 w 612457"/>
                <a:gd name="connsiteY17" fmla="*/ 797243 h 967740"/>
                <a:gd name="connsiteX18" fmla="*/ 284798 w 612457"/>
                <a:gd name="connsiteY18" fmla="*/ 789623 h 967740"/>
                <a:gd name="connsiteX19" fmla="*/ 284798 w 612457"/>
                <a:gd name="connsiteY19" fmla="*/ 773430 h 967740"/>
                <a:gd name="connsiteX20" fmla="*/ 315278 w 612457"/>
                <a:gd name="connsiteY20" fmla="*/ 761048 h 967740"/>
                <a:gd name="connsiteX21" fmla="*/ 318135 w 612457"/>
                <a:gd name="connsiteY21" fmla="*/ 733425 h 967740"/>
                <a:gd name="connsiteX22" fmla="*/ 341948 w 612457"/>
                <a:gd name="connsiteY22" fmla="*/ 731520 h 967740"/>
                <a:gd name="connsiteX23" fmla="*/ 367665 w 612457"/>
                <a:gd name="connsiteY23" fmla="*/ 696278 h 967740"/>
                <a:gd name="connsiteX24" fmla="*/ 367665 w 612457"/>
                <a:gd name="connsiteY24" fmla="*/ 689610 h 967740"/>
                <a:gd name="connsiteX25" fmla="*/ 359093 w 612457"/>
                <a:gd name="connsiteY25" fmla="*/ 684848 h 967740"/>
                <a:gd name="connsiteX26" fmla="*/ 358140 w 612457"/>
                <a:gd name="connsiteY26" fmla="*/ 653415 h 967740"/>
                <a:gd name="connsiteX27" fmla="*/ 363855 w 612457"/>
                <a:gd name="connsiteY27" fmla="*/ 642937 h 967740"/>
                <a:gd name="connsiteX28" fmla="*/ 365760 w 612457"/>
                <a:gd name="connsiteY28" fmla="*/ 658178 h 967740"/>
                <a:gd name="connsiteX29" fmla="*/ 375285 w 612457"/>
                <a:gd name="connsiteY29" fmla="*/ 653415 h 967740"/>
                <a:gd name="connsiteX30" fmla="*/ 373380 w 612457"/>
                <a:gd name="connsiteY30" fmla="*/ 622935 h 967740"/>
                <a:gd name="connsiteX31" fmla="*/ 364808 w 612457"/>
                <a:gd name="connsiteY31" fmla="*/ 625793 h 967740"/>
                <a:gd name="connsiteX32" fmla="*/ 363855 w 612457"/>
                <a:gd name="connsiteY32" fmla="*/ 637223 h 967740"/>
                <a:gd name="connsiteX33" fmla="*/ 352425 w 612457"/>
                <a:gd name="connsiteY33" fmla="*/ 623887 h 967740"/>
                <a:gd name="connsiteX34" fmla="*/ 360998 w 612457"/>
                <a:gd name="connsiteY34" fmla="*/ 610553 h 967740"/>
                <a:gd name="connsiteX35" fmla="*/ 366713 w 612457"/>
                <a:gd name="connsiteY35" fmla="*/ 611505 h 967740"/>
                <a:gd name="connsiteX36" fmla="*/ 377190 w 612457"/>
                <a:gd name="connsiteY36" fmla="*/ 607695 h 967740"/>
                <a:gd name="connsiteX37" fmla="*/ 381953 w 612457"/>
                <a:gd name="connsiteY37" fmla="*/ 634365 h 967740"/>
                <a:gd name="connsiteX38" fmla="*/ 401003 w 612457"/>
                <a:gd name="connsiteY38" fmla="*/ 631508 h 967740"/>
                <a:gd name="connsiteX39" fmla="*/ 428625 w 612457"/>
                <a:gd name="connsiteY39" fmla="*/ 638175 h 967740"/>
                <a:gd name="connsiteX40" fmla="*/ 428625 w 612457"/>
                <a:gd name="connsiteY40" fmla="*/ 628650 h 967740"/>
                <a:gd name="connsiteX41" fmla="*/ 418148 w 612457"/>
                <a:gd name="connsiteY41" fmla="*/ 617220 h 967740"/>
                <a:gd name="connsiteX42" fmla="*/ 430530 w 612457"/>
                <a:gd name="connsiteY42" fmla="*/ 618173 h 967740"/>
                <a:gd name="connsiteX43" fmla="*/ 431483 w 612457"/>
                <a:gd name="connsiteY43" fmla="*/ 596265 h 967740"/>
                <a:gd name="connsiteX44" fmla="*/ 437198 w 612457"/>
                <a:gd name="connsiteY44" fmla="*/ 603885 h 967740"/>
                <a:gd name="connsiteX45" fmla="*/ 440055 w 612457"/>
                <a:gd name="connsiteY45" fmla="*/ 621983 h 967740"/>
                <a:gd name="connsiteX46" fmla="*/ 460058 w 612457"/>
                <a:gd name="connsiteY46" fmla="*/ 636270 h 967740"/>
                <a:gd name="connsiteX47" fmla="*/ 461963 w 612457"/>
                <a:gd name="connsiteY47" fmla="*/ 626745 h 967740"/>
                <a:gd name="connsiteX48" fmla="*/ 470535 w 612457"/>
                <a:gd name="connsiteY48" fmla="*/ 624840 h 967740"/>
                <a:gd name="connsiteX49" fmla="*/ 467678 w 612457"/>
                <a:gd name="connsiteY49" fmla="*/ 617220 h 967740"/>
                <a:gd name="connsiteX50" fmla="*/ 475298 w 612457"/>
                <a:gd name="connsiteY50" fmla="*/ 611505 h 967740"/>
                <a:gd name="connsiteX51" fmla="*/ 474345 w 612457"/>
                <a:gd name="connsiteY51" fmla="*/ 596265 h 967740"/>
                <a:gd name="connsiteX52" fmla="*/ 459105 w 612457"/>
                <a:gd name="connsiteY52" fmla="*/ 594360 h 967740"/>
                <a:gd name="connsiteX53" fmla="*/ 440055 w 612457"/>
                <a:gd name="connsiteY53" fmla="*/ 601028 h 967740"/>
                <a:gd name="connsiteX54" fmla="*/ 453390 w 612457"/>
                <a:gd name="connsiteY54" fmla="*/ 585787 h 967740"/>
                <a:gd name="connsiteX55" fmla="*/ 460058 w 612457"/>
                <a:gd name="connsiteY55" fmla="*/ 578168 h 967740"/>
                <a:gd name="connsiteX56" fmla="*/ 472440 w 612457"/>
                <a:gd name="connsiteY56" fmla="*/ 576262 h 967740"/>
                <a:gd name="connsiteX57" fmla="*/ 476250 w 612457"/>
                <a:gd name="connsiteY57" fmla="*/ 588645 h 967740"/>
                <a:gd name="connsiteX58" fmla="*/ 492443 w 612457"/>
                <a:gd name="connsiteY58" fmla="*/ 603885 h 967740"/>
                <a:gd name="connsiteX59" fmla="*/ 496253 w 612457"/>
                <a:gd name="connsiteY59" fmla="*/ 583883 h 967740"/>
                <a:gd name="connsiteX60" fmla="*/ 518160 w 612457"/>
                <a:gd name="connsiteY60" fmla="*/ 572453 h 967740"/>
                <a:gd name="connsiteX61" fmla="*/ 509588 w 612457"/>
                <a:gd name="connsiteY61" fmla="*/ 560070 h 967740"/>
                <a:gd name="connsiteX62" fmla="*/ 510540 w 612457"/>
                <a:gd name="connsiteY62" fmla="*/ 543878 h 967740"/>
                <a:gd name="connsiteX63" fmla="*/ 521018 w 612457"/>
                <a:gd name="connsiteY63" fmla="*/ 548640 h 967740"/>
                <a:gd name="connsiteX64" fmla="*/ 527685 w 612457"/>
                <a:gd name="connsiteY64" fmla="*/ 548640 h 967740"/>
                <a:gd name="connsiteX65" fmla="*/ 543878 w 612457"/>
                <a:gd name="connsiteY65" fmla="*/ 535305 h 967740"/>
                <a:gd name="connsiteX66" fmla="*/ 547688 w 612457"/>
                <a:gd name="connsiteY66" fmla="*/ 513397 h 967740"/>
                <a:gd name="connsiteX67" fmla="*/ 568643 w 612457"/>
                <a:gd name="connsiteY67" fmla="*/ 516255 h 967740"/>
                <a:gd name="connsiteX68" fmla="*/ 569595 w 612457"/>
                <a:gd name="connsiteY68" fmla="*/ 509587 h 967740"/>
                <a:gd name="connsiteX69" fmla="*/ 571500 w 612457"/>
                <a:gd name="connsiteY69" fmla="*/ 494347 h 967740"/>
                <a:gd name="connsiteX70" fmla="*/ 576263 w 612457"/>
                <a:gd name="connsiteY70" fmla="*/ 507683 h 967740"/>
                <a:gd name="connsiteX71" fmla="*/ 590550 w 612457"/>
                <a:gd name="connsiteY71" fmla="*/ 498158 h 967740"/>
                <a:gd name="connsiteX72" fmla="*/ 612458 w 612457"/>
                <a:gd name="connsiteY72" fmla="*/ 459105 h 967740"/>
                <a:gd name="connsiteX73" fmla="*/ 611505 w 612457"/>
                <a:gd name="connsiteY73" fmla="*/ 438150 h 967740"/>
                <a:gd name="connsiteX74" fmla="*/ 598170 w 612457"/>
                <a:gd name="connsiteY74" fmla="*/ 419100 h 967740"/>
                <a:gd name="connsiteX75" fmla="*/ 569595 w 612457"/>
                <a:gd name="connsiteY75" fmla="*/ 388620 h 967740"/>
                <a:gd name="connsiteX76" fmla="*/ 551498 w 612457"/>
                <a:gd name="connsiteY76" fmla="*/ 388620 h 967740"/>
                <a:gd name="connsiteX77" fmla="*/ 543878 w 612457"/>
                <a:gd name="connsiteY77" fmla="*/ 409575 h 967740"/>
                <a:gd name="connsiteX78" fmla="*/ 516255 w 612457"/>
                <a:gd name="connsiteY78" fmla="*/ 381000 h 967740"/>
                <a:gd name="connsiteX79" fmla="*/ 519113 w 612457"/>
                <a:gd name="connsiteY79" fmla="*/ 373380 h 967740"/>
                <a:gd name="connsiteX80" fmla="*/ 519113 w 612457"/>
                <a:gd name="connsiteY80" fmla="*/ 359093 h 967740"/>
                <a:gd name="connsiteX81" fmla="*/ 503873 w 612457"/>
                <a:gd name="connsiteY81" fmla="*/ 316230 h 967740"/>
                <a:gd name="connsiteX82" fmla="*/ 496253 w 612457"/>
                <a:gd name="connsiteY82" fmla="*/ 314325 h 967740"/>
                <a:gd name="connsiteX83" fmla="*/ 489585 w 612457"/>
                <a:gd name="connsiteY83" fmla="*/ 318135 h 967740"/>
                <a:gd name="connsiteX84" fmla="*/ 443865 w 612457"/>
                <a:gd name="connsiteY84" fmla="*/ 318135 h 967740"/>
                <a:gd name="connsiteX85" fmla="*/ 441008 w 612457"/>
                <a:gd name="connsiteY85" fmla="*/ 283845 h 967740"/>
                <a:gd name="connsiteX86" fmla="*/ 363855 w 612457"/>
                <a:gd name="connsiteY86" fmla="*/ 36195 h 967740"/>
                <a:gd name="connsiteX87" fmla="*/ 294323 w 612457"/>
                <a:gd name="connsiteY87" fmla="*/ 952 h 967740"/>
                <a:gd name="connsiteX88" fmla="*/ 266700 w 612457"/>
                <a:gd name="connsiteY88" fmla="*/ 0 h 967740"/>
                <a:gd name="connsiteX89" fmla="*/ 202883 w 612457"/>
                <a:gd name="connsiteY89" fmla="*/ 62865 h 967740"/>
                <a:gd name="connsiteX90" fmla="*/ 177165 w 612457"/>
                <a:gd name="connsiteY90" fmla="*/ 53340 h 967740"/>
                <a:gd name="connsiteX91" fmla="*/ 167640 w 612457"/>
                <a:gd name="connsiteY91" fmla="*/ 16193 h 967740"/>
                <a:gd name="connsiteX92" fmla="*/ 141923 w 612457"/>
                <a:gd name="connsiteY92" fmla="*/ 16193 h 967740"/>
                <a:gd name="connsiteX93" fmla="*/ 76200 w 612457"/>
                <a:gd name="connsiteY93" fmla="*/ 201930 h 967740"/>
                <a:gd name="connsiteX94" fmla="*/ 82868 w 612457"/>
                <a:gd name="connsiteY94" fmla="*/ 260985 h 967740"/>
                <a:gd name="connsiteX95" fmla="*/ 66675 w 612457"/>
                <a:gd name="connsiteY95" fmla="*/ 283845 h 967740"/>
                <a:gd name="connsiteX96" fmla="*/ 62865 w 612457"/>
                <a:gd name="connsiteY96" fmla="*/ 327660 h 967740"/>
                <a:gd name="connsiteX97" fmla="*/ 75248 w 612457"/>
                <a:gd name="connsiteY97" fmla="*/ 362903 h 967740"/>
                <a:gd name="connsiteX98" fmla="*/ 82868 w 612457"/>
                <a:gd name="connsiteY98" fmla="*/ 364808 h 967740"/>
                <a:gd name="connsiteX99" fmla="*/ 82868 w 612457"/>
                <a:gd name="connsiteY99" fmla="*/ 380047 h 967740"/>
                <a:gd name="connsiteX100" fmla="*/ 67628 w 612457"/>
                <a:gd name="connsiteY100" fmla="*/ 422910 h 967740"/>
                <a:gd name="connsiteX101" fmla="*/ 53340 w 612457"/>
                <a:gd name="connsiteY101" fmla="*/ 436245 h 967740"/>
                <a:gd name="connsiteX102" fmla="*/ 40958 w 612457"/>
                <a:gd name="connsiteY102" fmla="*/ 457200 h 967740"/>
                <a:gd name="connsiteX103" fmla="*/ 37148 w 612457"/>
                <a:gd name="connsiteY103" fmla="*/ 531495 h 967740"/>
                <a:gd name="connsiteX104" fmla="*/ 14288 w 612457"/>
                <a:gd name="connsiteY104" fmla="*/ 521970 h 967740"/>
                <a:gd name="connsiteX105" fmla="*/ 0 w 612457"/>
                <a:gd name="connsiteY105" fmla="*/ 525780 h 967740"/>
                <a:gd name="connsiteX106" fmla="*/ 442913 w 612457"/>
                <a:gd name="connsiteY106" fmla="*/ 641033 h 967740"/>
                <a:gd name="connsiteX107" fmla="*/ 433388 w 612457"/>
                <a:gd name="connsiteY107" fmla="*/ 648653 h 967740"/>
                <a:gd name="connsiteX108" fmla="*/ 433388 w 612457"/>
                <a:gd name="connsiteY108" fmla="*/ 661035 h 967740"/>
                <a:gd name="connsiteX109" fmla="*/ 440055 w 612457"/>
                <a:gd name="connsiteY109" fmla="*/ 653415 h 967740"/>
                <a:gd name="connsiteX110" fmla="*/ 448628 w 612457"/>
                <a:gd name="connsiteY110" fmla="*/ 661035 h 967740"/>
                <a:gd name="connsiteX111" fmla="*/ 452438 w 612457"/>
                <a:gd name="connsiteY111" fmla="*/ 656273 h 967740"/>
                <a:gd name="connsiteX112" fmla="*/ 462915 w 612457"/>
                <a:gd name="connsiteY112" fmla="*/ 658178 h 967740"/>
                <a:gd name="connsiteX113" fmla="*/ 453390 w 612457"/>
                <a:gd name="connsiteY113" fmla="*/ 650558 h 967740"/>
                <a:gd name="connsiteX114" fmla="*/ 457200 w 612457"/>
                <a:gd name="connsiteY114" fmla="*/ 642937 h 967740"/>
                <a:gd name="connsiteX115" fmla="*/ 426720 w 612457"/>
                <a:gd name="connsiteY115" fmla="*/ 665798 h 967740"/>
                <a:gd name="connsiteX116" fmla="*/ 417195 w 612457"/>
                <a:gd name="connsiteY116" fmla="*/ 676275 h 967740"/>
                <a:gd name="connsiteX117" fmla="*/ 421958 w 612457"/>
                <a:gd name="connsiteY117" fmla="*/ 680085 h 967740"/>
                <a:gd name="connsiteX118" fmla="*/ 421005 w 612457"/>
                <a:gd name="connsiteY118" fmla="*/ 689610 h 967740"/>
                <a:gd name="connsiteX119" fmla="*/ 431483 w 612457"/>
                <a:gd name="connsiteY119" fmla="*/ 689610 h 967740"/>
                <a:gd name="connsiteX120" fmla="*/ 431483 w 612457"/>
                <a:gd name="connsiteY120" fmla="*/ 672465 h 967740"/>
                <a:gd name="connsiteX121" fmla="*/ 398145 w 612457"/>
                <a:gd name="connsiteY121" fmla="*/ 650558 h 967740"/>
                <a:gd name="connsiteX122" fmla="*/ 406718 w 612457"/>
                <a:gd name="connsiteY122" fmla="*/ 662940 h 967740"/>
                <a:gd name="connsiteX123" fmla="*/ 416243 w 612457"/>
                <a:gd name="connsiteY123" fmla="*/ 667703 h 967740"/>
                <a:gd name="connsiteX124" fmla="*/ 419100 w 612457"/>
                <a:gd name="connsiteY124" fmla="*/ 658178 h 967740"/>
                <a:gd name="connsiteX125" fmla="*/ 419100 w 612457"/>
                <a:gd name="connsiteY125" fmla="*/ 641033 h 967740"/>
                <a:gd name="connsiteX126" fmla="*/ 406718 w 612457"/>
                <a:gd name="connsiteY126" fmla="*/ 634365 h 967740"/>
                <a:gd name="connsiteX127" fmla="*/ 402908 w 612457"/>
                <a:gd name="connsiteY127" fmla="*/ 645795 h 967740"/>
                <a:gd name="connsiteX128" fmla="*/ 388620 w 612457"/>
                <a:gd name="connsiteY128" fmla="*/ 698183 h 967740"/>
                <a:gd name="connsiteX129" fmla="*/ 372428 w 612457"/>
                <a:gd name="connsiteY129" fmla="*/ 681990 h 967740"/>
                <a:gd name="connsiteX130" fmla="*/ 387668 w 612457"/>
                <a:gd name="connsiteY130" fmla="*/ 659130 h 967740"/>
                <a:gd name="connsiteX131" fmla="*/ 395288 w 612457"/>
                <a:gd name="connsiteY131" fmla="*/ 661987 h 967740"/>
                <a:gd name="connsiteX132" fmla="*/ 397193 w 612457"/>
                <a:gd name="connsiteY132" fmla="*/ 672465 h 967740"/>
                <a:gd name="connsiteX133" fmla="*/ 406718 w 612457"/>
                <a:gd name="connsiteY133" fmla="*/ 680085 h 967740"/>
                <a:gd name="connsiteX134" fmla="*/ 406718 w 612457"/>
                <a:gd name="connsiteY134" fmla="*/ 690562 h 967740"/>
                <a:gd name="connsiteX135" fmla="*/ 397193 w 612457"/>
                <a:gd name="connsiteY135" fmla="*/ 700087 h 967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</a:cxnLst>
              <a:rect l="l" t="t" r="r" b="b"/>
              <a:pathLst>
                <a:path w="612457" h="967740">
                  <a:moveTo>
                    <a:pt x="113348" y="876300"/>
                  </a:moveTo>
                  <a:lnTo>
                    <a:pt x="119063" y="914400"/>
                  </a:lnTo>
                  <a:lnTo>
                    <a:pt x="149543" y="933450"/>
                  </a:lnTo>
                  <a:lnTo>
                    <a:pt x="157163" y="954405"/>
                  </a:lnTo>
                  <a:lnTo>
                    <a:pt x="179070" y="967740"/>
                  </a:lnTo>
                  <a:lnTo>
                    <a:pt x="192405" y="964883"/>
                  </a:lnTo>
                  <a:lnTo>
                    <a:pt x="201930" y="936308"/>
                  </a:lnTo>
                  <a:lnTo>
                    <a:pt x="194310" y="908685"/>
                  </a:lnTo>
                  <a:lnTo>
                    <a:pt x="209550" y="900112"/>
                  </a:lnTo>
                  <a:lnTo>
                    <a:pt x="214313" y="873442"/>
                  </a:lnTo>
                  <a:lnTo>
                    <a:pt x="208598" y="861060"/>
                  </a:lnTo>
                  <a:lnTo>
                    <a:pt x="240030" y="842962"/>
                  </a:lnTo>
                  <a:lnTo>
                    <a:pt x="219075" y="821055"/>
                  </a:lnTo>
                  <a:lnTo>
                    <a:pt x="227648" y="798195"/>
                  </a:lnTo>
                  <a:lnTo>
                    <a:pt x="240983" y="777240"/>
                  </a:lnTo>
                  <a:lnTo>
                    <a:pt x="245745" y="807720"/>
                  </a:lnTo>
                  <a:lnTo>
                    <a:pt x="260985" y="788670"/>
                  </a:lnTo>
                  <a:lnTo>
                    <a:pt x="273368" y="797243"/>
                  </a:lnTo>
                  <a:lnTo>
                    <a:pt x="284798" y="789623"/>
                  </a:lnTo>
                  <a:lnTo>
                    <a:pt x="284798" y="773430"/>
                  </a:lnTo>
                  <a:lnTo>
                    <a:pt x="315278" y="761048"/>
                  </a:lnTo>
                  <a:lnTo>
                    <a:pt x="318135" y="733425"/>
                  </a:lnTo>
                  <a:lnTo>
                    <a:pt x="341948" y="731520"/>
                  </a:lnTo>
                  <a:lnTo>
                    <a:pt x="367665" y="696278"/>
                  </a:lnTo>
                  <a:lnTo>
                    <a:pt x="367665" y="689610"/>
                  </a:lnTo>
                  <a:lnTo>
                    <a:pt x="359093" y="684848"/>
                  </a:lnTo>
                  <a:lnTo>
                    <a:pt x="358140" y="653415"/>
                  </a:lnTo>
                  <a:lnTo>
                    <a:pt x="363855" y="642937"/>
                  </a:lnTo>
                  <a:lnTo>
                    <a:pt x="365760" y="658178"/>
                  </a:lnTo>
                  <a:lnTo>
                    <a:pt x="375285" y="653415"/>
                  </a:lnTo>
                  <a:lnTo>
                    <a:pt x="373380" y="622935"/>
                  </a:lnTo>
                  <a:lnTo>
                    <a:pt x="364808" y="625793"/>
                  </a:lnTo>
                  <a:lnTo>
                    <a:pt x="363855" y="637223"/>
                  </a:lnTo>
                  <a:lnTo>
                    <a:pt x="352425" y="623887"/>
                  </a:lnTo>
                  <a:lnTo>
                    <a:pt x="360998" y="610553"/>
                  </a:lnTo>
                  <a:lnTo>
                    <a:pt x="366713" y="611505"/>
                  </a:lnTo>
                  <a:lnTo>
                    <a:pt x="377190" y="607695"/>
                  </a:lnTo>
                  <a:lnTo>
                    <a:pt x="381953" y="634365"/>
                  </a:lnTo>
                  <a:lnTo>
                    <a:pt x="401003" y="631508"/>
                  </a:lnTo>
                  <a:lnTo>
                    <a:pt x="428625" y="638175"/>
                  </a:lnTo>
                  <a:lnTo>
                    <a:pt x="428625" y="628650"/>
                  </a:lnTo>
                  <a:lnTo>
                    <a:pt x="418148" y="617220"/>
                  </a:lnTo>
                  <a:lnTo>
                    <a:pt x="430530" y="618173"/>
                  </a:lnTo>
                  <a:lnTo>
                    <a:pt x="431483" y="596265"/>
                  </a:lnTo>
                  <a:lnTo>
                    <a:pt x="437198" y="603885"/>
                  </a:lnTo>
                  <a:lnTo>
                    <a:pt x="440055" y="621983"/>
                  </a:lnTo>
                  <a:lnTo>
                    <a:pt x="460058" y="636270"/>
                  </a:lnTo>
                  <a:lnTo>
                    <a:pt x="461963" y="626745"/>
                  </a:lnTo>
                  <a:lnTo>
                    <a:pt x="470535" y="624840"/>
                  </a:lnTo>
                  <a:lnTo>
                    <a:pt x="467678" y="617220"/>
                  </a:lnTo>
                  <a:lnTo>
                    <a:pt x="475298" y="611505"/>
                  </a:lnTo>
                  <a:lnTo>
                    <a:pt x="474345" y="596265"/>
                  </a:lnTo>
                  <a:lnTo>
                    <a:pt x="459105" y="594360"/>
                  </a:lnTo>
                  <a:lnTo>
                    <a:pt x="440055" y="601028"/>
                  </a:lnTo>
                  <a:lnTo>
                    <a:pt x="453390" y="585787"/>
                  </a:lnTo>
                  <a:lnTo>
                    <a:pt x="460058" y="578168"/>
                  </a:lnTo>
                  <a:lnTo>
                    <a:pt x="472440" y="576262"/>
                  </a:lnTo>
                  <a:lnTo>
                    <a:pt x="476250" y="588645"/>
                  </a:lnTo>
                  <a:lnTo>
                    <a:pt x="492443" y="603885"/>
                  </a:lnTo>
                  <a:lnTo>
                    <a:pt x="496253" y="583883"/>
                  </a:lnTo>
                  <a:lnTo>
                    <a:pt x="518160" y="572453"/>
                  </a:lnTo>
                  <a:lnTo>
                    <a:pt x="509588" y="560070"/>
                  </a:lnTo>
                  <a:lnTo>
                    <a:pt x="510540" y="543878"/>
                  </a:lnTo>
                  <a:lnTo>
                    <a:pt x="521018" y="548640"/>
                  </a:lnTo>
                  <a:lnTo>
                    <a:pt x="527685" y="548640"/>
                  </a:lnTo>
                  <a:lnTo>
                    <a:pt x="543878" y="535305"/>
                  </a:lnTo>
                  <a:lnTo>
                    <a:pt x="547688" y="513397"/>
                  </a:lnTo>
                  <a:lnTo>
                    <a:pt x="568643" y="516255"/>
                  </a:lnTo>
                  <a:lnTo>
                    <a:pt x="569595" y="509587"/>
                  </a:lnTo>
                  <a:lnTo>
                    <a:pt x="571500" y="494347"/>
                  </a:lnTo>
                  <a:lnTo>
                    <a:pt x="576263" y="507683"/>
                  </a:lnTo>
                  <a:lnTo>
                    <a:pt x="590550" y="498158"/>
                  </a:lnTo>
                  <a:lnTo>
                    <a:pt x="612458" y="459105"/>
                  </a:lnTo>
                  <a:lnTo>
                    <a:pt x="611505" y="438150"/>
                  </a:lnTo>
                  <a:lnTo>
                    <a:pt x="598170" y="419100"/>
                  </a:lnTo>
                  <a:lnTo>
                    <a:pt x="569595" y="388620"/>
                  </a:lnTo>
                  <a:lnTo>
                    <a:pt x="551498" y="388620"/>
                  </a:lnTo>
                  <a:lnTo>
                    <a:pt x="543878" y="409575"/>
                  </a:lnTo>
                  <a:lnTo>
                    <a:pt x="516255" y="381000"/>
                  </a:lnTo>
                  <a:lnTo>
                    <a:pt x="519113" y="373380"/>
                  </a:lnTo>
                  <a:lnTo>
                    <a:pt x="519113" y="359093"/>
                  </a:lnTo>
                  <a:lnTo>
                    <a:pt x="503873" y="316230"/>
                  </a:lnTo>
                  <a:lnTo>
                    <a:pt x="496253" y="314325"/>
                  </a:lnTo>
                  <a:lnTo>
                    <a:pt x="489585" y="318135"/>
                  </a:lnTo>
                  <a:lnTo>
                    <a:pt x="443865" y="318135"/>
                  </a:lnTo>
                  <a:lnTo>
                    <a:pt x="441008" y="283845"/>
                  </a:lnTo>
                  <a:lnTo>
                    <a:pt x="363855" y="36195"/>
                  </a:lnTo>
                  <a:lnTo>
                    <a:pt x="294323" y="952"/>
                  </a:lnTo>
                  <a:lnTo>
                    <a:pt x="266700" y="0"/>
                  </a:lnTo>
                  <a:lnTo>
                    <a:pt x="202883" y="62865"/>
                  </a:lnTo>
                  <a:lnTo>
                    <a:pt x="177165" y="53340"/>
                  </a:lnTo>
                  <a:lnTo>
                    <a:pt x="167640" y="16193"/>
                  </a:lnTo>
                  <a:lnTo>
                    <a:pt x="141923" y="16193"/>
                  </a:lnTo>
                  <a:lnTo>
                    <a:pt x="76200" y="201930"/>
                  </a:lnTo>
                  <a:lnTo>
                    <a:pt x="82868" y="260985"/>
                  </a:lnTo>
                  <a:lnTo>
                    <a:pt x="66675" y="283845"/>
                  </a:lnTo>
                  <a:lnTo>
                    <a:pt x="62865" y="327660"/>
                  </a:lnTo>
                  <a:lnTo>
                    <a:pt x="75248" y="362903"/>
                  </a:lnTo>
                  <a:lnTo>
                    <a:pt x="82868" y="364808"/>
                  </a:lnTo>
                  <a:lnTo>
                    <a:pt x="82868" y="380047"/>
                  </a:lnTo>
                  <a:lnTo>
                    <a:pt x="67628" y="422910"/>
                  </a:lnTo>
                  <a:lnTo>
                    <a:pt x="53340" y="436245"/>
                  </a:lnTo>
                  <a:lnTo>
                    <a:pt x="40958" y="457200"/>
                  </a:lnTo>
                  <a:lnTo>
                    <a:pt x="37148" y="531495"/>
                  </a:lnTo>
                  <a:lnTo>
                    <a:pt x="14288" y="521970"/>
                  </a:lnTo>
                  <a:lnTo>
                    <a:pt x="0" y="525780"/>
                  </a:lnTo>
                  <a:close/>
                  <a:moveTo>
                    <a:pt x="442913" y="641033"/>
                  </a:moveTo>
                  <a:lnTo>
                    <a:pt x="433388" y="648653"/>
                  </a:lnTo>
                  <a:lnTo>
                    <a:pt x="433388" y="661035"/>
                  </a:lnTo>
                  <a:lnTo>
                    <a:pt x="440055" y="653415"/>
                  </a:lnTo>
                  <a:lnTo>
                    <a:pt x="448628" y="661035"/>
                  </a:lnTo>
                  <a:lnTo>
                    <a:pt x="452438" y="656273"/>
                  </a:lnTo>
                  <a:lnTo>
                    <a:pt x="462915" y="658178"/>
                  </a:lnTo>
                  <a:lnTo>
                    <a:pt x="453390" y="650558"/>
                  </a:lnTo>
                  <a:lnTo>
                    <a:pt x="457200" y="642937"/>
                  </a:lnTo>
                  <a:close/>
                  <a:moveTo>
                    <a:pt x="426720" y="665798"/>
                  </a:moveTo>
                  <a:lnTo>
                    <a:pt x="417195" y="676275"/>
                  </a:lnTo>
                  <a:lnTo>
                    <a:pt x="421958" y="680085"/>
                  </a:lnTo>
                  <a:lnTo>
                    <a:pt x="421005" y="689610"/>
                  </a:lnTo>
                  <a:lnTo>
                    <a:pt x="431483" y="689610"/>
                  </a:lnTo>
                  <a:lnTo>
                    <a:pt x="431483" y="672465"/>
                  </a:lnTo>
                  <a:close/>
                  <a:moveTo>
                    <a:pt x="398145" y="650558"/>
                  </a:moveTo>
                  <a:lnTo>
                    <a:pt x="406718" y="662940"/>
                  </a:lnTo>
                  <a:lnTo>
                    <a:pt x="416243" y="667703"/>
                  </a:lnTo>
                  <a:lnTo>
                    <a:pt x="419100" y="658178"/>
                  </a:lnTo>
                  <a:lnTo>
                    <a:pt x="419100" y="641033"/>
                  </a:lnTo>
                  <a:lnTo>
                    <a:pt x="406718" y="634365"/>
                  </a:lnTo>
                  <a:lnTo>
                    <a:pt x="402908" y="645795"/>
                  </a:lnTo>
                  <a:close/>
                  <a:moveTo>
                    <a:pt x="388620" y="698183"/>
                  </a:moveTo>
                  <a:lnTo>
                    <a:pt x="372428" y="681990"/>
                  </a:lnTo>
                  <a:lnTo>
                    <a:pt x="387668" y="659130"/>
                  </a:lnTo>
                  <a:lnTo>
                    <a:pt x="395288" y="661987"/>
                  </a:lnTo>
                  <a:lnTo>
                    <a:pt x="397193" y="672465"/>
                  </a:lnTo>
                  <a:lnTo>
                    <a:pt x="406718" y="680085"/>
                  </a:lnTo>
                  <a:lnTo>
                    <a:pt x="406718" y="690562"/>
                  </a:lnTo>
                  <a:lnTo>
                    <a:pt x="397193" y="700087"/>
                  </a:lnTo>
                  <a:close/>
                </a:path>
              </a:pathLst>
            </a:custGeom>
            <a:solidFill>
              <a:srgbClr val="D0D0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58F81C17-3509-D389-088B-493C8E358998}"/>
                </a:ext>
              </a:extLst>
            </p:cNvPr>
            <p:cNvSpPr/>
            <p:nvPr/>
          </p:nvSpPr>
          <p:spPr>
            <a:xfrm>
              <a:off x="8742997" y="2944177"/>
              <a:ext cx="752475" cy="377190"/>
            </a:xfrm>
            <a:custGeom>
              <a:avLst/>
              <a:gdLst>
                <a:gd name="connsiteX0" fmla="*/ 623888 w 752475"/>
                <a:gd name="connsiteY0" fmla="*/ 373380 h 377190"/>
                <a:gd name="connsiteX1" fmla="*/ 623888 w 752475"/>
                <a:gd name="connsiteY1" fmla="*/ 357188 h 377190"/>
                <a:gd name="connsiteX2" fmla="*/ 616267 w 752475"/>
                <a:gd name="connsiteY2" fmla="*/ 357188 h 377190"/>
                <a:gd name="connsiteX3" fmla="*/ 616267 w 752475"/>
                <a:gd name="connsiteY3" fmla="*/ 374332 h 377190"/>
                <a:gd name="connsiteX4" fmla="*/ 736282 w 752475"/>
                <a:gd name="connsiteY4" fmla="*/ 336232 h 377190"/>
                <a:gd name="connsiteX5" fmla="*/ 747713 w 752475"/>
                <a:gd name="connsiteY5" fmla="*/ 315278 h 377190"/>
                <a:gd name="connsiteX6" fmla="*/ 748665 w 752475"/>
                <a:gd name="connsiteY6" fmla="*/ 291465 h 377190"/>
                <a:gd name="connsiteX7" fmla="*/ 742950 w 752475"/>
                <a:gd name="connsiteY7" fmla="*/ 285750 h 377190"/>
                <a:gd name="connsiteX8" fmla="*/ 736282 w 752475"/>
                <a:gd name="connsiteY8" fmla="*/ 294322 h 377190"/>
                <a:gd name="connsiteX9" fmla="*/ 734377 w 752475"/>
                <a:gd name="connsiteY9" fmla="*/ 314325 h 377190"/>
                <a:gd name="connsiteX10" fmla="*/ 726757 w 752475"/>
                <a:gd name="connsiteY10" fmla="*/ 327660 h 377190"/>
                <a:gd name="connsiteX11" fmla="*/ 723900 w 752475"/>
                <a:gd name="connsiteY11" fmla="*/ 338138 h 377190"/>
                <a:gd name="connsiteX12" fmla="*/ 680085 w 752475"/>
                <a:gd name="connsiteY12" fmla="*/ 353378 h 377190"/>
                <a:gd name="connsiteX13" fmla="*/ 673417 w 752475"/>
                <a:gd name="connsiteY13" fmla="*/ 360997 h 377190"/>
                <a:gd name="connsiteX14" fmla="*/ 661035 w 752475"/>
                <a:gd name="connsiteY14" fmla="*/ 362903 h 377190"/>
                <a:gd name="connsiteX15" fmla="*/ 657225 w 752475"/>
                <a:gd name="connsiteY15" fmla="*/ 371475 h 377190"/>
                <a:gd name="connsiteX16" fmla="*/ 644842 w 752475"/>
                <a:gd name="connsiteY16" fmla="*/ 377190 h 377190"/>
                <a:gd name="connsiteX17" fmla="*/ 641985 w 752475"/>
                <a:gd name="connsiteY17" fmla="*/ 353378 h 377190"/>
                <a:gd name="connsiteX18" fmla="*/ 645795 w 752475"/>
                <a:gd name="connsiteY18" fmla="*/ 346710 h 377190"/>
                <a:gd name="connsiteX19" fmla="*/ 638175 w 752475"/>
                <a:gd name="connsiteY19" fmla="*/ 341947 h 377190"/>
                <a:gd name="connsiteX20" fmla="*/ 640080 w 752475"/>
                <a:gd name="connsiteY20" fmla="*/ 327660 h 377190"/>
                <a:gd name="connsiteX21" fmla="*/ 624840 w 752475"/>
                <a:gd name="connsiteY21" fmla="*/ 337185 h 377190"/>
                <a:gd name="connsiteX22" fmla="*/ 624840 w 752475"/>
                <a:gd name="connsiteY22" fmla="*/ 318135 h 377190"/>
                <a:gd name="connsiteX23" fmla="*/ 636270 w 752475"/>
                <a:gd name="connsiteY23" fmla="*/ 315278 h 377190"/>
                <a:gd name="connsiteX24" fmla="*/ 618172 w 752475"/>
                <a:gd name="connsiteY24" fmla="*/ 311467 h 377190"/>
                <a:gd name="connsiteX25" fmla="*/ 611505 w 752475"/>
                <a:gd name="connsiteY25" fmla="*/ 303847 h 377190"/>
                <a:gd name="connsiteX26" fmla="*/ 615315 w 752475"/>
                <a:gd name="connsiteY26" fmla="*/ 291465 h 377190"/>
                <a:gd name="connsiteX27" fmla="*/ 607695 w 752475"/>
                <a:gd name="connsiteY27" fmla="*/ 285750 h 377190"/>
                <a:gd name="connsiteX28" fmla="*/ 601027 w 752475"/>
                <a:gd name="connsiteY28" fmla="*/ 300990 h 377190"/>
                <a:gd name="connsiteX29" fmla="*/ 605790 w 752475"/>
                <a:gd name="connsiteY29" fmla="*/ 308610 h 377190"/>
                <a:gd name="connsiteX30" fmla="*/ 599122 w 752475"/>
                <a:gd name="connsiteY30" fmla="*/ 314325 h 377190"/>
                <a:gd name="connsiteX31" fmla="*/ 588645 w 752475"/>
                <a:gd name="connsiteY31" fmla="*/ 319088 h 377190"/>
                <a:gd name="connsiteX32" fmla="*/ 569595 w 752475"/>
                <a:gd name="connsiteY32" fmla="*/ 309563 h 377190"/>
                <a:gd name="connsiteX33" fmla="*/ 567690 w 752475"/>
                <a:gd name="connsiteY33" fmla="*/ 298132 h 377190"/>
                <a:gd name="connsiteX34" fmla="*/ 558165 w 752475"/>
                <a:gd name="connsiteY34" fmla="*/ 287655 h 377190"/>
                <a:gd name="connsiteX35" fmla="*/ 544830 w 752475"/>
                <a:gd name="connsiteY35" fmla="*/ 271463 h 377190"/>
                <a:gd name="connsiteX36" fmla="*/ 559117 w 752475"/>
                <a:gd name="connsiteY36" fmla="*/ 263842 h 377190"/>
                <a:gd name="connsiteX37" fmla="*/ 549592 w 752475"/>
                <a:gd name="connsiteY37" fmla="*/ 258128 h 377190"/>
                <a:gd name="connsiteX38" fmla="*/ 549592 w 752475"/>
                <a:gd name="connsiteY38" fmla="*/ 249555 h 377190"/>
                <a:gd name="connsiteX39" fmla="*/ 555307 w 752475"/>
                <a:gd name="connsiteY39" fmla="*/ 240030 h 377190"/>
                <a:gd name="connsiteX40" fmla="*/ 571500 w 752475"/>
                <a:gd name="connsiteY40" fmla="*/ 237172 h 377190"/>
                <a:gd name="connsiteX41" fmla="*/ 558165 w 752475"/>
                <a:gd name="connsiteY41" fmla="*/ 231457 h 377190"/>
                <a:gd name="connsiteX42" fmla="*/ 557213 w 752475"/>
                <a:gd name="connsiteY42" fmla="*/ 224790 h 377190"/>
                <a:gd name="connsiteX43" fmla="*/ 544830 w 752475"/>
                <a:gd name="connsiteY43" fmla="*/ 223838 h 377190"/>
                <a:gd name="connsiteX44" fmla="*/ 541020 w 752475"/>
                <a:gd name="connsiteY44" fmla="*/ 234315 h 377190"/>
                <a:gd name="connsiteX45" fmla="*/ 535305 w 752475"/>
                <a:gd name="connsiteY45" fmla="*/ 237172 h 377190"/>
                <a:gd name="connsiteX46" fmla="*/ 536257 w 752475"/>
                <a:gd name="connsiteY46" fmla="*/ 204788 h 377190"/>
                <a:gd name="connsiteX47" fmla="*/ 545782 w 752475"/>
                <a:gd name="connsiteY47" fmla="*/ 195263 h 377190"/>
                <a:gd name="connsiteX48" fmla="*/ 553402 w 752475"/>
                <a:gd name="connsiteY48" fmla="*/ 201930 h 377190"/>
                <a:gd name="connsiteX49" fmla="*/ 554355 w 752475"/>
                <a:gd name="connsiteY49" fmla="*/ 186690 h 377190"/>
                <a:gd name="connsiteX50" fmla="*/ 544830 w 752475"/>
                <a:gd name="connsiteY50" fmla="*/ 178117 h 377190"/>
                <a:gd name="connsiteX51" fmla="*/ 536257 w 752475"/>
                <a:gd name="connsiteY51" fmla="*/ 188595 h 377190"/>
                <a:gd name="connsiteX52" fmla="*/ 526732 w 752475"/>
                <a:gd name="connsiteY52" fmla="*/ 201930 h 377190"/>
                <a:gd name="connsiteX53" fmla="*/ 521017 w 752475"/>
                <a:gd name="connsiteY53" fmla="*/ 192405 h 377190"/>
                <a:gd name="connsiteX54" fmla="*/ 522922 w 752475"/>
                <a:gd name="connsiteY54" fmla="*/ 169545 h 377190"/>
                <a:gd name="connsiteX55" fmla="*/ 531495 w 752475"/>
                <a:gd name="connsiteY55" fmla="*/ 160020 h 377190"/>
                <a:gd name="connsiteX56" fmla="*/ 540067 w 752475"/>
                <a:gd name="connsiteY56" fmla="*/ 168592 h 377190"/>
                <a:gd name="connsiteX57" fmla="*/ 551497 w 752475"/>
                <a:gd name="connsiteY57" fmla="*/ 161925 h 377190"/>
                <a:gd name="connsiteX58" fmla="*/ 547688 w 752475"/>
                <a:gd name="connsiteY58" fmla="*/ 145732 h 377190"/>
                <a:gd name="connsiteX59" fmla="*/ 538163 w 752475"/>
                <a:gd name="connsiteY59" fmla="*/ 155257 h 377190"/>
                <a:gd name="connsiteX60" fmla="*/ 529590 w 752475"/>
                <a:gd name="connsiteY60" fmla="*/ 135255 h 377190"/>
                <a:gd name="connsiteX61" fmla="*/ 527685 w 752475"/>
                <a:gd name="connsiteY61" fmla="*/ 119063 h 377190"/>
                <a:gd name="connsiteX62" fmla="*/ 538163 w 752475"/>
                <a:gd name="connsiteY62" fmla="*/ 96202 h 377190"/>
                <a:gd name="connsiteX63" fmla="*/ 548640 w 752475"/>
                <a:gd name="connsiteY63" fmla="*/ 82867 h 377190"/>
                <a:gd name="connsiteX64" fmla="*/ 561975 w 752475"/>
                <a:gd name="connsiteY64" fmla="*/ 80963 h 377190"/>
                <a:gd name="connsiteX65" fmla="*/ 557213 w 752475"/>
                <a:gd name="connsiteY65" fmla="*/ 73342 h 377190"/>
                <a:gd name="connsiteX66" fmla="*/ 561975 w 752475"/>
                <a:gd name="connsiteY66" fmla="*/ 67627 h 377190"/>
                <a:gd name="connsiteX67" fmla="*/ 559117 w 752475"/>
                <a:gd name="connsiteY67" fmla="*/ 60960 h 377190"/>
                <a:gd name="connsiteX68" fmla="*/ 561022 w 752475"/>
                <a:gd name="connsiteY68" fmla="*/ 40957 h 377190"/>
                <a:gd name="connsiteX69" fmla="*/ 546735 w 752475"/>
                <a:gd name="connsiteY69" fmla="*/ 44767 h 377190"/>
                <a:gd name="connsiteX70" fmla="*/ 539115 w 752475"/>
                <a:gd name="connsiteY70" fmla="*/ 55245 h 377190"/>
                <a:gd name="connsiteX71" fmla="*/ 548640 w 752475"/>
                <a:gd name="connsiteY71" fmla="*/ 67627 h 377190"/>
                <a:gd name="connsiteX72" fmla="*/ 523875 w 752475"/>
                <a:gd name="connsiteY72" fmla="*/ 101917 h 377190"/>
                <a:gd name="connsiteX73" fmla="*/ 515302 w 752475"/>
                <a:gd name="connsiteY73" fmla="*/ 98107 h 377190"/>
                <a:gd name="connsiteX74" fmla="*/ 508635 w 752475"/>
                <a:gd name="connsiteY74" fmla="*/ 106680 h 377190"/>
                <a:gd name="connsiteX75" fmla="*/ 502920 w 752475"/>
                <a:gd name="connsiteY75" fmla="*/ 127635 h 377190"/>
                <a:gd name="connsiteX76" fmla="*/ 485775 w 752475"/>
                <a:gd name="connsiteY76" fmla="*/ 132397 h 377190"/>
                <a:gd name="connsiteX77" fmla="*/ 498157 w 752475"/>
                <a:gd name="connsiteY77" fmla="*/ 138113 h 377190"/>
                <a:gd name="connsiteX78" fmla="*/ 510540 w 752475"/>
                <a:gd name="connsiteY78" fmla="*/ 150495 h 377190"/>
                <a:gd name="connsiteX79" fmla="*/ 508635 w 752475"/>
                <a:gd name="connsiteY79" fmla="*/ 157163 h 377190"/>
                <a:gd name="connsiteX80" fmla="*/ 517207 w 752475"/>
                <a:gd name="connsiteY80" fmla="*/ 168592 h 377190"/>
                <a:gd name="connsiteX81" fmla="*/ 506730 w 752475"/>
                <a:gd name="connsiteY81" fmla="*/ 178117 h 377190"/>
                <a:gd name="connsiteX82" fmla="*/ 511492 w 752475"/>
                <a:gd name="connsiteY82" fmla="*/ 180975 h 377190"/>
                <a:gd name="connsiteX83" fmla="*/ 506730 w 752475"/>
                <a:gd name="connsiteY83" fmla="*/ 193357 h 377190"/>
                <a:gd name="connsiteX84" fmla="*/ 506730 w 752475"/>
                <a:gd name="connsiteY84" fmla="*/ 213360 h 377190"/>
                <a:gd name="connsiteX85" fmla="*/ 501967 w 752475"/>
                <a:gd name="connsiteY85" fmla="*/ 225742 h 377190"/>
                <a:gd name="connsiteX86" fmla="*/ 510540 w 752475"/>
                <a:gd name="connsiteY86" fmla="*/ 236220 h 377190"/>
                <a:gd name="connsiteX87" fmla="*/ 517207 w 752475"/>
                <a:gd name="connsiteY87" fmla="*/ 268605 h 377190"/>
                <a:gd name="connsiteX88" fmla="*/ 529590 w 752475"/>
                <a:gd name="connsiteY88" fmla="*/ 281940 h 377190"/>
                <a:gd name="connsiteX89" fmla="*/ 544830 w 752475"/>
                <a:gd name="connsiteY89" fmla="*/ 295275 h 377190"/>
                <a:gd name="connsiteX90" fmla="*/ 548640 w 752475"/>
                <a:gd name="connsiteY90" fmla="*/ 321945 h 377190"/>
                <a:gd name="connsiteX91" fmla="*/ 563880 w 752475"/>
                <a:gd name="connsiteY91" fmla="*/ 340995 h 377190"/>
                <a:gd name="connsiteX92" fmla="*/ 567690 w 752475"/>
                <a:gd name="connsiteY92" fmla="*/ 354330 h 377190"/>
                <a:gd name="connsiteX93" fmla="*/ 567690 w 752475"/>
                <a:gd name="connsiteY93" fmla="*/ 363855 h 377190"/>
                <a:gd name="connsiteX94" fmla="*/ 561022 w 752475"/>
                <a:gd name="connsiteY94" fmla="*/ 363855 h 377190"/>
                <a:gd name="connsiteX95" fmla="*/ 546735 w 752475"/>
                <a:gd name="connsiteY95" fmla="*/ 352425 h 377190"/>
                <a:gd name="connsiteX96" fmla="*/ 542925 w 752475"/>
                <a:gd name="connsiteY96" fmla="*/ 354330 h 377190"/>
                <a:gd name="connsiteX97" fmla="*/ 531495 w 752475"/>
                <a:gd name="connsiteY97" fmla="*/ 352425 h 377190"/>
                <a:gd name="connsiteX98" fmla="*/ 515302 w 752475"/>
                <a:gd name="connsiteY98" fmla="*/ 339090 h 377190"/>
                <a:gd name="connsiteX99" fmla="*/ 501967 w 752475"/>
                <a:gd name="connsiteY99" fmla="*/ 336232 h 377190"/>
                <a:gd name="connsiteX100" fmla="*/ 492442 w 752475"/>
                <a:gd name="connsiteY100" fmla="*/ 340995 h 377190"/>
                <a:gd name="connsiteX101" fmla="*/ 481013 w 752475"/>
                <a:gd name="connsiteY101" fmla="*/ 338138 h 377190"/>
                <a:gd name="connsiteX102" fmla="*/ 477202 w 752475"/>
                <a:gd name="connsiteY102" fmla="*/ 340042 h 377190"/>
                <a:gd name="connsiteX103" fmla="*/ 461010 w 752475"/>
                <a:gd name="connsiteY103" fmla="*/ 332422 h 377190"/>
                <a:gd name="connsiteX104" fmla="*/ 451485 w 752475"/>
                <a:gd name="connsiteY104" fmla="*/ 322897 h 377190"/>
                <a:gd name="connsiteX105" fmla="*/ 441960 w 752475"/>
                <a:gd name="connsiteY105" fmla="*/ 310515 h 377190"/>
                <a:gd name="connsiteX106" fmla="*/ 436245 w 752475"/>
                <a:gd name="connsiteY106" fmla="*/ 308610 h 377190"/>
                <a:gd name="connsiteX107" fmla="*/ 428625 w 752475"/>
                <a:gd name="connsiteY107" fmla="*/ 315278 h 377190"/>
                <a:gd name="connsiteX108" fmla="*/ 413385 w 752475"/>
                <a:gd name="connsiteY108" fmla="*/ 327660 h 377190"/>
                <a:gd name="connsiteX109" fmla="*/ 402907 w 752475"/>
                <a:gd name="connsiteY109" fmla="*/ 320040 h 377190"/>
                <a:gd name="connsiteX110" fmla="*/ 399097 w 752475"/>
                <a:gd name="connsiteY110" fmla="*/ 298132 h 377190"/>
                <a:gd name="connsiteX111" fmla="*/ 406717 w 752475"/>
                <a:gd name="connsiteY111" fmla="*/ 278130 h 377190"/>
                <a:gd name="connsiteX112" fmla="*/ 403860 w 752475"/>
                <a:gd name="connsiteY112" fmla="*/ 273367 h 377190"/>
                <a:gd name="connsiteX113" fmla="*/ 406717 w 752475"/>
                <a:gd name="connsiteY113" fmla="*/ 269557 h 377190"/>
                <a:gd name="connsiteX114" fmla="*/ 400050 w 752475"/>
                <a:gd name="connsiteY114" fmla="*/ 260032 h 377190"/>
                <a:gd name="connsiteX115" fmla="*/ 409575 w 752475"/>
                <a:gd name="connsiteY115" fmla="*/ 259080 h 377190"/>
                <a:gd name="connsiteX116" fmla="*/ 419100 w 752475"/>
                <a:gd name="connsiteY116" fmla="*/ 250507 h 377190"/>
                <a:gd name="connsiteX117" fmla="*/ 422910 w 752475"/>
                <a:gd name="connsiteY117" fmla="*/ 233363 h 377190"/>
                <a:gd name="connsiteX118" fmla="*/ 439102 w 752475"/>
                <a:gd name="connsiteY118" fmla="*/ 208597 h 377190"/>
                <a:gd name="connsiteX119" fmla="*/ 414338 w 752475"/>
                <a:gd name="connsiteY119" fmla="*/ 191452 h 377190"/>
                <a:gd name="connsiteX120" fmla="*/ 404813 w 752475"/>
                <a:gd name="connsiteY120" fmla="*/ 207645 h 377190"/>
                <a:gd name="connsiteX121" fmla="*/ 399097 w 752475"/>
                <a:gd name="connsiteY121" fmla="*/ 201930 h 377190"/>
                <a:gd name="connsiteX122" fmla="*/ 389572 w 752475"/>
                <a:gd name="connsiteY122" fmla="*/ 201930 h 377190"/>
                <a:gd name="connsiteX123" fmla="*/ 383857 w 752475"/>
                <a:gd name="connsiteY123" fmla="*/ 200977 h 377190"/>
                <a:gd name="connsiteX124" fmla="*/ 380047 w 752475"/>
                <a:gd name="connsiteY124" fmla="*/ 197167 h 377190"/>
                <a:gd name="connsiteX125" fmla="*/ 381000 w 752475"/>
                <a:gd name="connsiteY125" fmla="*/ 192405 h 377190"/>
                <a:gd name="connsiteX126" fmla="*/ 364807 w 752475"/>
                <a:gd name="connsiteY126" fmla="*/ 186690 h 377190"/>
                <a:gd name="connsiteX127" fmla="*/ 357188 w 752475"/>
                <a:gd name="connsiteY127" fmla="*/ 189547 h 377190"/>
                <a:gd name="connsiteX128" fmla="*/ 345757 w 752475"/>
                <a:gd name="connsiteY128" fmla="*/ 188595 h 377190"/>
                <a:gd name="connsiteX129" fmla="*/ 339090 w 752475"/>
                <a:gd name="connsiteY129" fmla="*/ 181927 h 377190"/>
                <a:gd name="connsiteX130" fmla="*/ 334327 w 752475"/>
                <a:gd name="connsiteY130" fmla="*/ 180022 h 377190"/>
                <a:gd name="connsiteX131" fmla="*/ 332422 w 752475"/>
                <a:gd name="connsiteY131" fmla="*/ 173355 h 377190"/>
                <a:gd name="connsiteX132" fmla="*/ 338138 w 752475"/>
                <a:gd name="connsiteY132" fmla="*/ 165735 h 377190"/>
                <a:gd name="connsiteX133" fmla="*/ 338138 w 752475"/>
                <a:gd name="connsiteY133" fmla="*/ 157163 h 377190"/>
                <a:gd name="connsiteX134" fmla="*/ 326707 w 752475"/>
                <a:gd name="connsiteY134" fmla="*/ 155257 h 377190"/>
                <a:gd name="connsiteX135" fmla="*/ 317182 w 752475"/>
                <a:gd name="connsiteY135" fmla="*/ 146685 h 377190"/>
                <a:gd name="connsiteX136" fmla="*/ 308610 w 752475"/>
                <a:gd name="connsiteY136" fmla="*/ 147638 h 377190"/>
                <a:gd name="connsiteX137" fmla="*/ 293370 w 752475"/>
                <a:gd name="connsiteY137" fmla="*/ 144780 h 377190"/>
                <a:gd name="connsiteX138" fmla="*/ 284797 w 752475"/>
                <a:gd name="connsiteY138" fmla="*/ 140970 h 377190"/>
                <a:gd name="connsiteX139" fmla="*/ 286702 w 752475"/>
                <a:gd name="connsiteY139" fmla="*/ 125730 h 377190"/>
                <a:gd name="connsiteX140" fmla="*/ 277177 w 752475"/>
                <a:gd name="connsiteY140" fmla="*/ 120967 h 377190"/>
                <a:gd name="connsiteX141" fmla="*/ 275272 w 752475"/>
                <a:gd name="connsiteY141" fmla="*/ 114300 h 377190"/>
                <a:gd name="connsiteX142" fmla="*/ 268605 w 752475"/>
                <a:gd name="connsiteY142" fmla="*/ 114300 h 377190"/>
                <a:gd name="connsiteX143" fmla="*/ 260985 w 752475"/>
                <a:gd name="connsiteY143" fmla="*/ 102870 h 377190"/>
                <a:gd name="connsiteX144" fmla="*/ 262890 w 752475"/>
                <a:gd name="connsiteY144" fmla="*/ 93345 h 377190"/>
                <a:gd name="connsiteX145" fmla="*/ 238125 w 752475"/>
                <a:gd name="connsiteY145" fmla="*/ 97155 h 377190"/>
                <a:gd name="connsiteX146" fmla="*/ 217170 w 752475"/>
                <a:gd name="connsiteY146" fmla="*/ 81915 h 377190"/>
                <a:gd name="connsiteX147" fmla="*/ 203835 w 752475"/>
                <a:gd name="connsiteY147" fmla="*/ 84772 h 377190"/>
                <a:gd name="connsiteX148" fmla="*/ 195263 w 752475"/>
                <a:gd name="connsiteY148" fmla="*/ 98107 h 377190"/>
                <a:gd name="connsiteX149" fmla="*/ 182880 w 752475"/>
                <a:gd name="connsiteY149" fmla="*/ 98107 h 377190"/>
                <a:gd name="connsiteX150" fmla="*/ 166688 w 752475"/>
                <a:gd name="connsiteY150" fmla="*/ 125730 h 377190"/>
                <a:gd name="connsiteX151" fmla="*/ 135255 w 752475"/>
                <a:gd name="connsiteY151" fmla="*/ 129540 h 377190"/>
                <a:gd name="connsiteX152" fmla="*/ 117157 w 752475"/>
                <a:gd name="connsiteY152" fmla="*/ 120015 h 377190"/>
                <a:gd name="connsiteX153" fmla="*/ 92392 w 752475"/>
                <a:gd name="connsiteY153" fmla="*/ 156210 h 377190"/>
                <a:gd name="connsiteX154" fmla="*/ 71438 w 752475"/>
                <a:gd name="connsiteY154" fmla="*/ 153352 h 377190"/>
                <a:gd name="connsiteX155" fmla="*/ 41910 w 752475"/>
                <a:gd name="connsiteY155" fmla="*/ 190500 h 377190"/>
                <a:gd name="connsiteX156" fmla="*/ 33338 w 752475"/>
                <a:gd name="connsiteY156" fmla="*/ 205740 h 377190"/>
                <a:gd name="connsiteX157" fmla="*/ 16192 w 752475"/>
                <a:gd name="connsiteY157" fmla="*/ 220980 h 377190"/>
                <a:gd name="connsiteX158" fmla="*/ 0 w 752475"/>
                <a:gd name="connsiteY158" fmla="*/ 112395 h 377190"/>
                <a:gd name="connsiteX159" fmla="*/ 576263 w 752475"/>
                <a:gd name="connsiteY159" fmla="*/ 0 h 377190"/>
                <a:gd name="connsiteX160" fmla="*/ 648652 w 752475"/>
                <a:gd name="connsiteY160" fmla="*/ 258128 h 377190"/>
                <a:gd name="connsiteX161" fmla="*/ 752475 w 752475"/>
                <a:gd name="connsiteY161" fmla="*/ 236220 h 377190"/>
                <a:gd name="connsiteX162" fmla="*/ 752475 w 752475"/>
                <a:gd name="connsiteY162" fmla="*/ 286703 h 377190"/>
                <a:gd name="connsiteX163" fmla="*/ 751522 w 752475"/>
                <a:gd name="connsiteY163" fmla="*/ 316230 h 377190"/>
                <a:gd name="connsiteX164" fmla="*/ 741997 w 752475"/>
                <a:gd name="connsiteY164" fmla="*/ 333375 h 377190"/>
                <a:gd name="connsiteX165" fmla="*/ 608647 w 752475"/>
                <a:gd name="connsiteY165" fmla="*/ 319088 h 377190"/>
                <a:gd name="connsiteX166" fmla="*/ 596265 w 752475"/>
                <a:gd name="connsiteY166" fmla="*/ 327660 h 377190"/>
                <a:gd name="connsiteX167" fmla="*/ 603885 w 752475"/>
                <a:gd name="connsiteY167" fmla="*/ 344805 h 377190"/>
                <a:gd name="connsiteX168" fmla="*/ 620077 w 752475"/>
                <a:gd name="connsiteY168" fmla="*/ 352425 h 377190"/>
                <a:gd name="connsiteX169" fmla="*/ 616267 w 752475"/>
                <a:gd name="connsiteY169" fmla="*/ 337185 h 377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</a:cxnLst>
              <a:rect l="l" t="t" r="r" b="b"/>
              <a:pathLst>
                <a:path w="752475" h="377190">
                  <a:moveTo>
                    <a:pt x="623888" y="373380"/>
                  </a:moveTo>
                  <a:lnTo>
                    <a:pt x="623888" y="357188"/>
                  </a:lnTo>
                  <a:lnTo>
                    <a:pt x="616267" y="357188"/>
                  </a:lnTo>
                  <a:lnTo>
                    <a:pt x="616267" y="374332"/>
                  </a:lnTo>
                  <a:close/>
                  <a:moveTo>
                    <a:pt x="736282" y="336232"/>
                  </a:moveTo>
                  <a:lnTo>
                    <a:pt x="747713" y="315278"/>
                  </a:lnTo>
                  <a:lnTo>
                    <a:pt x="748665" y="291465"/>
                  </a:lnTo>
                  <a:lnTo>
                    <a:pt x="742950" y="285750"/>
                  </a:lnTo>
                  <a:lnTo>
                    <a:pt x="736282" y="294322"/>
                  </a:lnTo>
                  <a:lnTo>
                    <a:pt x="734377" y="314325"/>
                  </a:lnTo>
                  <a:lnTo>
                    <a:pt x="726757" y="327660"/>
                  </a:lnTo>
                  <a:lnTo>
                    <a:pt x="723900" y="338138"/>
                  </a:lnTo>
                  <a:lnTo>
                    <a:pt x="680085" y="353378"/>
                  </a:lnTo>
                  <a:lnTo>
                    <a:pt x="673417" y="360997"/>
                  </a:lnTo>
                  <a:lnTo>
                    <a:pt x="661035" y="362903"/>
                  </a:lnTo>
                  <a:lnTo>
                    <a:pt x="657225" y="371475"/>
                  </a:lnTo>
                  <a:lnTo>
                    <a:pt x="644842" y="377190"/>
                  </a:lnTo>
                  <a:lnTo>
                    <a:pt x="641985" y="353378"/>
                  </a:lnTo>
                  <a:lnTo>
                    <a:pt x="645795" y="346710"/>
                  </a:lnTo>
                  <a:lnTo>
                    <a:pt x="638175" y="341947"/>
                  </a:lnTo>
                  <a:lnTo>
                    <a:pt x="640080" y="327660"/>
                  </a:lnTo>
                  <a:lnTo>
                    <a:pt x="624840" y="337185"/>
                  </a:lnTo>
                  <a:lnTo>
                    <a:pt x="624840" y="318135"/>
                  </a:lnTo>
                  <a:lnTo>
                    <a:pt x="636270" y="315278"/>
                  </a:lnTo>
                  <a:lnTo>
                    <a:pt x="618172" y="311467"/>
                  </a:lnTo>
                  <a:lnTo>
                    <a:pt x="611505" y="303847"/>
                  </a:lnTo>
                  <a:lnTo>
                    <a:pt x="615315" y="291465"/>
                  </a:lnTo>
                  <a:lnTo>
                    <a:pt x="607695" y="285750"/>
                  </a:lnTo>
                  <a:lnTo>
                    <a:pt x="601027" y="300990"/>
                  </a:lnTo>
                  <a:lnTo>
                    <a:pt x="605790" y="308610"/>
                  </a:lnTo>
                  <a:lnTo>
                    <a:pt x="599122" y="314325"/>
                  </a:lnTo>
                  <a:lnTo>
                    <a:pt x="588645" y="319088"/>
                  </a:lnTo>
                  <a:lnTo>
                    <a:pt x="569595" y="309563"/>
                  </a:lnTo>
                  <a:lnTo>
                    <a:pt x="567690" y="298132"/>
                  </a:lnTo>
                  <a:lnTo>
                    <a:pt x="558165" y="287655"/>
                  </a:lnTo>
                  <a:lnTo>
                    <a:pt x="544830" y="271463"/>
                  </a:lnTo>
                  <a:lnTo>
                    <a:pt x="559117" y="263842"/>
                  </a:lnTo>
                  <a:lnTo>
                    <a:pt x="549592" y="258128"/>
                  </a:lnTo>
                  <a:lnTo>
                    <a:pt x="549592" y="249555"/>
                  </a:lnTo>
                  <a:lnTo>
                    <a:pt x="555307" y="240030"/>
                  </a:lnTo>
                  <a:lnTo>
                    <a:pt x="571500" y="237172"/>
                  </a:lnTo>
                  <a:lnTo>
                    <a:pt x="558165" y="231457"/>
                  </a:lnTo>
                  <a:lnTo>
                    <a:pt x="557213" y="224790"/>
                  </a:lnTo>
                  <a:lnTo>
                    <a:pt x="544830" y="223838"/>
                  </a:lnTo>
                  <a:lnTo>
                    <a:pt x="541020" y="234315"/>
                  </a:lnTo>
                  <a:lnTo>
                    <a:pt x="535305" y="237172"/>
                  </a:lnTo>
                  <a:lnTo>
                    <a:pt x="536257" y="204788"/>
                  </a:lnTo>
                  <a:lnTo>
                    <a:pt x="545782" y="195263"/>
                  </a:lnTo>
                  <a:lnTo>
                    <a:pt x="553402" y="201930"/>
                  </a:lnTo>
                  <a:lnTo>
                    <a:pt x="554355" y="186690"/>
                  </a:lnTo>
                  <a:lnTo>
                    <a:pt x="544830" y="178117"/>
                  </a:lnTo>
                  <a:lnTo>
                    <a:pt x="536257" y="188595"/>
                  </a:lnTo>
                  <a:lnTo>
                    <a:pt x="526732" y="201930"/>
                  </a:lnTo>
                  <a:lnTo>
                    <a:pt x="521017" y="192405"/>
                  </a:lnTo>
                  <a:lnTo>
                    <a:pt x="522922" y="169545"/>
                  </a:lnTo>
                  <a:lnTo>
                    <a:pt x="531495" y="160020"/>
                  </a:lnTo>
                  <a:lnTo>
                    <a:pt x="540067" y="168592"/>
                  </a:lnTo>
                  <a:lnTo>
                    <a:pt x="551497" y="161925"/>
                  </a:lnTo>
                  <a:lnTo>
                    <a:pt x="547688" y="145732"/>
                  </a:lnTo>
                  <a:lnTo>
                    <a:pt x="538163" y="155257"/>
                  </a:lnTo>
                  <a:lnTo>
                    <a:pt x="529590" y="135255"/>
                  </a:lnTo>
                  <a:lnTo>
                    <a:pt x="527685" y="119063"/>
                  </a:lnTo>
                  <a:lnTo>
                    <a:pt x="538163" y="96202"/>
                  </a:lnTo>
                  <a:lnTo>
                    <a:pt x="548640" y="82867"/>
                  </a:lnTo>
                  <a:lnTo>
                    <a:pt x="561975" y="80963"/>
                  </a:lnTo>
                  <a:lnTo>
                    <a:pt x="557213" y="73342"/>
                  </a:lnTo>
                  <a:lnTo>
                    <a:pt x="561975" y="67627"/>
                  </a:lnTo>
                  <a:lnTo>
                    <a:pt x="559117" y="60960"/>
                  </a:lnTo>
                  <a:lnTo>
                    <a:pt x="561022" y="40957"/>
                  </a:lnTo>
                  <a:lnTo>
                    <a:pt x="546735" y="44767"/>
                  </a:lnTo>
                  <a:lnTo>
                    <a:pt x="539115" y="55245"/>
                  </a:lnTo>
                  <a:lnTo>
                    <a:pt x="548640" y="67627"/>
                  </a:lnTo>
                  <a:lnTo>
                    <a:pt x="523875" y="101917"/>
                  </a:lnTo>
                  <a:lnTo>
                    <a:pt x="515302" y="98107"/>
                  </a:lnTo>
                  <a:lnTo>
                    <a:pt x="508635" y="106680"/>
                  </a:lnTo>
                  <a:lnTo>
                    <a:pt x="502920" y="127635"/>
                  </a:lnTo>
                  <a:lnTo>
                    <a:pt x="485775" y="132397"/>
                  </a:lnTo>
                  <a:lnTo>
                    <a:pt x="498157" y="138113"/>
                  </a:lnTo>
                  <a:lnTo>
                    <a:pt x="510540" y="150495"/>
                  </a:lnTo>
                  <a:lnTo>
                    <a:pt x="508635" y="157163"/>
                  </a:lnTo>
                  <a:lnTo>
                    <a:pt x="517207" y="168592"/>
                  </a:lnTo>
                  <a:lnTo>
                    <a:pt x="506730" y="178117"/>
                  </a:lnTo>
                  <a:lnTo>
                    <a:pt x="511492" y="180975"/>
                  </a:lnTo>
                  <a:lnTo>
                    <a:pt x="506730" y="193357"/>
                  </a:lnTo>
                  <a:lnTo>
                    <a:pt x="506730" y="213360"/>
                  </a:lnTo>
                  <a:lnTo>
                    <a:pt x="501967" y="225742"/>
                  </a:lnTo>
                  <a:lnTo>
                    <a:pt x="510540" y="236220"/>
                  </a:lnTo>
                  <a:lnTo>
                    <a:pt x="517207" y="268605"/>
                  </a:lnTo>
                  <a:lnTo>
                    <a:pt x="529590" y="281940"/>
                  </a:lnTo>
                  <a:lnTo>
                    <a:pt x="544830" y="295275"/>
                  </a:lnTo>
                  <a:lnTo>
                    <a:pt x="548640" y="321945"/>
                  </a:lnTo>
                  <a:lnTo>
                    <a:pt x="563880" y="340995"/>
                  </a:lnTo>
                  <a:lnTo>
                    <a:pt x="567690" y="354330"/>
                  </a:lnTo>
                  <a:lnTo>
                    <a:pt x="567690" y="363855"/>
                  </a:lnTo>
                  <a:lnTo>
                    <a:pt x="561022" y="363855"/>
                  </a:lnTo>
                  <a:lnTo>
                    <a:pt x="546735" y="352425"/>
                  </a:lnTo>
                  <a:lnTo>
                    <a:pt x="542925" y="354330"/>
                  </a:lnTo>
                  <a:lnTo>
                    <a:pt x="531495" y="352425"/>
                  </a:lnTo>
                  <a:lnTo>
                    <a:pt x="515302" y="339090"/>
                  </a:lnTo>
                  <a:lnTo>
                    <a:pt x="501967" y="336232"/>
                  </a:lnTo>
                  <a:lnTo>
                    <a:pt x="492442" y="340995"/>
                  </a:lnTo>
                  <a:lnTo>
                    <a:pt x="481013" y="338138"/>
                  </a:lnTo>
                  <a:lnTo>
                    <a:pt x="477202" y="340042"/>
                  </a:lnTo>
                  <a:lnTo>
                    <a:pt x="461010" y="332422"/>
                  </a:lnTo>
                  <a:lnTo>
                    <a:pt x="451485" y="322897"/>
                  </a:lnTo>
                  <a:lnTo>
                    <a:pt x="441960" y="310515"/>
                  </a:lnTo>
                  <a:lnTo>
                    <a:pt x="436245" y="308610"/>
                  </a:lnTo>
                  <a:lnTo>
                    <a:pt x="428625" y="315278"/>
                  </a:lnTo>
                  <a:lnTo>
                    <a:pt x="413385" y="327660"/>
                  </a:lnTo>
                  <a:lnTo>
                    <a:pt x="402907" y="320040"/>
                  </a:lnTo>
                  <a:lnTo>
                    <a:pt x="399097" y="298132"/>
                  </a:lnTo>
                  <a:lnTo>
                    <a:pt x="406717" y="278130"/>
                  </a:lnTo>
                  <a:lnTo>
                    <a:pt x="403860" y="273367"/>
                  </a:lnTo>
                  <a:lnTo>
                    <a:pt x="406717" y="269557"/>
                  </a:lnTo>
                  <a:lnTo>
                    <a:pt x="400050" y="260032"/>
                  </a:lnTo>
                  <a:lnTo>
                    <a:pt x="409575" y="259080"/>
                  </a:lnTo>
                  <a:lnTo>
                    <a:pt x="419100" y="250507"/>
                  </a:lnTo>
                  <a:lnTo>
                    <a:pt x="422910" y="233363"/>
                  </a:lnTo>
                  <a:lnTo>
                    <a:pt x="439102" y="208597"/>
                  </a:lnTo>
                  <a:lnTo>
                    <a:pt x="414338" y="191452"/>
                  </a:lnTo>
                  <a:lnTo>
                    <a:pt x="404813" y="207645"/>
                  </a:lnTo>
                  <a:lnTo>
                    <a:pt x="399097" y="201930"/>
                  </a:lnTo>
                  <a:lnTo>
                    <a:pt x="389572" y="201930"/>
                  </a:lnTo>
                  <a:lnTo>
                    <a:pt x="383857" y="200977"/>
                  </a:lnTo>
                  <a:lnTo>
                    <a:pt x="380047" y="197167"/>
                  </a:lnTo>
                  <a:lnTo>
                    <a:pt x="381000" y="192405"/>
                  </a:lnTo>
                  <a:lnTo>
                    <a:pt x="364807" y="186690"/>
                  </a:lnTo>
                  <a:lnTo>
                    <a:pt x="357188" y="189547"/>
                  </a:lnTo>
                  <a:lnTo>
                    <a:pt x="345757" y="188595"/>
                  </a:lnTo>
                  <a:lnTo>
                    <a:pt x="339090" y="181927"/>
                  </a:lnTo>
                  <a:lnTo>
                    <a:pt x="334327" y="180022"/>
                  </a:lnTo>
                  <a:lnTo>
                    <a:pt x="332422" y="173355"/>
                  </a:lnTo>
                  <a:lnTo>
                    <a:pt x="338138" y="165735"/>
                  </a:lnTo>
                  <a:lnTo>
                    <a:pt x="338138" y="157163"/>
                  </a:lnTo>
                  <a:lnTo>
                    <a:pt x="326707" y="155257"/>
                  </a:lnTo>
                  <a:lnTo>
                    <a:pt x="317182" y="146685"/>
                  </a:lnTo>
                  <a:lnTo>
                    <a:pt x="308610" y="147638"/>
                  </a:lnTo>
                  <a:lnTo>
                    <a:pt x="293370" y="144780"/>
                  </a:lnTo>
                  <a:lnTo>
                    <a:pt x="284797" y="140970"/>
                  </a:lnTo>
                  <a:lnTo>
                    <a:pt x="286702" y="125730"/>
                  </a:lnTo>
                  <a:lnTo>
                    <a:pt x="277177" y="120967"/>
                  </a:lnTo>
                  <a:lnTo>
                    <a:pt x="275272" y="114300"/>
                  </a:lnTo>
                  <a:lnTo>
                    <a:pt x="268605" y="114300"/>
                  </a:lnTo>
                  <a:lnTo>
                    <a:pt x="260985" y="102870"/>
                  </a:lnTo>
                  <a:lnTo>
                    <a:pt x="262890" y="93345"/>
                  </a:lnTo>
                  <a:lnTo>
                    <a:pt x="238125" y="97155"/>
                  </a:lnTo>
                  <a:lnTo>
                    <a:pt x="217170" y="81915"/>
                  </a:lnTo>
                  <a:lnTo>
                    <a:pt x="203835" y="84772"/>
                  </a:lnTo>
                  <a:lnTo>
                    <a:pt x="195263" y="98107"/>
                  </a:lnTo>
                  <a:lnTo>
                    <a:pt x="182880" y="98107"/>
                  </a:lnTo>
                  <a:lnTo>
                    <a:pt x="166688" y="125730"/>
                  </a:lnTo>
                  <a:lnTo>
                    <a:pt x="135255" y="129540"/>
                  </a:lnTo>
                  <a:lnTo>
                    <a:pt x="117157" y="120015"/>
                  </a:lnTo>
                  <a:lnTo>
                    <a:pt x="92392" y="156210"/>
                  </a:lnTo>
                  <a:lnTo>
                    <a:pt x="71438" y="153352"/>
                  </a:lnTo>
                  <a:lnTo>
                    <a:pt x="41910" y="190500"/>
                  </a:lnTo>
                  <a:lnTo>
                    <a:pt x="33338" y="205740"/>
                  </a:lnTo>
                  <a:lnTo>
                    <a:pt x="16192" y="220980"/>
                  </a:lnTo>
                  <a:lnTo>
                    <a:pt x="0" y="112395"/>
                  </a:lnTo>
                  <a:lnTo>
                    <a:pt x="576263" y="0"/>
                  </a:lnTo>
                  <a:lnTo>
                    <a:pt x="648652" y="258128"/>
                  </a:lnTo>
                  <a:lnTo>
                    <a:pt x="752475" y="236220"/>
                  </a:lnTo>
                  <a:lnTo>
                    <a:pt x="752475" y="286703"/>
                  </a:lnTo>
                  <a:lnTo>
                    <a:pt x="751522" y="316230"/>
                  </a:lnTo>
                  <a:lnTo>
                    <a:pt x="741997" y="333375"/>
                  </a:lnTo>
                  <a:close/>
                  <a:moveTo>
                    <a:pt x="608647" y="319088"/>
                  </a:moveTo>
                  <a:lnTo>
                    <a:pt x="596265" y="327660"/>
                  </a:lnTo>
                  <a:lnTo>
                    <a:pt x="603885" y="344805"/>
                  </a:lnTo>
                  <a:lnTo>
                    <a:pt x="620077" y="352425"/>
                  </a:lnTo>
                  <a:lnTo>
                    <a:pt x="616267" y="337185"/>
                  </a:lnTo>
                  <a:close/>
                </a:path>
              </a:pathLst>
            </a:custGeom>
            <a:solidFill>
              <a:srgbClr val="D0D0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53062E03-9AA7-5537-33B1-F6E147EB09D4}"/>
                </a:ext>
              </a:extLst>
            </p:cNvPr>
            <p:cNvSpPr/>
            <p:nvPr/>
          </p:nvSpPr>
          <p:spPr>
            <a:xfrm>
              <a:off x="9559289" y="2112645"/>
              <a:ext cx="582930" cy="316229"/>
            </a:xfrm>
            <a:custGeom>
              <a:avLst/>
              <a:gdLst>
                <a:gd name="connsiteX0" fmla="*/ 541020 w 582930"/>
                <a:gd name="connsiteY0" fmla="*/ 299085 h 316229"/>
                <a:gd name="connsiteX1" fmla="*/ 573405 w 582930"/>
                <a:gd name="connsiteY1" fmla="*/ 299085 h 316229"/>
                <a:gd name="connsiteX2" fmla="*/ 581978 w 582930"/>
                <a:gd name="connsiteY2" fmla="*/ 293370 h 316229"/>
                <a:gd name="connsiteX3" fmla="*/ 582930 w 582930"/>
                <a:gd name="connsiteY3" fmla="*/ 280988 h 316229"/>
                <a:gd name="connsiteX4" fmla="*/ 564833 w 582930"/>
                <a:gd name="connsiteY4" fmla="*/ 263842 h 316229"/>
                <a:gd name="connsiteX5" fmla="*/ 568643 w 582930"/>
                <a:gd name="connsiteY5" fmla="*/ 273367 h 316229"/>
                <a:gd name="connsiteX6" fmla="*/ 554355 w 582930"/>
                <a:gd name="connsiteY6" fmla="*/ 287655 h 316229"/>
                <a:gd name="connsiteX7" fmla="*/ 532448 w 582930"/>
                <a:gd name="connsiteY7" fmla="*/ 287655 h 316229"/>
                <a:gd name="connsiteX8" fmla="*/ 533400 w 582930"/>
                <a:gd name="connsiteY8" fmla="*/ 295275 h 316229"/>
                <a:gd name="connsiteX9" fmla="*/ 455295 w 582930"/>
                <a:gd name="connsiteY9" fmla="*/ 316230 h 316229"/>
                <a:gd name="connsiteX10" fmla="*/ 443865 w 582930"/>
                <a:gd name="connsiteY10" fmla="*/ 310515 h 316229"/>
                <a:gd name="connsiteX11" fmla="*/ 453390 w 582930"/>
                <a:gd name="connsiteY11" fmla="*/ 302895 h 316229"/>
                <a:gd name="connsiteX12" fmla="*/ 459105 w 582930"/>
                <a:gd name="connsiteY12" fmla="*/ 282892 h 316229"/>
                <a:gd name="connsiteX13" fmla="*/ 470535 w 582930"/>
                <a:gd name="connsiteY13" fmla="*/ 273367 h 316229"/>
                <a:gd name="connsiteX14" fmla="*/ 478155 w 582930"/>
                <a:gd name="connsiteY14" fmla="*/ 271463 h 316229"/>
                <a:gd name="connsiteX15" fmla="*/ 483870 w 582930"/>
                <a:gd name="connsiteY15" fmla="*/ 280035 h 316229"/>
                <a:gd name="connsiteX16" fmla="*/ 494348 w 582930"/>
                <a:gd name="connsiteY16" fmla="*/ 281940 h 316229"/>
                <a:gd name="connsiteX17" fmla="*/ 500063 w 582930"/>
                <a:gd name="connsiteY17" fmla="*/ 276225 h 316229"/>
                <a:gd name="connsiteX18" fmla="*/ 504825 w 582930"/>
                <a:gd name="connsiteY18" fmla="*/ 294322 h 316229"/>
                <a:gd name="connsiteX19" fmla="*/ 492443 w 582930"/>
                <a:gd name="connsiteY19" fmla="*/ 297180 h 316229"/>
                <a:gd name="connsiteX20" fmla="*/ 465773 w 582930"/>
                <a:gd name="connsiteY20" fmla="*/ 303847 h 316229"/>
                <a:gd name="connsiteX21" fmla="*/ 122873 w 582930"/>
                <a:gd name="connsiteY21" fmla="*/ 93345 h 316229"/>
                <a:gd name="connsiteX22" fmla="*/ 298133 w 582930"/>
                <a:gd name="connsiteY22" fmla="*/ 57150 h 316229"/>
                <a:gd name="connsiteX23" fmla="*/ 307658 w 582930"/>
                <a:gd name="connsiteY23" fmla="*/ 42863 h 316229"/>
                <a:gd name="connsiteX24" fmla="*/ 310515 w 582930"/>
                <a:gd name="connsiteY24" fmla="*/ 26670 h 316229"/>
                <a:gd name="connsiteX25" fmla="*/ 328613 w 582930"/>
                <a:gd name="connsiteY25" fmla="*/ 20955 h 316229"/>
                <a:gd name="connsiteX26" fmla="*/ 333375 w 582930"/>
                <a:gd name="connsiteY26" fmla="*/ 10477 h 316229"/>
                <a:gd name="connsiteX27" fmla="*/ 349568 w 582930"/>
                <a:gd name="connsiteY27" fmla="*/ 0 h 316229"/>
                <a:gd name="connsiteX28" fmla="*/ 361950 w 582930"/>
                <a:gd name="connsiteY28" fmla="*/ 2858 h 316229"/>
                <a:gd name="connsiteX29" fmla="*/ 378143 w 582930"/>
                <a:gd name="connsiteY29" fmla="*/ 34290 h 316229"/>
                <a:gd name="connsiteX30" fmla="*/ 387668 w 582930"/>
                <a:gd name="connsiteY30" fmla="*/ 38100 h 316229"/>
                <a:gd name="connsiteX31" fmla="*/ 398145 w 582930"/>
                <a:gd name="connsiteY31" fmla="*/ 25717 h 316229"/>
                <a:gd name="connsiteX32" fmla="*/ 405765 w 582930"/>
                <a:gd name="connsiteY32" fmla="*/ 38100 h 316229"/>
                <a:gd name="connsiteX33" fmla="*/ 405765 w 582930"/>
                <a:gd name="connsiteY33" fmla="*/ 48577 h 316229"/>
                <a:gd name="connsiteX34" fmla="*/ 377190 w 582930"/>
                <a:gd name="connsiteY34" fmla="*/ 71438 h 316229"/>
                <a:gd name="connsiteX35" fmla="*/ 379095 w 582930"/>
                <a:gd name="connsiteY35" fmla="*/ 79058 h 316229"/>
                <a:gd name="connsiteX36" fmla="*/ 370523 w 582930"/>
                <a:gd name="connsiteY36" fmla="*/ 88583 h 316229"/>
                <a:gd name="connsiteX37" fmla="*/ 374333 w 582930"/>
                <a:gd name="connsiteY37" fmla="*/ 96202 h 316229"/>
                <a:gd name="connsiteX38" fmla="*/ 361950 w 582930"/>
                <a:gd name="connsiteY38" fmla="*/ 99060 h 316229"/>
                <a:gd name="connsiteX39" fmla="*/ 370523 w 582930"/>
                <a:gd name="connsiteY39" fmla="*/ 110490 h 316229"/>
                <a:gd name="connsiteX40" fmla="*/ 362903 w 582930"/>
                <a:gd name="connsiteY40" fmla="*/ 117158 h 316229"/>
                <a:gd name="connsiteX41" fmla="*/ 368618 w 582930"/>
                <a:gd name="connsiteY41" fmla="*/ 126683 h 316229"/>
                <a:gd name="connsiteX42" fmla="*/ 377190 w 582930"/>
                <a:gd name="connsiteY42" fmla="*/ 124777 h 316229"/>
                <a:gd name="connsiteX43" fmla="*/ 380048 w 582930"/>
                <a:gd name="connsiteY43" fmla="*/ 117158 h 316229"/>
                <a:gd name="connsiteX44" fmla="*/ 390525 w 582930"/>
                <a:gd name="connsiteY44" fmla="*/ 122872 h 316229"/>
                <a:gd name="connsiteX45" fmla="*/ 407670 w 582930"/>
                <a:gd name="connsiteY45" fmla="*/ 122872 h 316229"/>
                <a:gd name="connsiteX46" fmla="*/ 431483 w 582930"/>
                <a:gd name="connsiteY46" fmla="*/ 147638 h 316229"/>
                <a:gd name="connsiteX47" fmla="*/ 433388 w 582930"/>
                <a:gd name="connsiteY47" fmla="*/ 172402 h 316229"/>
                <a:gd name="connsiteX48" fmla="*/ 450533 w 582930"/>
                <a:gd name="connsiteY48" fmla="*/ 173355 h 316229"/>
                <a:gd name="connsiteX49" fmla="*/ 458153 w 582930"/>
                <a:gd name="connsiteY49" fmla="*/ 183833 h 316229"/>
                <a:gd name="connsiteX50" fmla="*/ 463868 w 582930"/>
                <a:gd name="connsiteY50" fmla="*/ 202883 h 316229"/>
                <a:gd name="connsiteX51" fmla="*/ 473393 w 582930"/>
                <a:gd name="connsiteY51" fmla="*/ 209550 h 316229"/>
                <a:gd name="connsiteX52" fmla="*/ 491490 w 582930"/>
                <a:gd name="connsiteY52" fmla="*/ 209550 h 316229"/>
                <a:gd name="connsiteX53" fmla="*/ 509588 w 582930"/>
                <a:gd name="connsiteY53" fmla="*/ 208597 h 316229"/>
                <a:gd name="connsiteX54" fmla="*/ 517208 w 582930"/>
                <a:gd name="connsiteY54" fmla="*/ 200025 h 316229"/>
                <a:gd name="connsiteX55" fmla="*/ 532448 w 582930"/>
                <a:gd name="connsiteY55" fmla="*/ 188595 h 316229"/>
                <a:gd name="connsiteX56" fmla="*/ 542925 w 582930"/>
                <a:gd name="connsiteY56" fmla="*/ 185738 h 316229"/>
                <a:gd name="connsiteX57" fmla="*/ 531495 w 582930"/>
                <a:gd name="connsiteY57" fmla="*/ 165735 h 316229"/>
                <a:gd name="connsiteX58" fmla="*/ 528638 w 582930"/>
                <a:gd name="connsiteY58" fmla="*/ 174308 h 316229"/>
                <a:gd name="connsiteX59" fmla="*/ 514350 w 582930"/>
                <a:gd name="connsiteY59" fmla="*/ 140017 h 316229"/>
                <a:gd name="connsiteX60" fmla="*/ 506730 w 582930"/>
                <a:gd name="connsiteY60" fmla="*/ 140017 h 316229"/>
                <a:gd name="connsiteX61" fmla="*/ 502920 w 582930"/>
                <a:gd name="connsiteY61" fmla="*/ 148590 h 316229"/>
                <a:gd name="connsiteX62" fmla="*/ 491490 w 582930"/>
                <a:gd name="connsiteY62" fmla="*/ 139065 h 316229"/>
                <a:gd name="connsiteX63" fmla="*/ 503873 w 582930"/>
                <a:gd name="connsiteY63" fmla="*/ 128588 h 316229"/>
                <a:gd name="connsiteX64" fmla="*/ 521018 w 582930"/>
                <a:gd name="connsiteY64" fmla="*/ 132397 h 316229"/>
                <a:gd name="connsiteX65" fmla="*/ 542925 w 582930"/>
                <a:gd name="connsiteY65" fmla="*/ 152400 h 316229"/>
                <a:gd name="connsiteX66" fmla="*/ 555308 w 582930"/>
                <a:gd name="connsiteY66" fmla="*/ 178117 h 316229"/>
                <a:gd name="connsiteX67" fmla="*/ 566738 w 582930"/>
                <a:gd name="connsiteY67" fmla="*/ 209550 h 316229"/>
                <a:gd name="connsiteX68" fmla="*/ 557213 w 582930"/>
                <a:gd name="connsiteY68" fmla="*/ 236220 h 316229"/>
                <a:gd name="connsiteX69" fmla="*/ 557213 w 582930"/>
                <a:gd name="connsiteY69" fmla="*/ 219075 h 316229"/>
                <a:gd name="connsiteX70" fmla="*/ 550545 w 582930"/>
                <a:gd name="connsiteY70" fmla="*/ 209550 h 316229"/>
                <a:gd name="connsiteX71" fmla="*/ 517208 w 582930"/>
                <a:gd name="connsiteY71" fmla="*/ 231458 h 316229"/>
                <a:gd name="connsiteX72" fmla="*/ 508635 w 582930"/>
                <a:gd name="connsiteY72" fmla="*/ 228600 h 316229"/>
                <a:gd name="connsiteX73" fmla="*/ 493395 w 582930"/>
                <a:gd name="connsiteY73" fmla="*/ 238125 h 316229"/>
                <a:gd name="connsiteX74" fmla="*/ 492443 w 582930"/>
                <a:gd name="connsiteY74" fmla="*/ 249555 h 316229"/>
                <a:gd name="connsiteX75" fmla="*/ 471488 w 582930"/>
                <a:gd name="connsiteY75" fmla="*/ 260985 h 316229"/>
                <a:gd name="connsiteX76" fmla="*/ 452438 w 582930"/>
                <a:gd name="connsiteY76" fmla="*/ 280988 h 316229"/>
                <a:gd name="connsiteX77" fmla="*/ 433388 w 582930"/>
                <a:gd name="connsiteY77" fmla="*/ 299085 h 316229"/>
                <a:gd name="connsiteX78" fmla="*/ 421958 w 582930"/>
                <a:gd name="connsiteY78" fmla="*/ 299085 h 316229"/>
                <a:gd name="connsiteX79" fmla="*/ 453390 w 582930"/>
                <a:gd name="connsiteY79" fmla="*/ 267652 h 316229"/>
                <a:gd name="connsiteX80" fmla="*/ 458153 w 582930"/>
                <a:gd name="connsiteY80" fmla="*/ 249555 h 316229"/>
                <a:gd name="connsiteX81" fmla="*/ 453390 w 582930"/>
                <a:gd name="connsiteY81" fmla="*/ 243840 h 316229"/>
                <a:gd name="connsiteX82" fmla="*/ 450533 w 582930"/>
                <a:gd name="connsiteY82" fmla="*/ 231458 h 316229"/>
                <a:gd name="connsiteX83" fmla="*/ 441960 w 582930"/>
                <a:gd name="connsiteY83" fmla="*/ 230505 h 316229"/>
                <a:gd name="connsiteX84" fmla="*/ 441008 w 582930"/>
                <a:gd name="connsiteY84" fmla="*/ 242888 h 316229"/>
                <a:gd name="connsiteX85" fmla="*/ 431483 w 582930"/>
                <a:gd name="connsiteY85" fmla="*/ 254317 h 316229"/>
                <a:gd name="connsiteX86" fmla="*/ 420053 w 582930"/>
                <a:gd name="connsiteY86" fmla="*/ 254317 h 316229"/>
                <a:gd name="connsiteX87" fmla="*/ 417195 w 582930"/>
                <a:gd name="connsiteY87" fmla="*/ 264795 h 316229"/>
                <a:gd name="connsiteX88" fmla="*/ 421005 w 582930"/>
                <a:gd name="connsiteY88" fmla="*/ 276225 h 316229"/>
                <a:gd name="connsiteX89" fmla="*/ 409575 w 582930"/>
                <a:gd name="connsiteY89" fmla="*/ 286702 h 316229"/>
                <a:gd name="connsiteX90" fmla="*/ 399098 w 582930"/>
                <a:gd name="connsiteY90" fmla="*/ 284797 h 316229"/>
                <a:gd name="connsiteX91" fmla="*/ 395288 w 582930"/>
                <a:gd name="connsiteY91" fmla="*/ 294322 h 316229"/>
                <a:gd name="connsiteX92" fmla="*/ 381953 w 582930"/>
                <a:gd name="connsiteY92" fmla="*/ 265747 h 316229"/>
                <a:gd name="connsiteX93" fmla="*/ 369570 w 582930"/>
                <a:gd name="connsiteY93" fmla="*/ 255270 h 316229"/>
                <a:gd name="connsiteX94" fmla="*/ 344805 w 582930"/>
                <a:gd name="connsiteY94" fmla="*/ 242888 h 316229"/>
                <a:gd name="connsiteX95" fmla="*/ 339090 w 582930"/>
                <a:gd name="connsiteY95" fmla="*/ 221933 h 316229"/>
                <a:gd name="connsiteX96" fmla="*/ 331470 w 582930"/>
                <a:gd name="connsiteY96" fmla="*/ 221933 h 316229"/>
                <a:gd name="connsiteX97" fmla="*/ 324803 w 582930"/>
                <a:gd name="connsiteY97" fmla="*/ 197167 h 316229"/>
                <a:gd name="connsiteX98" fmla="*/ 262890 w 582930"/>
                <a:gd name="connsiteY98" fmla="*/ 216217 h 316229"/>
                <a:gd name="connsiteX99" fmla="*/ 261938 w 582930"/>
                <a:gd name="connsiteY99" fmla="*/ 213360 h 316229"/>
                <a:gd name="connsiteX100" fmla="*/ 120015 w 582930"/>
                <a:gd name="connsiteY100" fmla="*/ 245745 h 316229"/>
                <a:gd name="connsiteX101" fmla="*/ 120015 w 582930"/>
                <a:gd name="connsiteY101" fmla="*/ 252413 h 316229"/>
                <a:gd name="connsiteX102" fmla="*/ 111443 w 582930"/>
                <a:gd name="connsiteY102" fmla="*/ 255270 h 316229"/>
                <a:gd name="connsiteX103" fmla="*/ 106680 w 582930"/>
                <a:gd name="connsiteY103" fmla="*/ 248602 h 316229"/>
                <a:gd name="connsiteX104" fmla="*/ 6668 w 582930"/>
                <a:gd name="connsiteY104" fmla="*/ 271463 h 316229"/>
                <a:gd name="connsiteX105" fmla="*/ 0 w 582930"/>
                <a:gd name="connsiteY105" fmla="*/ 261938 h 316229"/>
                <a:gd name="connsiteX106" fmla="*/ 4763 w 582930"/>
                <a:gd name="connsiteY106" fmla="*/ 119063 h 316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</a:cxnLst>
              <a:rect l="l" t="t" r="r" b="b"/>
              <a:pathLst>
                <a:path w="582930" h="316229">
                  <a:moveTo>
                    <a:pt x="541020" y="299085"/>
                  </a:moveTo>
                  <a:lnTo>
                    <a:pt x="573405" y="299085"/>
                  </a:lnTo>
                  <a:lnTo>
                    <a:pt x="581978" y="293370"/>
                  </a:lnTo>
                  <a:lnTo>
                    <a:pt x="582930" y="280988"/>
                  </a:lnTo>
                  <a:lnTo>
                    <a:pt x="564833" y="263842"/>
                  </a:lnTo>
                  <a:lnTo>
                    <a:pt x="568643" y="273367"/>
                  </a:lnTo>
                  <a:lnTo>
                    <a:pt x="554355" y="287655"/>
                  </a:lnTo>
                  <a:lnTo>
                    <a:pt x="532448" y="287655"/>
                  </a:lnTo>
                  <a:lnTo>
                    <a:pt x="533400" y="295275"/>
                  </a:lnTo>
                  <a:close/>
                  <a:moveTo>
                    <a:pt x="455295" y="316230"/>
                  </a:moveTo>
                  <a:lnTo>
                    <a:pt x="443865" y="310515"/>
                  </a:lnTo>
                  <a:lnTo>
                    <a:pt x="453390" y="302895"/>
                  </a:lnTo>
                  <a:lnTo>
                    <a:pt x="459105" y="282892"/>
                  </a:lnTo>
                  <a:lnTo>
                    <a:pt x="470535" y="273367"/>
                  </a:lnTo>
                  <a:lnTo>
                    <a:pt x="478155" y="271463"/>
                  </a:lnTo>
                  <a:lnTo>
                    <a:pt x="483870" y="280035"/>
                  </a:lnTo>
                  <a:lnTo>
                    <a:pt x="494348" y="281940"/>
                  </a:lnTo>
                  <a:lnTo>
                    <a:pt x="500063" y="276225"/>
                  </a:lnTo>
                  <a:lnTo>
                    <a:pt x="504825" y="294322"/>
                  </a:lnTo>
                  <a:lnTo>
                    <a:pt x="492443" y="297180"/>
                  </a:lnTo>
                  <a:lnTo>
                    <a:pt x="465773" y="303847"/>
                  </a:lnTo>
                  <a:close/>
                  <a:moveTo>
                    <a:pt x="122873" y="93345"/>
                  </a:moveTo>
                  <a:lnTo>
                    <a:pt x="298133" y="57150"/>
                  </a:lnTo>
                  <a:lnTo>
                    <a:pt x="307658" y="42863"/>
                  </a:lnTo>
                  <a:lnTo>
                    <a:pt x="310515" y="26670"/>
                  </a:lnTo>
                  <a:lnTo>
                    <a:pt x="328613" y="20955"/>
                  </a:lnTo>
                  <a:lnTo>
                    <a:pt x="333375" y="10477"/>
                  </a:lnTo>
                  <a:lnTo>
                    <a:pt x="349568" y="0"/>
                  </a:lnTo>
                  <a:lnTo>
                    <a:pt x="361950" y="2858"/>
                  </a:lnTo>
                  <a:lnTo>
                    <a:pt x="378143" y="34290"/>
                  </a:lnTo>
                  <a:lnTo>
                    <a:pt x="387668" y="38100"/>
                  </a:lnTo>
                  <a:lnTo>
                    <a:pt x="398145" y="25717"/>
                  </a:lnTo>
                  <a:lnTo>
                    <a:pt x="405765" y="38100"/>
                  </a:lnTo>
                  <a:lnTo>
                    <a:pt x="405765" y="48577"/>
                  </a:lnTo>
                  <a:lnTo>
                    <a:pt x="377190" y="71438"/>
                  </a:lnTo>
                  <a:lnTo>
                    <a:pt x="379095" y="79058"/>
                  </a:lnTo>
                  <a:lnTo>
                    <a:pt x="370523" y="88583"/>
                  </a:lnTo>
                  <a:lnTo>
                    <a:pt x="374333" y="96202"/>
                  </a:lnTo>
                  <a:lnTo>
                    <a:pt x="361950" y="99060"/>
                  </a:lnTo>
                  <a:lnTo>
                    <a:pt x="370523" y="110490"/>
                  </a:lnTo>
                  <a:lnTo>
                    <a:pt x="362903" y="117158"/>
                  </a:lnTo>
                  <a:lnTo>
                    <a:pt x="368618" y="126683"/>
                  </a:lnTo>
                  <a:lnTo>
                    <a:pt x="377190" y="124777"/>
                  </a:lnTo>
                  <a:lnTo>
                    <a:pt x="380048" y="117158"/>
                  </a:lnTo>
                  <a:lnTo>
                    <a:pt x="390525" y="122872"/>
                  </a:lnTo>
                  <a:lnTo>
                    <a:pt x="407670" y="122872"/>
                  </a:lnTo>
                  <a:lnTo>
                    <a:pt x="431483" y="147638"/>
                  </a:lnTo>
                  <a:lnTo>
                    <a:pt x="433388" y="172402"/>
                  </a:lnTo>
                  <a:lnTo>
                    <a:pt x="450533" y="173355"/>
                  </a:lnTo>
                  <a:lnTo>
                    <a:pt x="458153" y="183833"/>
                  </a:lnTo>
                  <a:lnTo>
                    <a:pt x="463868" y="202883"/>
                  </a:lnTo>
                  <a:lnTo>
                    <a:pt x="473393" y="209550"/>
                  </a:lnTo>
                  <a:lnTo>
                    <a:pt x="491490" y="209550"/>
                  </a:lnTo>
                  <a:lnTo>
                    <a:pt x="509588" y="208597"/>
                  </a:lnTo>
                  <a:lnTo>
                    <a:pt x="517208" y="200025"/>
                  </a:lnTo>
                  <a:lnTo>
                    <a:pt x="532448" y="188595"/>
                  </a:lnTo>
                  <a:lnTo>
                    <a:pt x="542925" y="185738"/>
                  </a:lnTo>
                  <a:lnTo>
                    <a:pt x="531495" y="165735"/>
                  </a:lnTo>
                  <a:lnTo>
                    <a:pt x="528638" y="174308"/>
                  </a:lnTo>
                  <a:lnTo>
                    <a:pt x="514350" y="140017"/>
                  </a:lnTo>
                  <a:lnTo>
                    <a:pt x="506730" y="140017"/>
                  </a:lnTo>
                  <a:lnTo>
                    <a:pt x="502920" y="148590"/>
                  </a:lnTo>
                  <a:lnTo>
                    <a:pt x="491490" y="139065"/>
                  </a:lnTo>
                  <a:lnTo>
                    <a:pt x="503873" y="128588"/>
                  </a:lnTo>
                  <a:lnTo>
                    <a:pt x="521018" y="132397"/>
                  </a:lnTo>
                  <a:lnTo>
                    <a:pt x="542925" y="152400"/>
                  </a:lnTo>
                  <a:lnTo>
                    <a:pt x="555308" y="178117"/>
                  </a:lnTo>
                  <a:lnTo>
                    <a:pt x="566738" y="209550"/>
                  </a:lnTo>
                  <a:lnTo>
                    <a:pt x="557213" y="236220"/>
                  </a:lnTo>
                  <a:lnTo>
                    <a:pt x="557213" y="219075"/>
                  </a:lnTo>
                  <a:lnTo>
                    <a:pt x="550545" y="209550"/>
                  </a:lnTo>
                  <a:lnTo>
                    <a:pt x="517208" y="231458"/>
                  </a:lnTo>
                  <a:lnTo>
                    <a:pt x="508635" y="228600"/>
                  </a:lnTo>
                  <a:lnTo>
                    <a:pt x="493395" y="238125"/>
                  </a:lnTo>
                  <a:lnTo>
                    <a:pt x="492443" y="249555"/>
                  </a:lnTo>
                  <a:lnTo>
                    <a:pt x="471488" y="260985"/>
                  </a:lnTo>
                  <a:lnTo>
                    <a:pt x="452438" y="280988"/>
                  </a:lnTo>
                  <a:lnTo>
                    <a:pt x="433388" y="299085"/>
                  </a:lnTo>
                  <a:lnTo>
                    <a:pt x="421958" y="299085"/>
                  </a:lnTo>
                  <a:lnTo>
                    <a:pt x="453390" y="267652"/>
                  </a:lnTo>
                  <a:lnTo>
                    <a:pt x="458153" y="249555"/>
                  </a:lnTo>
                  <a:lnTo>
                    <a:pt x="453390" y="243840"/>
                  </a:lnTo>
                  <a:lnTo>
                    <a:pt x="450533" y="231458"/>
                  </a:lnTo>
                  <a:lnTo>
                    <a:pt x="441960" y="230505"/>
                  </a:lnTo>
                  <a:lnTo>
                    <a:pt x="441008" y="242888"/>
                  </a:lnTo>
                  <a:lnTo>
                    <a:pt x="431483" y="254317"/>
                  </a:lnTo>
                  <a:lnTo>
                    <a:pt x="420053" y="254317"/>
                  </a:lnTo>
                  <a:lnTo>
                    <a:pt x="417195" y="264795"/>
                  </a:lnTo>
                  <a:lnTo>
                    <a:pt x="421005" y="276225"/>
                  </a:lnTo>
                  <a:lnTo>
                    <a:pt x="409575" y="286702"/>
                  </a:lnTo>
                  <a:lnTo>
                    <a:pt x="399098" y="284797"/>
                  </a:lnTo>
                  <a:lnTo>
                    <a:pt x="395288" y="294322"/>
                  </a:lnTo>
                  <a:lnTo>
                    <a:pt x="381953" y="265747"/>
                  </a:lnTo>
                  <a:lnTo>
                    <a:pt x="369570" y="255270"/>
                  </a:lnTo>
                  <a:lnTo>
                    <a:pt x="344805" y="242888"/>
                  </a:lnTo>
                  <a:lnTo>
                    <a:pt x="339090" y="221933"/>
                  </a:lnTo>
                  <a:lnTo>
                    <a:pt x="331470" y="221933"/>
                  </a:lnTo>
                  <a:lnTo>
                    <a:pt x="324803" y="197167"/>
                  </a:lnTo>
                  <a:lnTo>
                    <a:pt x="262890" y="216217"/>
                  </a:lnTo>
                  <a:lnTo>
                    <a:pt x="261938" y="213360"/>
                  </a:lnTo>
                  <a:lnTo>
                    <a:pt x="120015" y="245745"/>
                  </a:lnTo>
                  <a:lnTo>
                    <a:pt x="120015" y="252413"/>
                  </a:lnTo>
                  <a:lnTo>
                    <a:pt x="111443" y="255270"/>
                  </a:lnTo>
                  <a:lnTo>
                    <a:pt x="106680" y="248602"/>
                  </a:lnTo>
                  <a:lnTo>
                    <a:pt x="6668" y="271463"/>
                  </a:lnTo>
                  <a:lnTo>
                    <a:pt x="0" y="261938"/>
                  </a:lnTo>
                  <a:lnTo>
                    <a:pt x="4763" y="119063"/>
                  </a:lnTo>
                  <a:close/>
                </a:path>
              </a:pathLst>
            </a:custGeom>
            <a:solidFill>
              <a:srgbClr val="D0D0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69A81075-648D-2BF1-6E95-A3E0ED62B704}"/>
                </a:ext>
              </a:extLst>
            </p:cNvPr>
            <p:cNvSpPr/>
            <p:nvPr/>
          </p:nvSpPr>
          <p:spPr>
            <a:xfrm>
              <a:off x="6916101" y="1465897"/>
              <a:ext cx="1263967" cy="1317307"/>
            </a:xfrm>
            <a:custGeom>
              <a:avLst/>
              <a:gdLst>
                <a:gd name="connsiteX0" fmla="*/ 930593 w 1263967"/>
                <a:gd name="connsiteY0" fmla="*/ 1284923 h 1317307"/>
                <a:gd name="connsiteX1" fmla="*/ 931545 w 1263967"/>
                <a:gd name="connsiteY1" fmla="*/ 1298258 h 1317307"/>
                <a:gd name="connsiteX2" fmla="*/ 1135380 w 1263967"/>
                <a:gd name="connsiteY2" fmla="*/ 1264920 h 1317307"/>
                <a:gd name="connsiteX3" fmla="*/ 1140143 w 1263967"/>
                <a:gd name="connsiteY3" fmla="*/ 1253490 h 1317307"/>
                <a:gd name="connsiteX4" fmla="*/ 1177290 w 1263967"/>
                <a:gd name="connsiteY4" fmla="*/ 1197293 h 1317307"/>
                <a:gd name="connsiteX5" fmla="*/ 1177290 w 1263967"/>
                <a:gd name="connsiteY5" fmla="*/ 1156335 h 1317307"/>
                <a:gd name="connsiteX6" fmla="*/ 1184910 w 1263967"/>
                <a:gd name="connsiteY6" fmla="*/ 1136333 h 1317307"/>
                <a:gd name="connsiteX7" fmla="*/ 1205865 w 1263967"/>
                <a:gd name="connsiteY7" fmla="*/ 1128712 h 1317307"/>
                <a:gd name="connsiteX8" fmla="*/ 1224915 w 1263967"/>
                <a:gd name="connsiteY8" fmla="*/ 1054418 h 1317307"/>
                <a:gd name="connsiteX9" fmla="*/ 1234440 w 1263967"/>
                <a:gd name="connsiteY9" fmla="*/ 1049655 h 1317307"/>
                <a:gd name="connsiteX10" fmla="*/ 1243965 w 1263967"/>
                <a:gd name="connsiteY10" fmla="*/ 1055370 h 1317307"/>
                <a:gd name="connsiteX11" fmla="*/ 1242060 w 1263967"/>
                <a:gd name="connsiteY11" fmla="*/ 1061085 h 1317307"/>
                <a:gd name="connsiteX12" fmla="*/ 1231583 w 1263967"/>
                <a:gd name="connsiteY12" fmla="*/ 1068705 h 1317307"/>
                <a:gd name="connsiteX13" fmla="*/ 1234440 w 1263967"/>
                <a:gd name="connsiteY13" fmla="*/ 1077278 h 1317307"/>
                <a:gd name="connsiteX14" fmla="*/ 1242060 w 1263967"/>
                <a:gd name="connsiteY14" fmla="*/ 1081087 h 1317307"/>
                <a:gd name="connsiteX15" fmla="*/ 1260158 w 1263967"/>
                <a:gd name="connsiteY15" fmla="*/ 1067753 h 1317307"/>
                <a:gd name="connsiteX16" fmla="*/ 1263968 w 1263967"/>
                <a:gd name="connsiteY16" fmla="*/ 974407 h 1317307"/>
                <a:gd name="connsiteX17" fmla="*/ 1248728 w 1263967"/>
                <a:gd name="connsiteY17" fmla="*/ 952500 h 1317307"/>
                <a:gd name="connsiteX18" fmla="*/ 1237298 w 1263967"/>
                <a:gd name="connsiteY18" fmla="*/ 917257 h 1317307"/>
                <a:gd name="connsiteX19" fmla="*/ 1237298 w 1263967"/>
                <a:gd name="connsiteY19" fmla="*/ 893445 h 1317307"/>
                <a:gd name="connsiteX20" fmla="*/ 1215390 w 1263967"/>
                <a:gd name="connsiteY20" fmla="*/ 851535 h 1317307"/>
                <a:gd name="connsiteX21" fmla="*/ 1215390 w 1263967"/>
                <a:gd name="connsiteY21" fmla="*/ 834390 h 1317307"/>
                <a:gd name="connsiteX22" fmla="*/ 1203960 w 1263967"/>
                <a:gd name="connsiteY22" fmla="*/ 802957 h 1317307"/>
                <a:gd name="connsiteX23" fmla="*/ 1182053 w 1263967"/>
                <a:gd name="connsiteY23" fmla="*/ 774382 h 1317307"/>
                <a:gd name="connsiteX24" fmla="*/ 1154430 w 1263967"/>
                <a:gd name="connsiteY24" fmla="*/ 764857 h 1317307"/>
                <a:gd name="connsiteX25" fmla="*/ 1108710 w 1263967"/>
                <a:gd name="connsiteY25" fmla="*/ 793432 h 1317307"/>
                <a:gd name="connsiteX26" fmla="*/ 1084898 w 1263967"/>
                <a:gd name="connsiteY26" fmla="*/ 837248 h 1317307"/>
                <a:gd name="connsiteX27" fmla="*/ 1082993 w 1263967"/>
                <a:gd name="connsiteY27" fmla="*/ 845820 h 1317307"/>
                <a:gd name="connsiteX28" fmla="*/ 1054418 w 1263967"/>
                <a:gd name="connsiteY28" fmla="*/ 879157 h 1317307"/>
                <a:gd name="connsiteX29" fmla="*/ 1040130 w 1263967"/>
                <a:gd name="connsiteY29" fmla="*/ 877253 h 1317307"/>
                <a:gd name="connsiteX30" fmla="*/ 1012508 w 1263967"/>
                <a:gd name="connsiteY30" fmla="*/ 850582 h 1317307"/>
                <a:gd name="connsiteX31" fmla="*/ 1011555 w 1263967"/>
                <a:gd name="connsiteY31" fmla="*/ 818198 h 1317307"/>
                <a:gd name="connsiteX32" fmla="*/ 1025843 w 1263967"/>
                <a:gd name="connsiteY32" fmla="*/ 800100 h 1317307"/>
                <a:gd name="connsiteX33" fmla="*/ 1044893 w 1263967"/>
                <a:gd name="connsiteY33" fmla="*/ 798195 h 1317307"/>
                <a:gd name="connsiteX34" fmla="*/ 1056323 w 1263967"/>
                <a:gd name="connsiteY34" fmla="*/ 782003 h 1317307"/>
                <a:gd name="connsiteX35" fmla="*/ 1058228 w 1263967"/>
                <a:gd name="connsiteY35" fmla="*/ 743903 h 1317307"/>
                <a:gd name="connsiteX36" fmla="*/ 1065848 w 1263967"/>
                <a:gd name="connsiteY36" fmla="*/ 736282 h 1317307"/>
                <a:gd name="connsiteX37" fmla="*/ 1076325 w 1263967"/>
                <a:gd name="connsiteY37" fmla="*/ 735330 h 1317307"/>
                <a:gd name="connsiteX38" fmla="*/ 1084898 w 1263967"/>
                <a:gd name="connsiteY38" fmla="*/ 719137 h 1317307"/>
                <a:gd name="connsiteX39" fmla="*/ 1082993 w 1263967"/>
                <a:gd name="connsiteY39" fmla="*/ 627698 h 1317307"/>
                <a:gd name="connsiteX40" fmla="*/ 1080135 w 1263967"/>
                <a:gd name="connsiteY40" fmla="*/ 615315 h 1317307"/>
                <a:gd name="connsiteX41" fmla="*/ 1068705 w 1263967"/>
                <a:gd name="connsiteY41" fmla="*/ 603885 h 1317307"/>
                <a:gd name="connsiteX42" fmla="*/ 1052513 w 1263967"/>
                <a:gd name="connsiteY42" fmla="*/ 594360 h 1317307"/>
                <a:gd name="connsiteX43" fmla="*/ 1051560 w 1263967"/>
                <a:gd name="connsiteY43" fmla="*/ 577215 h 1317307"/>
                <a:gd name="connsiteX44" fmla="*/ 1058228 w 1263967"/>
                <a:gd name="connsiteY44" fmla="*/ 571500 h 1317307"/>
                <a:gd name="connsiteX45" fmla="*/ 1075373 w 1263967"/>
                <a:gd name="connsiteY45" fmla="*/ 579120 h 1317307"/>
                <a:gd name="connsiteX46" fmla="*/ 1072515 w 1263967"/>
                <a:gd name="connsiteY46" fmla="*/ 562928 h 1317307"/>
                <a:gd name="connsiteX47" fmla="*/ 1054418 w 1263967"/>
                <a:gd name="connsiteY47" fmla="*/ 537210 h 1317307"/>
                <a:gd name="connsiteX48" fmla="*/ 1047750 w 1263967"/>
                <a:gd name="connsiteY48" fmla="*/ 521970 h 1317307"/>
                <a:gd name="connsiteX49" fmla="*/ 1037273 w 1263967"/>
                <a:gd name="connsiteY49" fmla="*/ 511493 h 1317307"/>
                <a:gd name="connsiteX50" fmla="*/ 1016318 w 1263967"/>
                <a:gd name="connsiteY50" fmla="*/ 511493 h 1317307"/>
                <a:gd name="connsiteX51" fmla="*/ 939165 w 1263967"/>
                <a:gd name="connsiteY51" fmla="*/ 483870 h 1317307"/>
                <a:gd name="connsiteX52" fmla="*/ 925830 w 1263967"/>
                <a:gd name="connsiteY52" fmla="*/ 467678 h 1317307"/>
                <a:gd name="connsiteX53" fmla="*/ 896303 w 1263967"/>
                <a:gd name="connsiteY53" fmla="*/ 464820 h 1317307"/>
                <a:gd name="connsiteX54" fmla="*/ 884873 w 1263967"/>
                <a:gd name="connsiteY54" fmla="*/ 467678 h 1317307"/>
                <a:gd name="connsiteX55" fmla="*/ 842963 w 1263967"/>
                <a:gd name="connsiteY55" fmla="*/ 445770 h 1317307"/>
                <a:gd name="connsiteX56" fmla="*/ 829628 w 1263967"/>
                <a:gd name="connsiteY56" fmla="*/ 445770 h 1317307"/>
                <a:gd name="connsiteX57" fmla="*/ 834390 w 1263967"/>
                <a:gd name="connsiteY57" fmla="*/ 455295 h 1317307"/>
                <a:gd name="connsiteX58" fmla="*/ 808673 w 1263967"/>
                <a:gd name="connsiteY58" fmla="*/ 454342 h 1317307"/>
                <a:gd name="connsiteX59" fmla="*/ 809625 w 1263967"/>
                <a:gd name="connsiteY59" fmla="*/ 460057 h 1317307"/>
                <a:gd name="connsiteX60" fmla="*/ 815340 w 1263967"/>
                <a:gd name="connsiteY60" fmla="*/ 465773 h 1317307"/>
                <a:gd name="connsiteX61" fmla="*/ 791528 w 1263967"/>
                <a:gd name="connsiteY61" fmla="*/ 485775 h 1317307"/>
                <a:gd name="connsiteX62" fmla="*/ 792480 w 1263967"/>
                <a:gd name="connsiteY62" fmla="*/ 502920 h 1317307"/>
                <a:gd name="connsiteX63" fmla="*/ 806768 w 1263967"/>
                <a:gd name="connsiteY63" fmla="*/ 524828 h 1317307"/>
                <a:gd name="connsiteX64" fmla="*/ 821055 w 1263967"/>
                <a:gd name="connsiteY64" fmla="*/ 526732 h 1317307"/>
                <a:gd name="connsiteX65" fmla="*/ 821055 w 1263967"/>
                <a:gd name="connsiteY65" fmla="*/ 532448 h 1317307"/>
                <a:gd name="connsiteX66" fmla="*/ 806768 w 1263967"/>
                <a:gd name="connsiteY66" fmla="*/ 537210 h 1317307"/>
                <a:gd name="connsiteX67" fmla="*/ 786765 w 1263967"/>
                <a:gd name="connsiteY67" fmla="*/ 536257 h 1317307"/>
                <a:gd name="connsiteX68" fmla="*/ 760095 w 1263967"/>
                <a:gd name="connsiteY68" fmla="*/ 560070 h 1317307"/>
                <a:gd name="connsiteX69" fmla="*/ 761048 w 1263967"/>
                <a:gd name="connsiteY69" fmla="*/ 583882 h 1317307"/>
                <a:gd name="connsiteX70" fmla="*/ 764858 w 1263967"/>
                <a:gd name="connsiteY70" fmla="*/ 639128 h 1317307"/>
                <a:gd name="connsiteX71" fmla="*/ 743903 w 1263967"/>
                <a:gd name="connsiteY71" fmla="*/ 671512 h 1317307"/>
                <a:gd name="connsiteX72" fmla="*/ 751523 w 1263967"/>
                <a:gd name="connsiteY72" fmla="*/ 628650 h 1317307"/>
                <a:gd name="connsiteX73" fmla="*/ 743903 w 1263967"/>
                <a:gd name="connsiteY73" fmla="*/ 622935 h 1317307"/>
                <a:gd name="connsiteX74" fmla="*/ 735330 w 1263967"/>
                <a:gd name="connsiteY74" fmla="*/ 673418 h 1317307"/>
                <a:gd name="connsiteX75" fmla="*/ 725805 w 1263967"/>
                <a:gd name="connsiteY75" fmla="*/ 651510 h 1317307"/>
                <a:gd name="connsiteX76" fmla="*/ 730568 w 1263967"/>
                <a:gd name="connsiteY76" fmla="*/ 629603 h 1317307"/>
                <a:gd name="connsiteX77" fmla="*/ 725805 w 1263967"/>
                <a:gd name="connsiteY77" fmla="*/ 620078 h 1317307"/>
                <a:gd name="connsiteX78" fmla="*/ 731520 w 1263967"/>
                <a:gd name="connsiteY78" fmla="*/ 607695 h 1317307"/>
                <a:gd name="connsiteX79" fmla="*/ 725805 w 1263967"/>
                <a:gd name="connsiteY79" fmla="*/ 597218 h 1317307"/>
                <a:gd name="connsiteX80" fmla="*/ 735330 w 1263967"/>
                <a:gd name="connsiteY80" fmla="*/ 587693 h 1317307"/>
                <a:gd name="connsiteX81" fmla="*/ 735330 w 1263967"/>
                <a:gd name="connsiteY81" fmla="*/ 576262 h 1317307"/>
                <a:gd name="connsiteX82" fmla="*/ 722948 w 1263967"/>
                <a:gd name="connsiteY82" fmla="*/ 581978 h 1317307"/>
                <a:gd name="connsiteX83" fmla="*/ 710565 w 1263967"/>
                <a:gd name="connsiteY83" fmla="*/ 611505 h 1317307"/>
                <a:gd name="connsiteX84" fmla="*/ 703898 w 1263967"/>
                <a:gd name="connsiteY84" fmla="*/ 618173 h 1317307"/>
                <a:gd name="connsiteX85" fmla="*/ 691515 w 1263967"/>
                <a:gd name="connsiteY85" fmla="*/ 641032 h 1317307"/>
                <a:gd name="connsiteX86" fmla="*/ 675323 w 1263967"/>
                <a:gd name="connsiteY86" fmla="*/ 639128 h 1317307"/>
                <a:gd name="connsiteX87" fmla="*/ 674370 w 1263967"/>
                <a:gd name="connsiteY87" fmla="*/ 650557 h 1317307"/>
                <a:gd name="connsiteX88" fmla="*/ 659130 w 1263967"/>
                <a:gd name="connsiteY88" fmla="*/ 650557 h 1317307"/>
                <a:gd name="connsiteX89" fmla="*/ 661035 w 1263967"/>
                <a:gd name="connsiteY89" fmla="*/ 664845 h 1317307"/>
                <a:gd name="connsiteX90" fmla="*/ 662940 w 1263967"/>
                <a:gd name="connsiteY90" fmla="*/ 683895 h 1317307"/>
                <a:gd name="connsiteX91" fmla="*/ 634365 w 1263967"/>
                <a:gd name="connsiteY91" fmla="*/ 695325 h 1317307"/>
                <a:gd name="connsiteX92" fmla="*/ 635318 w 1263967"/>
                <a:gd name="connsiteY92" fmla="*/ 707707 h 1317307"/>
                <a:gd name="connsiteX93" fmla="*/ 644843 w 1263967"/>
                <a:gd name="connsiteY93" fmla="*/ 723900 h 1317307"/>
                <a:gd name="connsiteX94" fmla="*/ 643890 w 1263967"/>
                <a:gd name="connsiteY94" fmla="*/ 773430 h 1317307"/>
                <a:gd name="connsiteX95" fmla="*/ 631508 w 1263967"/>
                <a:gd name="connsiteY95" fmla="*/ 815340 h 1317307"/>
                <a:gd name="connsiteX96" fmla="*/ 615315 w 1263967"/>
                <a:gd name="connsiteY96" fmla="*/ 839153 h 1317307"/>
                <a:gd name="connsiteX97" fmla="*/ 626745 w 1263967"/>
                <a:gd name="connsiteY97" fmla="*/ 852487 h 1317307"/>
                <a:gd name="connsiteX98" fmla="*/ 634365 w 1263967"/>
                <a:gd name="connsiteY98" fmla="*/ 885825 h 1317307"/>
                <a:gd name="connsiteX99" fmla="*/ 624840 w 1263967"/>
                <a:gd name="connsiteY99" fmla="*/ 909637 h 1317307"/>
                <a:gd name="connsiteX100" fmla="*/ 622935 w 1263967"/>
                <a:gd name="connsiteY100" fmla="*/ 929640 h 1317307"/>
                <a:gd name="connsiteX101" fmla="*/ 639128 w 1263967"/>
                <a:gd name="connsiteY101" fmla="*/ 962025 h 1317307"/>
                <a:gd name="connsiteX102" fmla="*/ 662940 w 1263967"/>
                <a:gd name="connsiteY102" fmla="*/ 1008698 h 1317307"/>
                <a:gd name="connsiteX103" fmla="*/ 674370 w 1263967"/>
                <a:gd name="connsiteY103" fmla="*/ 1026795 h 1317307"/>
                <a:gd name="connsiteX104" fmla="*/ 689610 w 1263967"/>
                <a:gd name="connsiteY104" fmla="*/ 1092518 h 1317307"/>
                <a:gd name="connsiteX105" fmla="*/ 688658 w 1263967"/>
                <a:gd name="connsiteY105" fmla="*/ 1176337 h 1317307"/>
                <a:gd name="connsiteX106" fmla="*/ 680085 w 1263967"/>
                <a:gd name="connsiteY106" fmla="*/ 1213485 h 1317307"/>
                <a:gd name="connsiteX107" fmla="*/ 661035 w 1263967"/>
                <a:gd name="connsiteY107" fmla="*/ 1243965 h 1317307"/>
                <a:gd name="connsiteX108" fmla="*/ 652463 w 1263967"/>
                <a:gd name="connsiteY108" fmla="*/ 1279208 h 1317307"/>
                <a:gd name="connsiteX109" fmla="*/ 633413 w 1263967"/>
                <a:gd name="connsiteY109" fmla="*/ 1307783 h 1317307"/>
                <a:gd name="connsiteX110" fmla="*/ 621983 w 1263967"/>
                <a:gd name="connsiteY110" fmla="*/ 1317308 h 1317307"/>
                <a:gd name="connsiteX111" fmla="*/ 18098 w 1263967"/>
                <a:gd name="connsiteY111" fmla="*/ 362903 h 1317307"/>
                <a:gd name="connsiteX112" fmla="*/ 46673 w 1263967"/>
                <a:gd name="connsiteY112" fmla="*/ 399098 h 1317307"/>
                <a:gd name="connsiteX113" fmla="*/ 208598 w 1263967"/>
                <a:gd name="connsiteY113" fmla="*/ 435292 h 1317307"/>
                <a:gd name="connsiteX114" fmla="*/ 221933 w 1263967"/>
                <a:gd name="connsiteY114" fmla="*/ 444817 h 1317307"/>
                <a:gd name="connsiteX115" fmla="*/ 260033 w 1263967"/>
                <a:gd name="connsiteY115" fmla="*/ 452438 h 1317307"/>
                <a:gd name="connsiteX116" fmla="*/ 266700 w 1263967"/>
                <a:gd name="connsiteY116" fmla="*/ 457200 h 1317307"/>
                <a:gd name="connsiteX117" fmla="*/ 293370 w 1263967"/>
                <a:gd name="connsiteY117" fmla="*/ 455295 h 1317307"/>
                <a:gd name="connsiteX118" fmla="*/ 340043 w 1263967"/>
                <a:gd name="connsiteY118" fmla="*/ 462915 h 1317307"/>
                <a:gd name="connsiteX119" fmla="*/ 353378 w 1263967"/>
                <a:gd name="connsiteY119" fmla="*/ 477203 h 1317307"/>
                <a:gd name="connsiteX120" fmla="*/ 343853 w 1263967"/>
                <a:gd name="connsiteY120" fmla="*/ 486728 h 1317307"/>
                <a:gd name="connsiteX121" fmla="*/ 351473 w 1263967"/>
                <a:gd name="connsiteY121" fmla="*/ 494348 h 1317307"/>
                <a:gd name="connsiteX122" fmla="*/ 387668 w 1263967"/>
                <a:gd name="connsiteY122" fmla="*/ 501015 h 1317307"/>
                <a:gd name="connsiteX123" fmla="*/ 399098 w 1263967"/>
                <a:gd name="connsiteY123" fmla="*/ 512445 h 1317307"/>
                <a:gd name="connsiteX124" fmla="*/ 400050 w 1263967"/>
                <a:gd name="connsiteY124" fmla="*/ 554355 h 1317307"/>
                <a:gd name="connsiteX125" fmla="*/ 387668 w 1263967"/>
                <a:gd name="connsiteY125" fmla="*/ 581025 h 1317307"/>
                <a:gd name="connsiteX126" fmla="*/ 406718 w 1263967"/>
                <a:gd name="connsiteY126" fmla="*/ 581978 h 1317307"/>
                <a:gd name="connsiteX127" fmla="*/ 416243 w 1263967"/>
                <a:gd name="connsiteY127" fmla="*/ 574357 h 1317307"/>
                <a:gd name="connsiteX128" fmla="*/ 424815 w 1263967"/>
                <a:gd name="connsiteY128" fmla="*/ 581978 h 1317307"/>
                <a:gd name="connsiteX129" fmla="*/ 414338 w 1263967"/>
                <a:gd name="connsiteY129" fmla="*/ 611505 h 1317307"/>
                <a:gd name="connsiteX130" fmla="*/ 423863 w 1263967"/>
                <a:gd name="connsiteY130" fmla="*/ 626745 h 1317307"/>
                <a:gd name="connsiteX131" fmla="*/ 435293 w 1263967"/>
                <a:gd name="connsiteY131" fmla="*/ 629603 h 1317307"/>
                <a:gd name="connsiteX132" fmla="*/ 442913 w 1263967"/>
                <a:gd name="connsiteY132" fmla="*/ 612457 h 1317307"/>
                <a:gd name="connsiteX133" fmla="*/ 470535 w 1263967"/>
                <a:gd name="connsiteY133" fmla="*/ 568643 h 1317307"/>
                <a:gd name="connsiteX134" fmla="*/ 485775 w 1263967"/>
                <a:gd name="connsiteY134" fmla="*/ 511493 h 1317307"/>
                <a:gd name="connsiteX135" fmla="*/ 507683 w 1263967"/>
                <a:gd name="connsiteY135" fmla="*/ 492442 h 1317307"/>
                <a:gd name="connsiteX136" fmla="*/ 502920 w 1263967"/>
                <a:gd name="connsiteY136" fmla="*/ 477203 h 1317307"/>
                <a:gd name="connsiteX137" fmla="*/ 507683 w 1263967"/>
                <a:gd name="connsiteY137" fmla="*/ 468630 h 1317307"/>
                <a:gd name="connsiteX138" fmla="*/ 517208 w 1263967"/>
                <a:gd name="connsiteY138" fmla="*/ 483870 h 1317307"/>
                <a:gd name="connsiteX139" fmla="*/ 514350 w 1263967"/>
                <a:gd name="connsiteY139" fmla="*/ 504825 h 1317307"/>
                <a:gd name="connsiteX140" fmla="*/ 541973 w 1263967"/>
                <a:gd name="connsiteY140" fmla="*/ 483870 h 1317307"/>
                <a:gd name="connsiteX141" fmla="*/ 543878 w 1263967"/>
                <a:gd name="connsiteY141" fmla="*/ 461963 h 1317307"/>
                <a:gd name="connsiteX142" fmla="*/ 563880 w 1263967"/>
                <a:gd name="connsiteY142" fmla="*/ 467678 h 1317307"/>
                <a:gd name="connsiteX143" fmla="*/ 571500 w 1263967"/>
                <a:gd name="connsiteY143" fmla="*/ 452438 h 1317307"/>
                <a:gd name="connsiteX144" fmla="*/ 578168 w 1263967"/>
                <a:gd name="connsiteY144" fmla="*/ 458153 h 1317307"/>
                <a:gd name="connsiteX145" fmla="*/ 571500 w 1263967"/>
                <a:gd name="connsiteY145" fmla="*/ 472440 h 1317307"/>
                <a:gd name="connsiteX146" fmla="*/ 561975 w 1263967"/>
                <a:gd name="connsiteY146" fmla="*/ 477203 h 1317307"/>
                <a:gd name="connsiteX147" fmla="*/ 552450 w 1263967"/>
                <a:gd name="connsiteY147" fmla="*/ 496253 h 1317307"/>
                <a:gd name="connsiteX148" fmla="*/ 565785 w 1263967"/>
                <a:gd name="connsiteY148" fmla="*/ 513398 h 1317307"/>
                <a:gd name="connsiteX149" fmla="*/ 576263 w 1263967"/>
                <a:gd name="connsiteY149" fmla="*/ 508635 h 1317307"/>
                <a:gd name="connsiteX150" fmla="*/ 571500 w 1263967"/>
                <a:gd name="connsiteY150" fmla="*/ 501967 h 1317307"/>
                <a:gd name="connsiteX151" fmla="*/ 581025 w 1263967"/>
                <a:gd name="connsiteY151" fmla="*/ 487680 h 1317307"/>
                <a:gd name="connsiteX152" fmla="*/ 599123 w 1263967"/>
                <a:gd name="connsiteY152" fmla="*/ 471488 h 1317307"/>
                <a:gd name="connsiteX153" fmla="*/ 606743 w 1263967"/>
                <a:gd name="connsiteY153" fmla="*/ 471488 h 1317307"/>
                <a:gd name="connsiteX154" fmla="*/ 608648 w 1263967"/>
                <a:gd name="connsiteY154" fmla="*/ 446723 h 1317307"/>
                <a:gd name="connsiteX155" fmla="*/ 627698 w 1263967"/>
                <a:gd name="connsiteY155" fmla="*/ 429578 h 1317307"/>
                <a:gd name="connsiteX156" fmla="*/ 702945 w 1263967"/>
                <a:gd name="connsiteY156" fmla="*/ 424815 h 1317307"/>
                <a:gd name="connsiteX157" fmla="*/ 721043 w 1263967"/>
                <a:gd name="connsiteY157" fmla="*/ 395288 h 1317307"/>
                <a:gd name="connsiteX158" fmla="*/ 757238 w 1263967"/>
                <a:gd name="connsiteY158" fmla="*/ 392430 h 1317307"/>
                <a:gd name="connsiteX159" fmla="*/ 793433 w 1263967"/>
                <a:gd name="connsiteY159" fmla="*/ 403860 h 1317307"/>
                <a:gd name="connsiteX160" fmla="*/ 833438 w 1263967"/>
                <a:gd name="connsiteY160" fmla="*/ 429578 h 1317307"/>
                <a:gd name="connsiteX161" fmla="*/ 840105 w 1263967"/>
                <a:gd name="connsiteY161" fmla="*/ 427673 h 1317307"/>
                <a:gd name="connsiteX162" fmla="*/ 838200 w 1263967"/>
                <a:gd name="connsiteY162" fmla="*/ 394335 h 1317307"/>
                <a:gd name="connsiteX163" fmla="*/ 844868 w 1263967"/>
                <a:gd name="connsiteY163" fmla="*/ 392430 h 1317307"/>
                <a:gd name="connsiteX164" fmla="*/ 887730 w 1263967"/>
                <a:gd name="connsiteY164" fmla="*/ 402907 h 1317307"/>
                <a:gd name="connsiteX165" fmla="*/ 902018 w 1263967"/>
                <a:gd name="connsiteY165" fmla="*/ 401003 h 1317307"/>
                <a:gd name="connsiteX166" fmla="*/ 929640 w 1263967"/>
                <a:gd name="connsiteY166" fmla="*/ 394335 h 1317307"/>
                <a:gd name="connsiteX167" fmla="*/ 945833 w 1263967"/>
                <a:gd name="connsiteY167" fmla="*/ 398145 h 1317307"/>
                <a:gd name="connsiteX168" fmla="*/ 962978 w 1263967"/>
                <a:gd name="connsiteY168" fmla="*/ 399098 h 1317307"/>
                <a:gd name="connsiteX169" fmla="*/ 962978 w 1263967"/>
                <a:gd name="connsiteY169" fmla="*/ 388620 h 1317307"/>
                <a:gd name="connsiteX170" fmla="*/ 956310 w 1263967"/>
                <a:gd name="connsiteY170" fmla="*/ 380048 h 1317307"/>
                <a:gd name="connsiteX171" fmla="*/ 942023 w 1263967"/>
                <a:gd name="connsiteY171" fmla="*/ 378142 h 1317307"/>
                <a:gd name="connsiteX172" fmla="*/ 931545 w 1263967"/>
                <a:gd name="connsiteY172" fmla="*/ 370523 h 1317307"/>
                <a:gd name="connsiteX173" fmla="*/ 936308 w 1263967"/>
                <a:gd name="connsiteY173" fmla="*/ 357188 h 1317307"/>
                <a:gd name="connsiteX174" fmla="*/ 928688 w 1263967"/>
                <a:gd name="connsiteY174" fmla="*/ 354330 h 1317307"/>
                <a:gd name="connsiteX175" fmla="*/ 903923 w 1263967"/>
                <a:gd name="connsiteY175" fmla="*/ 355282 h 1317307"/>
                <a:gd name="connsiteX176" fmla="*/ 902970 w 1263967"/>
                <a:gd name="connsiteY176" fmla="*/ 345757 h 1317307"/>
                <a:gd name="connsiteX177" fmla="*/ 913448 w 1263967"/>
                <a:gd name="connsiteY177" fmla="*/ 338138 h 1317307"/>
                <a:gd name="connsiteX178" fmla="*/ 919163 w 1263967"/>
                <a:gd name="connsiteY178" fmla="*/ 345757 h 1317307"/>
                <a:gd name="connsiteX179" fmla="*/ 923925 w 1263967"/>
                <a:gd name="connsiteY179" fmla="*/ 328613 h 1317307"/>
                <a:gd name="connsiteX180" fmla="*/ 917258 w 1263967"/>
                <a:gd name="connsiteY180" fmla="*/ 321945 h 1317307"/>
                <a:gd name="connsiteX181" fmla="*/ 923925 w 1263967"/>
                <a:gd name="connsiteY181" fmla="*/ 320040 h 1317307"/>
                <a:gd name="connsiteX182" fmla="*/ 910590 w 1263967"/>
                <a:gd name="connsiteY182" fmla="*/ 307657 h 1317307"/>
                <a:gd name="connsiteX183" fmla="*/ 913448 w 1263967"/>
                <a:gd name="connsiteY183" fmla="*/ 295275 h 1317307"/>
                <a:gd name="connsiteX184" fmla="*/ 914400 w 1263967"/>
                <a:gd name="connsiteY184" fmla="*/ 277178 h 1317307"/>
                <a:gd name="connsiteX185" fmla="*/ 902018 w 1263967"/>
                <a:gd name="connsiteY185" fmla="*/ 277178 h 1317307"/>
                <a:gd name="connsiteX186" fmla="*/ 887730 w 1263967"/>
                <a:gd name="connsiteY186" fmla="*/ 286703 h 1317307"/>
                <a:gd name="connsiteX187" fmla="*/ 869633 w 1263967"/>
                <a:gd name="connsiteY187" fmla="*/ 287655 h 1317307"/>
                <a:gd name="connsiteX188" fmla="*/ 864870 w 1263967"/>
                <a:gd name="connsiteY188" fmla="*/ 304800 h 1317307"/>
                <a:gd name="connsiteX189" fmla="*/ 846773 w 1263967"/>
                <a:gd name="connsiteY189" fmla="*/ 306705 h 1317307"/>
                <a:gd name="connsiteX190" fmla="*/ 843915 w 1263967"/>
                <a:gd name="connsiteY190" fmla="*/ 295275 h 1317307"/>
                <a:gd name="connsiteX191" fmla="*/ 822960 w 1263967"/>
                <a:gd name="connsiteY191" fmla="*/ 296228 h 1317307"/>
                <a:gd name="connsiteX192" fmla="*/ 813435 w 1263967"/>
                <a:gd name="connsiteY192" fmla="*/ 307657 h 1317307"/>
                <a:gd name="connsiteX193" fmla="*/ 806768 w 1263967"/>
                <a:gd name="connsiteY193" fmla="*/ 306705 h 1317307"/>
                <a:gd name="connsiteX194" fmla="*/ 804863 w 1263967"/>
                <a:gd name="connsiteY194" fmla="*/ 299085 h 1317307"/>
                <a:gd name="connsiteX195" fmla="*/ 780098 w 1263967"/>
                <a:gd name="connsiteY195" fmla="*/ 302895 h 1317307"/>
                <a:gd name="connsiteX196" fmla="*/ 779145 w 1263967"/>
                <a:gd name="connsiteY196" fmla="*/ 257175 h 1317307"/>
                <a:gd name="connsiteX197" fmla="*/ 788670 w 1263967"/>
                <a:gd name="connsiteY197" fmla="*/ 238125 h 1317307"/>
                <a:gd name="connsiteX198" fmla="*/ 782003 w 1263967"/>
                <a:gd name="connsiteY198" fmla="*/ 237173 h 1317307"/>
                <a:gd name="connsiteX199" fmla="*/ 764858 w 1263967"/>
                <a:gd name="connsiteY199" fmla="*/ 247650 h 1317307"/>
                <a:gd name="connsiteX200" fmla="*/ 743903 w 1263967"/>
                <a:gd name="connsiteY200" fmla="*/ 247650 h 1317307"/>
                <a:gd name="connsiteX201" fmla="*/ 707708 w 1263967"/>
                <a:gd name="connsiteY201" fmla="*/ 273367 h 1317307"/>
                <a:gd name="connsiteX202" fmla="*/ 648653 w 1263967"/>
                <a:gd name="connsiteY202" fmla="*/ 276225 h 1317307"/>
                <a:gd name="connsiteX203" fmla="*/ 609600 w 1263967"/>
                <a:gd name="connsiteY203" fmla="*/ 283845 h 1317307"/>
                <a:gd name="connsiteX204" fmla="*/ 591503 w 1263967"/>
                <a:gd name="connsiteY204" fmla="*/ 298132 h 1317307"/>
                <a:gd name="connsiteX205" fmla="*/ 578168 w 1263967"/>
                <a:gd name="connsiteY205" fmla="*/ 310515 h 1317307"/>
                <a:gd name="connsiteX206" fmla="*/ 554355 w 1263967"/>
                <a:gd name="connsiteY206" fmla="*/ 326707 h 1317307"/>
                <a:gd name="connsiteX207" fmla="*/ 551498 w 1263967"/>
                <a:gd name="connsiteY207" fmla="*/ 334328 h 1317307"/>
                <a:gd name="connsiteX208" fmla="*/ 545783 w 1263967"/>
                <a:gd name="connsiteY208" fmla="*/ 318135 h 1317307"/>
                <a:gd name="connsiteX209" fmla="*/ 533400 w 1263967"/>
                <a:gd name="connsiteY209" fmla="*/ 312420 h 1317307"/>
                <a:gd name="connsiteX210" fmla="*/ 533400 w 1263967"/>
                <a:gd name="connsiteY210" fmla="*/ 318135 h 1317307"/>
                <a:gd name="connsiteX211" fmla="*/ 540068 w 1263967"/>
                <a:gd name="connsiteY211" fmla="*/ 324803 h 1317307"/>
                <a:gd name="connsiteX212" fmla="*/ 540068 w 1263967"/>
                <a:gd name="connsiteY212" fmla="*/ 337185 h 1317307"/>
                <a:gd name="connsiteX213" fmla="*/ 525780 w 1263967"/>
                <a:gd name="connsiteY213" fmla="*/ 331470 h 1317307"/>
                <a:gd name="connsiteX214" fmla="*/ 520065 w 1263967"/>
                <a:gd name="connsiteY214" fmla="*/ 331470 h 1317307"/>
                <a:gd name="connsiteX215" fmla="*/ 517208 w 1263967"/>
                <a:gd name="connsiteY215" fmla="*/ 342900 h 1317307"/>
                <a:gd name="connsiteX216" fmla="*/ 498158 w 1263967"/>
                <a:gd name="connsiteY216" fmla="*/ 324803 h 1317307"/>
                <a:gd name="connsiteX217" fmla="*/ 485775 w 1263967"/>
                <a:gd name="connsiteY217" fmla="*/ 322898 h 1317307"/>
                <a:gd name="connsiteX218" fmla="*/ 473393 w 1263967"/>
                <a:gd name="connsiteY218" fmla="*/ 337185 h 1317307"/>
                <a:gd name="connsiteX219" fmla="*/ 442913 w 1263967"/>
                <a:gd name="connsiteY219" fmla="*/ 336232 h 1317307"/>
                <a:gd name="connsiteX220" fmla="*/ 438150 w 1263967"/>
                <a:gd name="connsiteY220" fmla="*/ 322898 h 1317307"/>
                <a:gd name="connsiteX221" fmla="*/ 419100 w 1263967"/>
                <a:gd name="connsiteY221" fmla="*/ 304800 h 1317307"/>
                <a:gd name="connsiteX222" fmla="*/ 406718 w 1263967"/>
                <a:gd name="connsiteY222" fmla="*/ 289560 h 1317307"/>
                <a:gd name="connsiteX223" fmla="*/ 406718 w 1263967"/>
                <a:gd name="connsiteY223" fmla="*/ 282892 h 1317307"/>
                <a:gd name="connsiteX224" fmla="*/ 396240 w 1263967"/>
                <a:gd name="connsiteY224" fmla="*/ 269557 h 1317307"/>
                <a:gd name="connsiteX225" fmla="*/ 371475 w 1263967"/>
                <a:gd name="connsiteY225" fmla="*/ 258127 h 1317307"/>
                <a:gd name="connsiteX226" fmla="*/ 340043 w 1263967"/>
                <a:gd name="connsiteY226" fmla="*/ 257175 h 1317307"/>
                <a:gd name="connsiteX227" fmla="*/ 329565 w 1263967"/>
                <a:gd name="connsiteY227" fmla="*/ 248602 h 1317307"/>
                <a:gd name="connsiteX228" fmla="*/ 316230 w 1263967"/>
                <a:gd name="connsiteY228" fmla="*/ 248602 h 1317307"/>
                <a:gd name="connsiteX229" fmla="*/ 309563 w 1263967"/>
                <a:gd name="connsiteY229" fmla="*/ 252413 h 1317307"/>
                <a:gd name="connsiteX230" fmla="*/ 288608 w 1263967"/>
                <a:gd name="connsiteY230" fmla="*/ 273367 h 1317307"/>
                <a:gd name="connsiteX231" fmla="*/ 281940 w 1263967"/>
                <a:gd name="connsiteY231" fmla="*/ 283845 h 1317307"/>
                <a:gd name="connsiteX232" fmla="*/ 272415 w 1263967"/>
                <a:gd name="connsiteY232" fmla="*/ 277178 h 1317307"/>
                <a:gd name="connsiteX233" fmla="*/ 274320 w 1263967"/>
                <a:gd name="connsiteY233" fmla="*/ 267653 h 1317307"/>
                <a:gd name="connsiteX234" fmla="*/ 281940 w 1263967"/>
                <a:gd name="connsiteY234" fmla="*/ 247650 h 1317307"/>
                <a:gd name="connsiteX235" fmla="*/ 312420 w 1263967"/>
                <a:gd name="connsiteY235" fmla="*/ 200025 h 1317307"/>
                <a:gd name="connsiteX236" fmla="*/ 320040 w 1263967"/>
                <a:gd name="connsiteY236" fmla="*/ 198120 h 1317307"/>
                <a:gd name="connsiteX237" fmla="*/ 336233 w 1263967"/>
                <a:gd name="connsiteY237" fmla="*/ 180023 h 1317307"/>
                <a:gd name="connsiteX238" fmla="*/ 342900 w 1263967"/>
                <a:gd name="connsiteY238" fmla="*/ 164782 h 1317307"/>
                <a:gd name="connsiteX239" fmla="*/ 371475 w 1263967"/>
                <a:gd name="connsiteY239" fmla="*/ 159067 h 1317307"/>
                <a:gd name="connsiteX240" fmla="*/ 379095 w 1263967"/>
                <a:gd name="connsiteY240" fmla="*/ 153352 h 1317307"/>
                <a:gd name="connsiteX241" fmla="*/ 378143 w 1263967"/>
                <a:gd name="connsiteY241" fmla="*/ 143827 h 1317307"/>
                <a:gd name="connsiteX242" fmla="*/ 373380 w 1263967"/>
                <a:gd name="connsiteY242" fmla="*/ 139065 h 1317307"/>
                <a:gd name="connsiteX243" fmla="*/ 330518 w 1263967"/>
                <a:gd name="connsiteY243" fmla="*/ 140970 h 1317307"/>
                <a:gd name="connsiteX244" fmla="*/ 311468 w 1263967"/>
                <a:gd name="connsiteY244" fmla="*/ 145732 h 1317307"/>
                <a:gd name="connsiteX245" fmla="*/ 286703 w 1263967"/>
                <a:gd name="connsiteY245" fmla="*/ 157163 h 1317307"/>
                <a:gd name="connsiteX246" fmla="*/ 275273 w 1263967"/>
                <a:gd name="connsiteY246" fmla="*/ 168592 h 1317307"/>
                <a:gd name="connsiteX247" fmla="*/ 259080 w 1263967"/>
                <a:gd name="connsiteY247" fmla="*/ 189548 h 1317307"/>
                <a:gd name="connsiteX248" fmla="*/ 241935 w 1263967"/>
                <a:gd name="connsiteY248" fmla="*/ 199073 h 1317307"/>
                <a:gd name="connsiteX249" fmla="*/ 210503 w 1263967"/>
                <a:gd name="connsiteY249" fmla="*/ 231457 h 1317307"/>
                <a:gd name="connsiteX250" fmla="*/ 206693 w 1263967"/>
                <a:gd name="connsiteY250" fmla="*/ 246698 h 1317307"/>
                <a:gd name="connsiteX251" fmla="*/ 136208 w 1263967"/>
                <a:gd name="connsiteY251" fmla="*/ 290513 h 1317307"/>
                <a:gd name="connsiteX252" fmla="*/ 98108 w 1263967"/>
                <a:gd name="connsiteY252" fmla="*/ 295275 h 1317307"/>
                <a:gd name="connsiteX253" fmla="*/ 80963 w 1263967"/>
                <a:gd name="connsiteY253" fmla="*/ 299085 h 1317307"/>
                <a:gd name="connsiteX254" fmla="*/ 59055 w 1263967"/>
                <a:gd name="connsiteY254" fmla="*/ 327660 h 1317307"/>
                <a:gd name="connsiteX255" fmla="*/ 41910 w 1263967"/>
                <a:gd name="connsiteY255" fmla="*/ 334328 h 1317307"/>
                <a:gd name="connsiteX256" fmla="*/ 0 w 1263967"/>
                <a:gd name="connsiteY256" fmla="*/ 356235 h 1317307"/>
                <a:gd name="connsiteX257" fmla="*/ 977265 w 1263967"/>
                <a:gd name="connsiteY257" fmla="*/ 399098 h 1317307"/>
                <a:gd name="connsiteX258" fmla="*/ 1013460 w 1263967"/>
                <a:gd name="connsiteY258" fmla="*/ 400050 h 1317307"/>
                <a:gd name="connsiteX259" fmla="*/ 1019175 w 1263967"/>
                <a:gd name="connsiteY259" fmla="*/ 395288 h 1317307"/>
                <a:gd name="connsiteX260" fmla="*/ 1017270 w 1263967"/>
                <a:gd name="connsiteY260" fmla="*/ 376238 h 1317307"/>
                <a:gd name="connsiteX261" fmla="*/ 1001078 w 1263967"/>
                <a:gd name="connsiteY261" fmla="*/ 359092 h 1317307"/>
                <a:gd name="connsiteX262" fmla="*/ 982980 w 1263967"/>
                <a:gd name="connsiteY262" fmla="*/ 360045 h 1317307"/>
                <a:gd name="connsiteX263" fmla="*/ 982028 w 1263967"/>
                <a:gd name="connsiteY263" fmla="*/ 364807 h 1317307"/>
                <a:gd name="connsiteX264" fmla="*/ 992505 w 1263967"/>
                <a:gd name="connsiteY264" fmla="*/ 368617 h 1317307"/>
                <a:gd name="connsiteX265" fmla="*/ 977265 w 1263967"/>
                <a:gd name="connsiteY265" fmla="*/ 376238 h 1317307"/>
                <a:gd name="connsiteX266" fmla="*/ 974408 w 1263967"/>
                <a:gd name="connsiteY266" fmla="*/ 385763 h 1317307"/>
                <a:gd name="connsiteX267" fmla="*/ 968693 w 1263967"/>
                <a:gd name="connsiteY267" fmla="*/ 380048 h 1317307"/>
                <a:gd name="connsiteX268" fmla="*/ 964883 w 1263967"/>
                <a:gd name="connsiteY268" fmla="*/ 387667 h 1317307"/>
                <a:gd name="connsiteX269" fmla="*/ 261938 w 1263967"/>
                <a:gd name="connsiteY269" fmla="*/ 0 h 1317307"/>
                <a:gd name="connsiteX270" fmla="*/ 240030 w 1263967"/>
                <a:gd name="connsiteY270" fmla="*/ 1905 h 1317307"/>
                <a:gd name="connsiteX271" fmla="*/ 214313 w 1263967"/>
                <a:gd name="connsiteY271" fmla="*/ 20002 h 1317307"/>
                <a:gd name="connsiteX272" fmla="*/ 146685 w 1263967"/>
                <a:gd name="connsiteY272" fmla="*/ 70485 h 1317307"/>
                <a:gd name="connsiteX273" fmla="*/ 154305 w 1263967"/>
                <a:gd name="connsiteY273" fmla="*/ 80010 h 1317307"/>
                <a:gd name="connsiteX274" fmla="*/ 171450 w 1263967"/>
                <a:gd name="connsiteY274" fmla="*/ 82867 h 1317307"/>
                <a:gd name="connsiteX275" fmla="*/ 198120 w 1263967"/>
                <a:gd name="connsiteY275" fmla="*/ 63817 h 1317307"/>
                <a:gd name="connsiteX276" fmla="*/ 187643 w 1263967"/>
                <a:gd name="connsiteY276" fmla="*/ 59055 h 1317307"/>
                <a:gd name="connsiteX277" fmla="*/ 209550 w 1263967"/>
                <a:gd name="connsiteY277" fmla="*/ 43815 h 1317307"/>
                <a:gd name="connsiteX278" fmla="*/ 219075 w 1263967"/>
                <a:gd name="connsiteY278" fmla="*/ 43815 h 1317307"/>
                <a:gd name="connsiteX279" fmla="*/ 247650 w 1263967"/>
                <a:gd name="connsiteY279" fmla="*/ 25717 h 1317307"/>
                <a:gd name="connsiteX280" fmla="*/ 246698 w 1263967"/>
                <a:gd name="connsiteY280" fmla="*/ 17145 h 1317307"/>
                <a:gd name="connsiteX281" fmla="*/ 653415 w 1263967"/>
                <a:gd name="connsiteY281" fmla="*/ 598170 h 1317307"/>
                <a:gd name="connsiteX282" fmla="*/ 653415 w 1263967"/>
                <a:gd name="connsiteY282" fmla="*/ 607695 h 1317307"/>
                <a:gd name="connsiteX283" fmla="*/ 673418 w 1263967"/>
                <a:gd name="connsiteY283" fmla="*/ 622935 h 1317307"/>
                <a:gd name="connsiteX284" fmla="*/ 671513 w 1263967"/>
                <a:gd name="connsiteY284" fmla="*/ 600075 h 1317307"/>
                <a:gd name="connsiteX285" fmla="*/ 646748 w 1263967"/>
                <a:gd name="connsiteY285" fmla="*/ 624840 h 1317307"/>
                <a:gd name="connsiteX286" fmla="*/ 657225 w 1263967"/>
                <a:gd name="connsiteY286" fmla="*/ 625793 h 1317307"/>
                <a:gd name="connsiteX287" fmla="*/ 657225 w 1263967"/>
                <a:gd name="connsiteY287" fmla="*/ 634365 h 1317307"/>
                <a:gd name="connsiteX288" fmla="*/ 647700 w 1263967"/>
                <a:gd name="connsiteY288" fmla="*/ 634365 h 1317307"/>
                <a:gd name="connsiteX289" fmla="*/ 850583 w 1263967"/>
                <a:gd name="connsiteY289" fmla="*/ 421957 h 1317307"/>
                <a:gd name="connsiteX290" fmla="*/ 850583 w 1263967"/>
                <a:gd name="connsiteY290" fmla="*/ 430530 h 1317307"/>
                <a:gd name="connsiteX291" fmla="*/ 858203 w 1263967"/>
                <a:gd name="connsiteY291" fmla="*/ 428625 h 1317307"/>
                <a:gd name="connsiteX292" fmla="*/ 858203 w 1263967"/>
                <a:gd name="connsiteY292" fmla="*/ 423863 h 1317307"/>
                <a:gd name="connsiteX293" fmla="*/ 895350 w 1263967"/>
                <a:gd name="connsiteY293" fmla="*/ 451485 h 1317307"/>
                <a:gd name="connsiteX294" fmla="*/ 894398 w 1263967"/>
                <a:gd name="connsiteY294" fmla="*/ 441007 h 1317307"/>
                <a:gd name="connsiteX295" fmla="*/ 879158 w 1263967"/>
                <a:gd name="connsiteY295" fmla="*/ 439103 h 1317307"/>
                <a:gd name="connsiteX296" fmla="*/ 873443 w 1263967"/>
                <a:gd name="connsiteY296" fmla="*/ 435292 h 1317307"/>
                <a:gd name="connsiteX297" fmla="*/ 864870 w 1263967"/>
                <a:gd name="connsiteY297" fmla="*/ 435292 h 1317307"/>
                <a:gd name="connsiteX298" fmla="*/ 861060 w 1263967"/>
                <a:gd name="connsiteY298" fmla="*/ 438150 h 1317307"/>
                <a:gd name="connsiteX299" fmla="*/ 869633 w 1263967"/>
                <a:gd name="connsiteY299" fmla="*/ 441960 h 1317307"/>
                <a:gd name="connsiteX300" fmla="*/ 880110 w 1263967"/>
                <a:gd name="connsiteY300" fmla="*/ 452438 h 1317307"/>
                <a:gd name="connsiteX301" fmla="*/ 723900 w 1263967"/>
                <a:gd name="connsiteY301" fmla="*/ 462915 h 1317307"/>
                <a:gd name="connsiteX302" fmla="*/ 722948 w 1263967"/>
                <a:gd name="connsiteY302" fmla="*/ 473392 h 1317307"/>
                <a:gd name="connsiteX303" fmla="*/ 720090 w 1263967"/>
                <a:gd name="connsiteY303" fmla="*/ 480060 h 1317307"/>
                <a:gd name="connsiteX304" fmla="*/ 721995 w 1263967"/>
                <a:gd name="connsiteY304" fmla="*/ 501015 h 1317307"/>
                <a:gd name="connsiteX305" fmla="*/ 725805 w 1263967"/>
                <a:gd name="connsiteY305" fmla="*/ 503873 h 1317307"/>
                <a:gd name="connsiteX306" fmla="*/ 732473 w 1263967"/>
                <a:gd name="connsiteY306" fmla="*/ 504825 h 1317307"/>
                <a:gd name="connsiteX307" fmla="*/ 737235 w 1263967"/>
                <a:gd name="connsiteY307" fmla="*/ 496253 h 1317307"/>
                <a:gd name="connsiteX308" fmla="*/ 738188 w 1263967"/>
                <a:gd name="connsiteY308" fmla="*/ 481013 h 1317307"/>
                <a:gd name="connsiteX309" fmla="*/ 735330 w 1263967"/>
                <a:gd name="connsiteY309" fmla="*/ 475298 h 1317307"/>
                <a:gd name="connsiteX310" fmla="*/ 734378 w 1263967"/>
                <a:gd name="connsiteY310" fmla="*/ 464820 h 13173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</a:cxnLst>
              <a:rect l="l" t="t" r="r" b="b"/>
              <a:pathLst>
                <a:path w="1263967" h="1317307">
                  <a:moveTo>
                    <a:pt x="930593" y="1284923"/>
                  </a:moveTo>
                  <a:lnTo>
                    <a:pt x="931545" y="1298258"/>
                  </a:lnTo>
                  <a:lnTo>
                    <a:pt x="1135380" y="1264920"/>
                  </a:lnTo>
                  <a:lnTo>
                    <a:pt x="1140143" y="1253490"/>
                  </a:lnTo>
                  <a:lnTo>
                    <a:pt x="1177290" y="1197293"/>
                  </a:lnTo>
                  <a:lnTo>
                    <a:pt x="1177290" y="1156335"/>
                  </a:lnTo>
                  <a:lnTo>
                    <a:pt x="1184910" y="1136333"/>
                  </a:lnTo>
                  <a:lnTo>
                    <a:pt x="1205865" y="1128712"/>
                  </a:lnTo>
                  <a:lnTo>
                    <a:pt x="1224915" y="1054418"/>
                  </a:lnTo>
                  <a:lnTo>
                    <a:pt x="1234440" y="1049655"/>
                  </a:lnTo>
                  <a:lnTo>
                    <a:pt x="1243965" y="1055370"/>
                  </a:lnTo>
                  <a:lnTo>
                    <a:pt x="1242060" y="1061085"/>
                  </a:lnTo>
                  <a:lnTo>
                    <a:pt x="1231583" y="1068705"/>
                  </a:lnTo>
                  <a:lnTo>
                    <a:pt x="1234440" y="1077278"/>
                  </a:lnTo>
                  <a:lnTo>
                    <a:pt x="1242060" y="1081087"/>
                  </a:lnTo>
                  <a:lnTo>
                    <a:pt x="1260158" y="1067753"/>
                  </a:lnTo>
                  <a:lnTo>
                    <a:pt x="1263968" y="974407"/>
                  </a:lnTo>
                  <a:lnTo>
                    <a:pt x="1248728" y="952500"/>
                  </a:lnTo>
                  <a:lnTo>
                    <a:pt x="1237298" y="917257"/>
                  </a:lnTo>
                  <a:lnTo>
                    <a:pt x="1237298" y="893445"/>
                  </a:lnTo>
                  <a:lnTo>
                    <a:pt x="1215390" y="851535"/>
                  </a:lnTo>
                  <a:lnTo>
                    <a:pt x="1215390" y="834390"/>
                  </a:lnTo>
                  <a:lnTo>
                    <a:pt x="1203960" y="802957"/>
                  </a:lnTo>
                  <a:lnTo>
                    <a:pt x="1182053" y="774382"/>
                  </a:lnTo>
                  <a:lnTo>
                    <a:pt x="1154430" y="764857"/>
                  </a:lnTo>
                  <a:lnTo>
                    <a:pt x="1108710" y="793432"/>
                  </a:lnTo>
                  <a:lnTo>
                    <a:pt x="1084898" y="837248"/>
                  </a:lnTo>
                  <a:lnTo>
                    <a:pt x="1082993" y="845820"/>
                  </a:lnTo>
                  <a:lnTo>
                    <a:pt x="1054418" y="879157"/>
                  </a:lnTo>
                  <a:lnTo>
                    <a:pt x="1040130" y="877253"/>
                  </a:lnTo>
                  <a:lnTo>
                    <a:pt x="1012508" y="850582"/>
                  </a:lnTo>
                  <a:lnTo>
                    <a:pt x="1011555" y="818198"/>
                  </a:lnTo>
                  <a:lnTo>
                    <a:pt x="1025843" y="800100"/>
                  </a:lnTo>
                  <a:lnTo>
                    <a:pt x="1044893" y="798195"/>
                  </a:lnTo>
                  <a:lnTo>
                    <a:pt x="1056323" y="782003"/>
                  </a:lnTo>
                  <a:lnTo>
                    <a:pt x="1058228" y="743903"/>
                  </a:lnTo>
                  <a:lnTo>
                    <a:pt x="1065848" y="736282"/>
                  </a:lnTo>
                  <a:lnTo>
                    <a:pt x="1076325" y="735330"/>
                  </a:lnTo>
                  <a:lnTo>
                    <a:pt x="1084898" y="719137"/>
                  </a:lnTo>
                  <a:lnTo>
                    <a:pt x="1082993" y="627698"/>
                  </a:lnTo>
                  <a:lnTo>
                    <a:pt x="1080135" y="615315"/>
                  </a:lnTo>
                  <a:lnTo>
                    <a:pt x="1068705" y="603885"/>
                  </a:lnTo>
                  <a:lnTo>
                    <a:pt x="1052513" y="594360"/>
                  </a:lnTo>
                  <a:lnTo>
                    <a:pt x="1051560" y="577215"/>
                  </a:lnTo>
                  <a:lnTo>
                    <a:pt x="1058228" y="571500"/>
                  </a:lnTo>
                  <a:lnTo>
                    <a:pt x="1075373" y="579120"/>
                  </a:lnTo>
                  <a:lnTo>
                    <a:pt x="1072515" y="562928"/>
                  </a:lnTo>
                  <a:lnTo>
                    <a:pt x="1054418" y="537210"/>
                  </a:lnTo>
                  <a:lnTo>
                    <a:pt x="1047750" y="521970"/>
                  </a:lnTo>
                  <a:lnTo>
                    <a:pt x="1037273" y="511493"/>
                  </a:lnTo>
                  <a:lnTo>
                    <a:pt x="1016318" y="511493"/>
                  </a:lnTo>
                  <a:lnTo>
                    <a:pt x="939165" y="483870"/>
                  </a:lnTo>
                  <a:lnTo>
                    <a:pt x="925830" y="467678"/>
                  </a:lnTo>
                  <a:lnTo>
                    <a:pt x="896303" y="464820"/>
                  </a:lnTo>
                  <a:lnTo>
                    <a:pt x="884873" y="467678"/>
                  </a:lnTo>
                  <a:lnTo>
                    <a:pt x="842963" y="445770"/>
                  </a:lnTo>
                  <a:lnTo>
                    <a:pt x="829628" y="445770"/>
                  </a:lnTo>
                  <a:lnTo>
                    <a:pt x="834390" y="455295"/>
                  </a:lnTo>
                  <a:lnTo>
                    <a:pt x="808673" y="454342"/>
                  </a:lnTo>
                  <a:lnTo>
                    <a:pt x="809625" y="460057"/>
                  </a:lnTo>
                  <a:lnTo>
                    <a:pt x="815340" y="465773"/>
                  </a:lnTo>
                  <a:lnTo>
                    <a:pt x="791528" y="485775"/>
                  </a:lnTo>
                  <a:lnTo>
                    <a:pt x="792480" y="502920"/>
                  </a:lnTo>
                  <a:lnTo>
                    <a:pt x="806768" y="524828"/>
                  </a:lnTo>
                  <a:lnTo>
                    <a:pt x="821055" y="526732"/>
                  </a:lnTo>
                  <a:lnTo>
                    <a:pt x="821055" y="532448"/>
                  </a:lnTo>
                  <a:lnTo>
                    <a:pt x="806768" y="537210"/>
                  </a:lnTo>
                  <a:lnTo>
                    <a:pt x="786765" y="536257"/>
                  </a:lnTo>
                  <a:lnTo>
                    <a:pt x="760095" y="560070"/>
                  </a:lnTo>
                  <a:lnTo>
                    <a:pt x="761048" y="583882"/>
                  </a:lnTo>
                  <a:lnTo>
                    <a:pt x="764858" y="639128"/>
                  </a:lnTo>
                  <a:lnTo>
                    <a:pt x="743903" y="671512"/>
                  </a:lnTo>
                  <a:lnTo>
                    <a:pt x="751523" y="628650"/>
                  </a:lnTo>
                  <a:lnTo>
                    <a:pt x="743903" y="622935"/>
                  </a:lnTo>
                  <a:lnTo>
                    <a:pt x="735330" y="673418"/>
                  </a:lnTo>
                  <a:lnTo>
                    <a:pt x="725805" y="651510"/>
                  </a:lnTo>
                  <a:lnTo>
                    <a:pt x="730568" y="629603"/>
                  </a:lnTo>
                  <a:lnTo>
                    <a:pt x="725805" y="620078"/>
                  </a:lnTo>
                  <a:lnTo>
                    <a:pt x="731520" y="607695"/>
                  </a:lnTo>
                  <a:lnTo>
                    <a:pt x="725805" y="597218"/>
                  </a:lnTo>
                  <a:lnTo>
                    <a:pt x="735330" y="587693"/>
                  </a:lnTo>
                  <a:lnTo>
                    <a:pt x="735330" y="576262"/>
                  </a:lnTo>
                  <a:lnTo>
                    <a:pt x="722948" y="581978"/>
                  </a:lnTo>
                  <a:lnTo>
                    <a:pt x="710565" y="611505"/>
                  </a:lnTo>
                  <a:lnTo>
                    <a:pt x="703898" y="618173"/>
                  </a:lnTo>
                  <a:lnTo>
                    <a:pt x="691515" y="641032"/>
                  </a:lnTo>
                  <a:lnTo>
                    <a:pt x="675323" y="639128"/>
                  </a:lnTo>
                  <a:lnTo>
                    <a:pt x="674370" y="650557"/>
                  </a:lnTo>
                  <a:lnTo>
                    <a:pt x="659130" y="650557"/>
                  </a:lnTo>
                  <a:lnTo>
                    <a:pt x="661035" y="664845"/>
                  </a:lnTo>
                  <a:lnTo>
                    <a:pt x="662940" y="683895"/>
                  </a:lnTo>
                  <a:lnTo>
                    <a:pt x="634365" y="695325"/>
                  </a:lnTo>
                  <a:lnTo>
                    <a:pt x="635318" y="707707"/>
                  </a:lnTo>
                  <a:lnTo>
                    <a:pt x="644843" y="723900"/>
                  </a:lnTo>
                  <a:lnTo>
                    <a:pt x="643890" y="773430"/>
                  </a:lnTo>
                  <a:lnTo>
                    <a:pt x="631508" y="815340"/>
                  </a:lnTo>
                  <a:lnTo>
                    <a:pt x="615315" y="839153"/>
                  </a:lnTo>
                  <a:lnTo>
                    <a:pt x="626745" y="852487"/>
                  </a:lnTo>
                  <a:lnTo>
                    <a:pt x="634365" y="885825"/>
                  </a:lnTo>
                  <a:lnTo>
                    <a:pt x="624840" y="909637"/>
                  </a:lnTo>
                  <a:lnTo>
                    <a:pt x="622935" y="929640"/>
                  </a:lnTo>
                  <a:lnTo>
                    <a:pt x="639128" y="962025"/>
                  </a:lnTo>
                  <a:lnTo>
                    <a:pt x="662940" y="1008698"/>
                  </a:lnTo>
                  <a:lnTo>
                    <a:pt x="674370" y="1026795"/>
                  </a:lnTo>
                  <a:lnTo>
                    <a:pt x="689610" y="1092518"/>
                  </a:lnTo>
                  <a:lnTo>
                    <a:pt x="688658" y="1176337"/>
                  </a:lnTo>
                  <a:lnTo>
                    <a:pt x="680085" y="1213485"/>
                  </a:lnTo>
                  <a:lnTo>
                    <a:pt x="661035" y="1243965"/>
                  </a:lnTo>
                  <a:lnTo>
                    <a:pt x="652463" y="1279208"/>
                  </a:lnTo>
                  <a:lnTo>
                    <a:pt x="633413" y="1307783"/>
                  </a:lnTo>
                  <a:lnTo>
                    <a:pt x="621983" y="1317308"/>
                  </a:lnTo>
                  <a:close/>
                  <a:moveTo>
                    <a:pt x="18098" y="362903"/>
                  </a:moveTo>
                  <a:lnTo>
                    <a:pt x="46673" y="399098"/>
                  </a:lnTo>
                  <a:lnTo>
                    <a:pt x="208598" y="435292"/>
                  </a:lnTo>
                  <a:lnTo>
                    <a:pt x="221933" y="444817"/>
                  </a:lnTo>
                  <a:lnTo>
                    <a:pt x="260033" y="452438"/>
                  </a:lnTo>
                  <a:lnTo>
                    <a:pt x="266700" y="457200"/>
                  </a:lnTo>
                  <a:lnTo>
                    <a:pt x="293370" y="455295"/>
                  </a:lnTo>
                  <a:lnTo>
                    <a:pt x="340043" y="462915"/>
                  </a:lnTo>
                  <a:lnTo>
                    <a:pt x="353378" y="477203"/>
                  </a:lnTo>
                  <a:lnTo>
                    <a:pt x="343853" y="486728"/>
                  </a:lnTo>
                  <a:lnTo>
                    <a:pt x="351473" y="494348"/>
                  </a:lnTo>
                  <a:lnTo>
                    <a:pt x="387668" y="501015"/>
                  </a:lnTo>
                  <a:lnTo>
                    <a:pt x="399098" y="512445"/>
                  </a:lnTo>
                  <a:lnTo>
                    <a:pt x="400050" y="554355"/>
                  </a:lnTo>
                  <a:lnTo>
                    <a:pt x="387668" y="581025"/>
                  </a:lnTo>
                  <a:lnTo>
                    <a:pt x="406718" y="581978"/>
                  </a:lnTo>
                  <a:lnTo>
                    <a:pt x="416243" y="574357"/>
                  </a:lnTo>
                  <a:lnTo>
                    <a:pt x="424815" y="581978"/>
                  </a:lnTo>
                  <a:lnTo>
                    <a:pt x="414338" y="611505"/>
                  </a:lnTo>
                  <a:lnTo>
                    <a:pt x="423863" y="626745"/>
                  </a:lnTo>
                  <a:lnTo>
                    <a:pt x="435293" y="629603"/>
                  </a:lnTo>
                  <a:lnTo>
                    <a:pt x="442913" y="612457"/>
                  </a:lnTo>
                  <a:lnTo>
                    <a:pt x="470535" y="568643"/>
                  </a:lnTo>
                  <a:lnTo>
                    <a:pt x="485775" y="511493"/>
                  </a:lnTo>
                  <a:lnTo>
                    <a:pt x="507683" y="492442"/>
                  </a:lnTo>
                  <a:lnTo>
                    <a:pt x="502920" y="477203"/>
                  </a:lnTo>
                  <a:lnTo>
                    <a:pt x="507683" y="468630"/>
                  </a:lnTo>
                  <a:lnTo>
                    <a:pt x="517208" y="483870"/>
                  </a:lnTo>
                  <a:lnTo>
                    <a:pt x="514350" y="504825"/>
                  </a:lnTo>
                  <a:lnTo>
                    <a:pt x="541973" y="483870"/>
                  </a:lnTo>
                  <a:lnTo>
                    <a:pt x="543878" y="461963"/>
                  </a:lnTo>
                  <a:lnTo>
                    <a:pt x="563880" y="467678"/>
                  </a:lnTo>
                  <a:lnTo>
                    <a:pt x="571500" y="452438"/>
                  </a:lnTo>
                  <a:lnTo>
                    <a:pt x="578168" y="458153"/>
                  </a:lnTo>
                  <a:lnTo>
                    <a:pt x="571500" y="472440"/>
                  </a:lnTo>
                  <a:lnTo>
                    <a:pt x="561975" y="477203"/>
                  </a:lnTo>
                  <a:lnTo>
                    <a:pt x="552450" y="496253"/>
                  </a:lnTo>
                  <a:lnTo>
                    <a:pt x="565785" y="513398"/>
                  </a:lnTo>
                  <a:lnTo>
                    <a:pt x="576263" y="508635"/>
                  </a:lnTo>
                  <a:lnTo>
                    <a:pt x="571500" y="501967"/>
                  </a:lnTo>
                  <a:lnTo>
                    <a:pt x="581025" y="487680"/>
                  </a:lnTo>
                  <a:lnTo>
                    <a:pt x="599123" y="471488"/>
                  </a:lnTo>
                  <a:lnTo>
                    <a:pt x="606743" y="471488"/>
                  </a:lnTo>
                  <a:lnTo>
                    <a:pt x="608648" y="446723"/>
                  </a:lnTo>
                  <a:lnTo>
                    <a:pt x="627698" y="429578"/>
                  </a:lnTo>
                  <a:lnTo>
                    <a:pt x="702945" y="424815"/>
                  </a:lnTo>
                  <a:lnTo>
                    <a:pt x="721043" y="395288"/>
                  </a:lnTo>
                  <a:lnTo>
                    <a:pt x="757238" y="392430"/>
                  </a:lnTo>
                  <a:lnTo>
                    <a:pt x="793433" y="403860"/>
                  </a:lnTo>
                  <a:lnTo>
                    <a:pt x="833438" y="429578"/>
                  </a:lnTo>
                  <a:lnTo>
                    <a:pt x="840105" y="427673"/>
                  </a:lnTo>
                  <a:lnTo>
                    <a:pt x="838200" y="394335"/>
                  </a:lnTo>
                  <a:lnTo>
                    <a:pt x="844868" y="392430"/>
                  </a:lnTo>
                  <a:lnTo>
                    <a:pt x="887730" y="402907"/>
                  </a:lnTo>
                  <a:lnTo>
                    <a:pt x="902018" y="401003"/>
                  </a:lnTo>
                  <a:lnTo>
                    <a:pt x="929640" y="394335"/>
                  </a:lnTo>
                  <a:lnTo>
                    <a:pt x="945833" y="398145"/>
                  </a:lnTo>
                  <a:lnTo>
                    <a:pt x="962978" y="399098"/>
                  </a:lnTo>
                  <a:lnTo>
                    <a:pt x="962978" y="388620"/>
                  </a:lnTo>
                  <a:lnTo>
                    <a:pt x="956310" y="380048"/>
                  </a:lnTo>
                  <a:lnTo>
                    <a:pt x="942023" y="378142"/>
                  </a:lnTo>
                  <a:lnTo>
                    <a:pt x="931545" y="370523"/>
                  </a:lnTo>
                  <a:lnTo>
                    <a:pt x="936308" y="357188"/>
                  </a:lnTo>
                  <a:lnTo>
                    <a:pt x="928688" y="354330"/>
                  </a:lnTo>
                  <a:lnTo>
                    <a:pt x="903923" y="355282"/>
                  </a:lnTo>
                  <a:lnTo>
                    <a:pt x="902970" y="345757"/>
                  </a:lnTo>
                  <a:lnTo>
                    <a:pt x="913448" y="338138"/>
                  </a:lnTo>
                  <a:lnTo>
                    <a:pt x="919163" y="345757"/>
                  </a:lnTo>
                  <a:lnTo>
                    <a:pt x="923925" y="328613"/>
                  </a:lnTo>
                  <a:lnTo>
                    <a:pt x="917258" y="321945"/>
                  </a:lnTo>
                  <a:lnTo>
                    <a:pt x="923925" y="320040"/>
                  </a:lnTo>
                  <a:lnTo>
                    <a:pt x="910590" y="307657"/>
                  </a:lnTo>
                  <a:lnTo>
                    <a:pt x="913448" y="295275"/>
                  </a:lnTo>
                  <a:lnTo>
                    <a:pt x="914400" y="277178"/>
                  </a:lnTo>
                  <a:lnTo>
                    <a:pt x="902018" y="277178"/>
                  </a:lnTo>
                  <a:lnTo>
                    <a:pt x="887730" y="286703"/>
                  </a:lnTo>
                  <a:lnTo>
                    <a:pt x="869633" y="287655"/>
                  </a:lnTo>
                  <a:lnTo>
                    <a:pt x="864870" y="304800"/>
                  </a:lnTo>
                  <a:lnTo>
                    <a:pt x="846773" y="306705"/>
                  </a:lnTo>
                  <a:lnTo>
                    <a:pt x="843915" y="295275"/>
                  </a:lnTo>
                  <a:lnTo>
                    <a:pt x="822960" y="296228"/>
                  </a:lnTo>
                  <a:lnTo>
                    <a:pt x="813435" y="307657"/>
                  </a:lnTo>
                  <a:lnTo>
                    <a:pt x="806768" y="306705"/>
                  </a:lnTo>
                  <a:lnTo>
                    <a:pt x="804863" y="299085"/>
                  </a:lnTo>
                  <a:lnTo>
                    <a:pt x="780098" y="302895"/>
                  </a:lnTo>
                  <a:lnTo>
                    <a:pt x="779145" y="257175"/>
                  </a:lnTo>
                  <a:lnTo>
                    <a:pt x="788670" y="238125"/>
                  </a:lnTo>
                  <a:lnTo>
                    <a:pt x="782003" y="237173"/>
                  </a:lnTo>
                  <a:lnTo>
                    <a:pt x="764858" y="247650"/>
                  </a:lnTo>
                  <a:lnTo>
                    <a:pt x="743903" y="247650"/>
                  </a:lnTo>
                  <a:lnTo>
                    <a:pt x="707708" y="273367"/>
                  </a:lnTo>
                  <a:lnTo>
                    <a:pt x="648653" y="276225"/>
                  </a:lnTo>
                  <a:lnTo>
                    <a:pt x="609600" y="283845"/>
                  </a:lnTo>
                  <a:lnTo>
                    <a:pt x="591503" y="298132"/>
                  </a:lnTo>
                  <a:lnTo>
                    <a:pt x="578168" y="310515"/>
                  </a:lnTo>
                  <a:lnTo>
                    <a:pt x="554355" y="326707"/>
                  </a:lnTo>
                  <a:lnTo>
                    <a:pt x="551498" y="334328"/>
                  </a:lnTo>
                  <a:lnTo>
                    <a:pt x="545783" y="318135"/>
                  </a:lnTo>
                  <a:lnTo>
                    <a:pt x="533400" y="312420"/>
                  </a:lnTo>
                  <a:lnTo>
                    <a:pt x="533400" y="318135"/>
                  </a:lnTo>
                  <a:lnTo>
                    <a:pt x="540068" y="324803"/>
                  </a:lnTo>
                  <a:lnTo>
                    <a:pt x="540068" y="337185"/>
                  </a:lnTo>
                  <a:lnTo>
                    <a:pt x="525780" y="331470"/>
                  </a:lnTo>
                  <a:lnTo>
                    <a:pt x="520065" y="331470"/>
                  </a:lnTo>
                  <a:lnTo>
                    <a:pt x="517208" y="342900"/>
                  </a:lnTo>
                  <a:lnTo>
                    <a:pt x="498158" y="324803"/>
                  </a:lnTo>
                  <a:lnTo>
                    <a:pt x="485775" y="322898"/>
                  </a:lnTo>
                  <a:lnTo>
                    <a:pt x="473393" y="337185"/>
                  </a:lnTo>
                  <a:lnTo>
                    <a:pt x="442913" y="336232"/>
                  </a:lnTo>
                  <a:lnTo>
                    <a:pt x="438150" y="322898"/>
                  </a:lnTo>
                  <a:lnTo>
                    <a:pt x="419100" y="304800"/>
                  </a:lnTo>
                  <a:lnTo>
                    <a:pt x="406718" y="289560"/>
                  </a:lnTo>
                  <a:lnTo>
                    <a:pt x="406718" y="282892"/>
                  </a:lnTo>
                  <a:lnTo>
                    <a:pt x="396240" y="269557"/>
                  </a:lnTo>
                  <a:lnTo>
                    <a:pt x="371475" y="258127"/>
                  </a:lnTo>
                  <a:lnTo>
                    <a:pt x="340043" y="257175"/>
                  </a:lnTo>
                  <a:lnTo>
                    <a:pt x="329565" y="248602"/>
                  </a:lnTo>
                  <a:lnTo>
                    <a:pt x="316230" y="248602"/>
                  </a:lnTo>
                  <a:lnTo>
                    <a:pt x="309563" y="252413"/>
                  </a:lnTo>
                  <a:lnTo>
                    <a:pt x="288608" y="273367"/>
                  </a:lnTo>
                  <a:lnTo>
                    <a:pt x="281940" y="283845"/>
                  </a:lnTo>
                  <a:lnTo>
                    <a:pt x="272415" y="277178"/>
                  </a:lnTo>
                  <a:lnTo>
                    <a:pt x="274320" y="267653"/>
                  </a:lnTo>
                  <a:lnTo>
                    <a:pt x="281940" y="247650"/>
                  </a:lnTo>
                  <a:lnTo>
                    <a:pt x="312420" y="200025"/>
                  </a:lnTo>
                  <a:lnTo>
                    <a:pt x="320040" y="198120"/>
                  </a:lnTo>
                  <a:lnTo>
                    <a:pt x="336233" y="180023"/>
                  </a:lnTo>
                  <a:lnTo>
                    <a:pt x="342900" y="164782"/>
                  </a:lnTo>
                  <a:lnTo>
                    <a:pt x="371475" y="159067"/>
                  </a:lnTo>
                  <a:lnTo>
                    <a:pt x="379095" y="153352"/>
                  </a:lnTo>
                  <a:lnTo>
                    <a:pt x="378143" y="143827"/>
                  </a:lnTo>
                  <a:lnTo>
                    <a:pt x="373380" y="139065"/>
                  </a:lnTo>
                  <a:lnTo>
                    <a:pt x="330518" y="140970"/>
                  </a:lnTo>
                  <a:lnTo>
                    <a:pt x="311468" y="145732"/>
                  </a:lnTo>
                  <a:lnTo>
                    <a:pt x="286703" y="157163"/>
                  </a:lnTo>
                  <a:lnTo>
                    <a:pt x="275273" y="168592"/>
                  </a:lnTo>
                  <a:lnTo>
                    <a:pt x="259080" y="189548"/>
                  </a:lnTo>
                  <a:lnTo>
                    <a:pt x="241935" y="199073"/>
                  </a:lnTo>
                  <a:lnTo>
                    <a:pt x="210503" y="231457"/>
                  </a:lnTo>
                  <a:lnTo>
                    <a:pt x="206693" y="246698"/>
                  </a:lnTo>
                  <a:lnTo>
                    <a:pt x="136208" y="290513"/>
                  </a:lnTo>
                  <a:lnTo>
                    <a:pt x="98108" y="295275"/>
                  </a:lnTo>
                  <a:lnTo>
                    <a:pt x="80963" y="299085"/>
                  </a:lnTo>
                  <a:lnTo>
                    <a:pt x="59055" y="327660"/>
                  </a:lnTo>
                  <a:lnTo>
                    <a:pt x="41910" y="334328"/>
                  </a:lnTo>
                  <a:lnTo>
                    <a:pt x="0" y="356235"/>
                  </a:lnTo>
                  <a:close/>
                  <a:moveTo>
                    <a:pt x="977265" y="399098"/>
                  </a:moveTo>
                  <a:lnTo>
                    <a:pt x="1013460" y="400050"/>
                  </a:lnTo>
                  <a:lnTo>
                    <a:pt x="1019175" y="395288"/>
                  </a:lnTo>
                  <a:lnTo>
                    <a:pt x="1017270" y="376238"/>
                  </a:lnTo>
                  <a:lnTo>
                    <a:pt x="1001078" y="359092"/>
                  </a:lnTo>
                  <a:lnTo>
                    <a:pt x="982980" y="360045"/>
                  </a:lnTo>
                  <a:lnTo>
                    <a:pt x="982028" y="364807"/>
                  </a:lnTo>
                  <a:lnTo>
                    <a:pt x="992505" y="368617"/>
                  </a:lnTo>
                  <a:lnTo>
                    <a:pt x="977265" y="376238"/>
                  </a:lnTo>
                  <a:lnTo>
                    <a:pt x="974408" y="385763"/>
                  </a:lnTo>
                  <a:lnTo>
                    <a:pt x="968693" y="380048"/>
                  </a:lnTo>
                  <a:lnTo>
                    <a:pt x="964883" y="387667"/>
                  </a:lnTo>
                  <a:close/>
                  <a:moveTo>
                    <a:pt x="261938" y="0"/>
                  </a:moveTo>
                  <a:lnTo>
                    <a:pt x="240030" y="1905"/>
                  </a:lnTo>
                  <a:lnTo>
                    <a:pt x="214313" y="20002"/>
                  </a:lnTo>
                  <a:lnTo>
                    <a:pt x="146685" y="70485"/>
                  </a:lnTo>
                  <a:lnTo>
                    <a:pt x="154305" y="80010"/>
                  </a:lnTo>
                  <a:lnTo>
                    <a:pt x="171450" y="82867"/>
                  </a:lnTo>
                  <a:lnTo>
                    <a:pt x="198120" y="63817"/>
                  </a:lnTo>
                  <a:lnTo>
                    <a:pt x="187643" y="59055"/>
                  </a:lnTo>
                  <a:lnTo>
                    <a:pt x="209550" y="43815"/>
                  </a:lnTo>
                  <a:lnTo>
                    <a:pt x="219075" y="43815"/>
                  </a:lnTo>
                  <a:lnTo>
                    <a:pt x="247650" y="25717"/>
                  </a:lnTo>
                  <a:lnTo>
                    <a:pt x="246698" y="17145"/>
                  </a:lnTo>
                  <a:close/>
                  <a:moveTo>
                    <a:pt x="653415" y="598170"/>
                  </a:moveTo>
                  <a:lnTo>
                    <a:pt x="653415" y="607695"/>
                  </a:lnTo>
                  <a:lnTo>
                    <a:pt x="673418" y="622935"/>
                  </a:lnTo>
                  <a:lnTo>
                    <a:pt x="671513" y="600075"/>
                  </a:lnTo>
                  <a:close/>
                  <a:moveTo>
                    <a:pt x="646748" y="624840"/>
                  </a:moveTo>
                  <a:lnTo>
                    <a:pt x="657225" y="625793"/>
                  </a:lnTo>
                  <a:lnTo>
                    <a:pt x="657225" y="634365"/>
                  </a:lnTo>
                  <a:lnTo>
                    <a:pt x="647700" y="634365"/>
                  </a:lnTo>
                  <a:close/>
                  <a:moveTo>
                    <a:pt x="850583" y="421957"/>
                  </a:moveTo>
                  <a:lnTo>
                    <a:pt x="850583" y="430530"/>
                  </a:lnTo>
                  <a:lnTo>
                    <a:pt x="858203" y="428625"/>
                  </a:lnTo>
                  <a:lnTo>
                    <a:pt x="858203" y="423863"/>
                  </a:lnTo>
                  <a:close/>
                  <a:moveTo>
                    <a:pt x="895350" y="451485"/>
                  </a:moveTo>
                  <a:lnTo>
                    <a:pt x="894398" y="441007"/>
                  </a:lnTo>
                  <a:lnTo>
                    <a:pt x="879158" y="439103"/>
                  </a:lnTo>
                  <a:lnTo>
                    <a:pt x="873443" y="435292"/>
                  </a:lnTo>
                  <a:lnTo>
                    <a:pt x="864870" y="435292"/>
                  </a:lnTo>
                  <a:lnTo>
                    <a:pt x="861060" y="438150"/>
                  </a:lnTo>
                  <a:lnTo>
                    <a:pt x="869633" y="441960"/>
                  </a:lnTo>
                  <a:lnTo>
                    <a:pt x="880110" y="452438"/>
                  </a:lnTo>
                  <a:close/>
                  <a:moveTo>
                    <a:pt x="723900" y="462915"/>
                  </a:moveTo>
                  <a:lnTo>
                    <a:pt x="722948" y="473392"/>
                  </a:lnTo>
                  <a:lnTo>
                    <a:pt x="720090" y="480060"/>
                  </a:lnTo>
                  <a:lnTo>
                    <a:pt x="721995" y="501015"/>
                  </a:lnTo>
                  <a:lnTo>
                    <a:pt x="725805" y="503873"/>
                  </a:lnTo>
                  <a:lnTo>
                    <a:pt x="732473" y="504825"/>
                  </a:lnTo>
                  <a:lnTo>
                    <a:pt x="737235" y="496253"/>
                  </a:lnTo>
                  <a:lnTo>
                    <a:pt x="738188" y="481013"/>
                  </a:lnTo>
                  <a:lnTo>
                    <a:pt x="735330" y="475298"/>
                  </a:lnTo>
                  <a:lnTo>
                    <a:pt x="734378" y="464820"/>
                  </a:lnTo>
                  <a:close/>
                </a:path>
              </a:pathLst>
            </a:custGeom>
            <a:solidFill>
              <a:srgbClr val="D0D0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FFB3F917-2476-42C6-AE0E-63C29A158D53}"/>
                </a:ext>
              </a:extLst>
            </p:cNvPr>
            <p:cNvSpPr/>
            <p:nvPr/>
          </p:nvSpPr>
          <p:spPr>
            <a:xfrm>
              <a:off x="5932169" y="1263967"/>
              <a:ext cx="1102994" cy="1222057"/>
            </a:xfrm>
            <a:custGeom>
              <a:avLst/>
              <a:gdLst>
                <a:gd name="connsiteX0" fmla="*/ 22860 w 1102994"/>
                <a:gd name="connsiteY0" fmla="*/ 141922 h 1222057"/>
                <a:gd name="connsiteX1" fmla="*/ 12383 w 1102994"/>
                <a:gd name="connsiteY1" fmla="*/ 168593 h 1222057"/>
                <a:gd name="connsiteX2" fmla="*/ 20003 w 1102994"/>
                <a:gd name="connsiteY2" fmla="*/ 181928 h 1222057"/>
                <a:gd name="connsiteX3" fmla="*/ 17145 w 1102994"/>
                <a:gd name="connsiteY3" fmla="*/ 230505 h 1222057"/>
                <a:gd name="connsiteX4" fmla="*/ 12383 w 1102994"/>
                <a:gd name="connsiteY4" fmla="*/ 240983 h 1222057"/>
                <a:gd name="connsiteX5" fmla="*/ 38100 w 1102994"/>
                <a:gd name="connsiteY5" fmla="*/ 327660 h 1222057"/>
                <a:gd name="connsiteX6" fmla="*/ 50483 w 1102994"/>
                <a:gd name="connsiteY6" fmla="*/ 351472 h 1222057"/>
                <a:gd name="connsiteX7" fmla="*/ 57150 w 1102994"/>
                <a:gd name="connsiteY7" fmla="*/ 484822 h 1222057"/>
                <a:gd name="connsiteX8" fmla="*/ 66675 w 1102994"/>
                <a:gd name="connsiteY8" fmla="*/ 510540 h 1222057"/>
                <a:gd name="connsiteX9" fmla="*/ 62865 w 1102994"/>
                <a:gd name="connsiteY9" fmla="*/ 565785 h 1222057"/>
                <a:gd name="connsiteX10" fmla="*/ 90488 w 1102994"/>
                <a:gd name="connsiteY10" fmla="*/ 636270 h 1222057"/>
                <a:gd name="connsiteX11" fmla="*/ 93345 w 1102994"/>
                <a:gd name="connsiteY11" fmla="*/ 691515 h 1222057"/>
                <a:gd name="connsiteX12" fmla="*/ 92393 w 1102994"/>
                <a:gd name="connsiteY12" fmla="*/ 711517 h 1222057"/>
                <a:gd name="connsiteX13" fmla="*/ 91440 w 1102994"/>
                <a:gd name="connsiteY13" fmla="*/ 732473 h 1222057"/>
                <a:gd name="connsiteX14" fmla="*/ 82868 w 1102994"/>
                <a:gd name="connsiteY14" fmla="*/ 751523 h 1222057"/>
                <a:gd name="connsiteX15" fmla="*/ 53340 w 1102994"/>
                <a:gd name="connsiteY15" fmla="*/ 769620 h 1222057"/>
                <a:gd name="connsiteX16" fmla="*/ 50483 w 1102994"/>
                <a:gd name="connsiteY16" fmla="*/ 781050 h 1222057"/>
                <a:gd name="connsiteX17" fmla="*/ 66675 w 1102994"/>
                <a:gd name="connsiteY17" fmla="*/ 804862 h 1222057"/>
                <a:gd name="connsiteX18" fmla="*/ 70485 w 1102994"/>
                <a:gd name="connsiteY18" fmla="*/ 822008 h 1222057"/>
                <a:gd name="connsiteX19" fmla="*/ 95250 w 1102994"/>
                <a:gd name="connsiteY19" fmla="*/ 827723 h 1222057"/>
                <a:gd name="connsiteX20" fmla="*/ 109538 w 1102994"/>
                <a:gd name="connsiteY20" fmla="*/ 845820 h 1222057"/>
                <a:gd name="connsiteX21" fmla="*/ 107633 w 1102994"/>
                <a:gd name="connsiteY21" fmla="*/ 1222058 h 1222057"/>
                <a:gd name="connsiteX22" fmla="*/ 376238 w 1102994"/>
                <a:gd name="connsiteY22" fmla="*/ 1222058 h 1222057"/>
                <a:gd name="connsiteX23" fmla="*/ 721995 w 1102994"/>
                <a:gd name="connsiteY23" fmla="*/ 1213485 h 1222057"/>
                <a:gd name="connsiteX24" fmla="*/ 899160 w 1102994"/>
                <a:gd name="connsiteY24" fmla="*/ 1206817 h 1222057"/>
                <a:gd name="connsiteX25" fmla="*/ 888682 w 1102994"/>
                <a:gd name="connsiteY25" fmla="*/ 1163955 h 1222057"/>
                <a:gd name="connsiteX26" fmla="*/ 886778 w 1102994"/>
                <a:gd name="connsiteY26" fmla="*/ 1135380 h 1222057"/>
                <a:gd name="connsiteX27" fmla="*/ 865823 w 1102994"/>
                <a:gd name="connsiteY27" fmla="*/ 1106805 h 1222057"/>
                <a:gd name="connsiteX28" fmla="*/ 839153 w 1102994"/>
                <a:gd name="connsiteY28" fmla="*/ 1100138 h 1222057"/>
                <a:gd name="connsiteX29" fmla="*/ 789623 w 1102994"/>
                <a:gd name="connsiteY29" fmla="*/ 1065848 h 1222057"/>
                <a:gd name="connsiteX30" fmla="*/ 783907 w 1102994"/>
                <a:gd name="connsiteY30" fmla="*/ 1034415 h 1222057"/>
                <a:gd name="connsiteX31" fmla="*/ 723900 w 1102994"/>
                <a:gd name="connsiteY31" fmla="*/ 1004887 h 1222057"/>
                <a:gd name="connsiteX32" fmla="*/ 721995 w 1102994"/>
                <a:gd name="connsiteY32" fmla="*/ 992505 h 1222057"/>
                <a:gd name="connsiteX33" fmla="*/ 690563 w 1102994"/>
                <a:gd name="connsiteY33" fmla="*/ 992505 h 1222057"/>
                <a:gd name="connsiteX34" fmla="*/ 669607 w 1102994"/>
                <a:gd name="connsiteY34" fmla="*/ 967740 h 1222057"/>
                <a:gd name="connsiteX35" fmla="*/ 650557 w 1102994"/>
                <a:gd name="connsiteY35" fmla="*/ 955358 h 1222057"/>
                <a:gd name="connsiteX36" fmla="*/ 657225 w 1102994"/>
                <a:gd name="connsiteY36" fmla="*/ 906780 h 1222057"/>
                <a:gd name="connsiteX37" fmla="*/ 648653 w 1102994"/>
                <a:gd name="connsiteY37" fmla="*/ 891540 h 1222057"/>
                <a:gd name="connsiteX38" fmla="*/ 653415 w 1102994"/>
                <a:gd name="connsiteY38" fmla="*/ 840105 h 1222057"/>
                <a:gd name="connsiteX39" fmla="*/ 662940 w 1102994"/>
                <a:gd name="connsiteY39" fmla="*/ 822960 h 1222057"/>
                <a:gd name="connsiteX40" fmla="*/ 660082 w 1102994"/>
                <a:gd name="connsiteY40" fmla="*/ 797242 h 1222057"/>
                <a:gd name="connsiteX41" fmla="*/ 648653 w 1102994"/>
                <a:gd name="connsiteY41" fmla="*/ 784860 h 1222057"/>
                <a:gd name="connsiteX42" fmla="*/ 631507 w 1102994"/>
                <a:gd name="connsiteY42" fmla="*/ 782003 h 1222057"/>
                <a:gd name="connsiteX43" fmla="*/ 631507 w 1102994"/>
                <a:gd name="connsiteY43" fmla="*/ 765810 h 1222057"/>
                <a:gd name="connsiteX44" fmla="*/ 658178 w 1102994"/>
                <a:gd name="connsiteY44" fmla="*/ 710565 h 1222057"/>
                <a:gd name="connsiteX45" fmla="*/ 714375 w 1102994"/>
                <a:gd name="connsiteY45" fmla="*/ 673418 h 1222057"/>
                <a:gd name="connsiteX46" fmla="*/ 710565 w 1102994"/>
                <a:gd name="connsiteY46" fmla="*/ 549593 h 1222057"/>
                <a:gd name="connsiteX47" fmla="*/ 719138 w 1102994"/>
                <a:gd name="connsiteY47" fmla="*/ 553403 h 1222057"/>
                <a:gd name="connsiteX48" fmla="*/ 724853 w 1102994"/>
                <a:gd name="connsiteY48" fmla="*/ 548640 h 1222057"/>
                <a:gd name="connsiteX49" fmla="*/ 725805 w 1102994"/>
                <a:gd name="connsiteY49" fmla="*/ 538162 h 1222057"/>
                <a:gd name="connsiteX50" fmla="*/ 734378 w 1102994"/>
                <a:gd name="connsiteY50" fmla="*/ 532448 h 1222057"/>
                <a:gd name="connsiteX51" fmla="*/ 747713 w 1102994"/>
                <a:gd name="connsiteY51" fmla="*/ 543878 h 1222057"/>
                <a:gd name="connsiteX52" fmla="*/ 754380 w 1102994"/>
                <a:gd name="connsiteY52" fmla="*/ 542925 h 1222057"/>
                <a:gd name="connsiteX53" fmla="*/ 754380 w 1102994"/>
                <a:gd name="connsiteY53" fmla="*/ 542925 h 1222057"/>
                <a:gd name="connsiteX54" fmla="*/ 742950 w 1102994"/>
                <a:gd name="connsiteY54" fmla="*/ 521970 h 1222057"/>
                <a:gd name="connsiteX55" fmla="*/ 783907 w 1102994"/>
                <a:gd name="connsiteY55" fmla="*/ 492443 h 1222057"/>
                <a:gd name="connsiteX56" fmla="*/ 813435 w 1102994"/>
                <a:gd name="connsiteY56" fmla="*/ 457200 h 1222057"/>
                <a:gd name="connsiteX57" fmla="*/ 828675 w 1102994"/>
                <a:gd name="connsiteY57" fmla="*/ 449580 h 1222057"/>
                <a:gd name="connsiteX58" fmla="*/ 873443 w 1102994"/>
                <a:gd name="connsiteY58" fmla="*/ 393383 h 1222057"/>
                <a:gd name="connsiteX59" fmla="*/ 933450 w 1102994"/>
                <a:gd name="connsiteY59" fmla="*/ 338137 h 1222057"/>
                <a:gd name="connsiteX60" fmla="*/ 970598 w 1102994"/>
                <a:gd name="connsiteY60" fmla="*/ 318135 h 1222057"/>
                <a:gd name="connsiteX61" fmla="*/ 1030605 w 1102994"/>
                <a:gd name="connsiteY61" fmla="*/ 292418 h 1222057"/>
                <a:gd name="connsiteX62" fmla="*/ 1102995 w 1102994"/>
                <a:gd name="connsiteY62" fmla="*/ 249555 h 1222057"/>
                <a:gd name="connsiteX63" fmla="*/ 1097280 w 1102994"/>
                <a:gd name="connsiteY63" fmla="*/ 245745 h 1222057"/>
                <a:gd name="connsiteX64" fmla="*/ 1062038 w 1102994"/>
                <a:gd name="connsiteY64" fmla="*/ 252412 h 1222057"/>
                <a:gd name="connsiteX65" fmla="*/ 1035368 w 1102994"/>
                <a:gd name="connsiteY65" fmla="*/ 253365 h 1222057"/>
                <a:gd name="connsiteX66" fmla="*/ 1025843 w 1102994"/>
                <a:gd name="connsiteY66" fmla="*/ 238125 h 1222057"/>
                <a:gd name="connsiteX67" fmla="*/ 1012507 w 1102994"/>
                <a:gd name="connsiteY67" fmla="*/ 229553 h 1222057"/>
                <a:gd name="connsiteX68" fmla="*/ 919163 w 1102994"/>
                <a:gd name="connsiteY68" fmla="*/ 240983 h 1222057"/>
                <a:gd name="connsiteX69" fmla="*/ 909638 w 1102994"/>
                <a:gd name="connsiteY69" fmla="*/ 214312 h 1222057"/>
                <a:gd name="connsiteX70" fmla="*/ 894398 w 1102994"/>
                <a:gd name="connsiteY70" fmla="*/ 213360 h 1222057"/>
                <a:gd name="connsiteX71" fmla="*/ 878205 w 1102994"/>
                <a:gd name="connsiteY71" fmla="*/ 220980 h 1222057"/>
                <a:gd name="connsiteX72" fmla="*/ 842963 w 1102994"/>
                <a:gd name="connsiteY72" fmla="*/ 250508 h 1222057"/>
                <a:gd name="connsiteX73" fmla="*/ 803910 w 1102994"/>
                <a:gd name="connsiteY73" fmla="*/ 250508 h 1222057"/>
                <a:gd name="connsiteX74" fmla="*/ 783907 w 1102994"/>
                <a:gd name="connsiteY74" fmla="*/ 240983 h 1222057"/>
                <a:gd name="connsiteX75" fmla="*/ 781050 w 1102994"/>
                <a:gd name="connsiteY75" fmla="*/ 224790 h 1222057"/>
                <a:gd name="connsiteX76" fmla="*/ 743903 w 1102994"/>
                <a:gd name="connsiteY76" fmla="*/ 217170 h 1222057"/>
                <a:gd name="connsiteX77" fmla="*/ 738188 w 1102994"/>
                <a:gd name="connsiteY77" fmla="*/ 201930 h 1222057"/>
                <a:gd name="connsiteX78" fmla="*/ 731520 w 1102994"/>
                <a:gd name="connsiteY78" fmla="*/ 189547 h 1222057"/>
                <a:gd name="connsiteX79" fmla="*/ 721995 w 1102994"/>
                <a:gd name="connsiteY79" fmla="*/ 198120 h 1222057"/>
                <a:gd name="connsiteX80" fmla="*/ 697230 w 1102994"/>
                <a:gd name="connsiteY80" fmla="*/ 199072 h 1222057"/>
                <a:gd name="connsiteX81" fmla="*/ 602932 w 1102994"/>
                <a:gd name="connsiteY81" fmla="*/ 146685 h 1222057"/>
                <a:gd name="connsiteX82" fmla="*/ 575310 w 1102994"/>
                <a:gd name="connsiteY82" fmla="*/ 146685 h 1222057"/>
                <a:gd name="connsiteX83" fmla="*/ 567690 w 1102994"/>
                <a:gd name="connsiteY83" fmla="*/ 140018 h 1222057"/>
                <a:gd name="connsiteX84" fmla="*/ 538163 w 1102994"/>
                <a:gd name="connsiteY84" fmla="*/ 152400 h 1222057"/>
                <a:gd name="connsiteX85" fmla="*/ 530543 w 1102994"/>
                <a:gd name="connsiteY85" fmla="*/ 164783 h 1222057"/>
                <a:gd name="connsiteX86" fmla="*/ 499110 w 1102994"/>
                <a:gd name="connsiteY86" fmla="*/ 172403 h 1222057"/>
                <a:gd name="connsiteX87" fmla="*/ 486728 w 1102994"/>
                <a:gd name="connsiteY87" fmla="*/ 170497 h 1222057"/>
                <a:gd name="connsiteX88" fmla="*/ 486728 w 1102994"/>
                <a:gd name="connsiteY88" fmla="*/ 154305 h 1222057"/>
                <a:gd name="connsiteX89" fmla="*/ 480060 w 1102994"/>
                <a:gd name="connsiteY89" fmla="*/ 145733 h 1222057"/>
                <a:gd name="connsiteX90" fmla="*/ 423863 w 1102994"/>
                <a:gd name="connsiteY90" fmla="*/ 145733 h 1222057"/>
                <a:gd name="connsiteX91" fmla="*/ 420053 w 1102994"/>
                <a:gd name="connsiteY91" fmla="*/ 132397 h 1222057"/>
                <a:gd name="connsiteX92" fmla="*/ 395288 w 1102994"/>
                <a:gd name="connsiteY92" fmla="*/ 132397 h 1222057"/>
                <a:gd name="connsiteX93" fmla="*/ 384810 w 1102994"/>
                <a:gd name="connsiteY93" fmla="*/ 136208 h 1222057"/>
                <a:gd name="connsiteX94" fmla="*/ 361950 w 1102994"/>
                <a:gd name="connsiteY94" fmla="*/ 120015 h 1222057"/>
                <a:gd name="connsiteX95" fmla="*/ 364808 w 1102994"/>
                <a:gd name="connsiteY95" fmla="*/ 106680 h 1222057"/>
                <a:gd name="connsiteX96" fmla="*/ 359093 w 1102994"/>
                <a:gd name="connsiteY96" fmla="*/ 83820 h 1222057"/>
                <a:gd name="connsiteX97" fmla="*/ 352425 w 1102994"/>
                <a:gd name="connsiteY97" fmla="*/ 73343 h 1222057"/>
                <a:gd name="connsiteX98" fmla="*/ 350520 w 1102994"/>
                <a:gd name="connsiteY98" fmla="*/ 44768 h 1222057"/>
                <a:gd name="connsiteX99" fmla="*/ 340995 w 1102994"/>
                <a:gd name="connsiteY99" fmla="*/ 15240 h 1222057"/>
                <a:gd name="connsiteX100" fmla="*/ 320993 w 1102994"/>
                <a:gd name="connsiteY100" fmla="*/ 0 h 1222057"/>
                <a:gd name="connsiteX101" fmla="*/ 293370 w 1102994"/>
                <a:gd name="connsiteY101" fmla="*/ 0 h 1222057"/>
                <a:gd name="connsiteX102" fmla="*/ 294323 w 1102994"/>
                <a:gd name="connsiteY102" fmla="*/ 76200 h 1222057"/>
                <a:gd name="connsiteX103" fmla="*/ 0 w 1102994"/>
                <a:gd name="connsiteY103" fmla="*/ 72390 h 1222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1102994" h="1222057">
                  <a:moveTo>
                    <a:pt x="22860" y="141922"/>
                  </a:moveTo>
                  <a:lnTo>
                    <a:pt x="12383" y="168593"/>
                  </a:lnTo>
                  <a:lnTo>
                    <a:pt x="20003" y="181928"/>
                  </a:lnTo>
                  <a:lnTo>
                    <a:pt x="17145" y="230505"/>
                  </a:lnTo>
                  <a:lnTo>
                    <a:pt x="12383" y="240983"/>
                  </a:lnTo>
                  <a:lnTo>
                    <a:pt x="38100" y="327660"/>
                  </a:lnTo>
                  <a:lnTo>
                    <a:pt x="50483" y="351472"/>
                  </a:lnTo>
                  <a:lnTo>
                    <a:pt x="57150" y="484822"/>
                  </a:lnTo>
                  <a:lnTo>
                    <a:pt x="66675" y="510540"/>
                  </a:lnTo>
                  <a:lnTo>
                    <a:pt x="62865" y="565785"/>
                  </a:lnTo>
                  <a:lnTo>
                    <a:pt x="90488" y="636270"/>
                  </a:lnTo>
                  <a:lnTo>
                    <a:pt x="93345" y="691515"/>
                  </a:lnTo>
                  <a:lnTo>
                    <a:pt x="92393" y="711517"/>
                  </a:lnTo>
                  <a:lnTo>
                    <a:pt x="91440" y="732473"/>
                  </a:lnTo>
                  <a:lnTo>
                    <a:pt x="82868" y="751523"/>
                  </a:lnTo>
                  <a:lnTo>
                    <a:pt x="53340" y="769620"/>
                  </a:lnTo>
                  <a:lnTo>
                    <a:pt x="50483" y="781050"/>
                  </a:lnTo>
                  <a:lnTo>
                    <a:pt x="66675" y="804862"/>
                  </a:lnTo>
                  <a:lnTo>
                    <a:pt x="70485" y="822008"/>
                  </a:lnTo>
                  <a:lnTo>
                    <a:pt x="95250" y="827723"/>
                  </a:lnTo>
                  <a:lnTo>
                    <a:pt x="109538" y="845820"/>
                  </a:lnTo>
                  <a:lnTo>
                    <a:pt x="107633" y="1222058"/>
                  </a:lnTo>
                  <a:lnTo>
                    <a:pt x="376238" y="1222058"/>
                  </a:lnTo>
                  <a:lnTo>
                    <a:pt x="721995" y="1213485"/>
                  </a:lnTo>
                  <a:lnTo>
                    <a:pt x="899160" y="1206817"/>
                  </a:lnTo>
                  <a:lnTo>
                    <a:pt x="888682" y="1163955"/>
                  </a:lnTo>
                  <a:lnTo>
                    <a:pt x="886778" y="1135380"/>
                  </a:lnTo>
                  <a:lnTo>
                    <a:pt x="865823" y="1106805"/>
                  </a:lnTo>
                  <a:lnTo>
                    <a:pt x="839153" y="1100138"/>
                  </a:lnTo>
                  <a:lnTo>
                    <a:pt x="789623" y="1065848"/>
                  </a:lnTo>
                  <a:lnTo>
                    <a:pt x="783907" y="1034415"/>
                  </a:lnTo>
                  <a:lnTo>
                    <a:pt x="723900" y="1004887"/>
                  </a:lnTo>
                  <a:lnTo>
                    <a:pt x="721995" y="992505"/>
                  </a:lnTo>
                  <a:lnTo>
                    <a:pt x="690563" y="992505"/>
                  </a:lnTo>
                  <a:lnTo>
                    <a:pt x="669607" y="967740"/>
                  </a:lnTo>
                  <a:lnTo>
                    <a:pt x="650557" y="955358"/>
                  </a:lnTo>
                  <a:lnTo>
                    <a:pt x="657225" y="906780"/>
                  </a:lnTo>
                  <a:lnTo>
                    <a:pt x="648653" y="891540"/>
                  </a:lnTo>
                  <a:lnTo>
                    <a:pt x="653415" y="840105"/>
                  </a:lnTo>
                  <a:lnTo>
                    <a:pt x="662940" y="822960"/>
                  </a:lnTo>
                  <a:lnTo>
                    <a:pt x="660082" y="797242"/>
                  </a:lnTo>
                  <a:lnTo>
                    <a:pt x="648653" y="784860"/>
                  </a:lnTo>
                  <a:lnTo>
                    <a:pt x="631507" y="782003"/>
                  </a:lnTo>
                  <a:lnTo>
                    <a:pt x="631507" y="765810"/>
                  </a:lnTo>
                  <a:lnTo>
                    <a:pt x="658178" y="710565"/>
                  </a:lnTo>
                  <a:lnTo>
                    <a:pt x="714375" y="673418"/>
                  </a:lnTo>
                  <a:lnTo>
                    <a:pt x="710565" y="549593"/>
                  </a:lnTo>
                  <a:lnTo>
                    <a:pt x="719138" y="553403"/>
                  </a:lnTo>
                  <a:lnTo>
                    <a:pt x="724853" y="548640"/>
                  </a:lnTo>
                  <a:lnTo>
                    <a:pt x="725805" y="538162"/>
                  </a:lnTo>
                  <a:lnTo>
                    <a:pt x="734378" y="532448"/>
                  </a:lnTo>
                  <a:lnTo>
                    <a:pt x="747713" y="543878"/>
                  </a:lnTo>
                  <a:lnTo>
                    <a:pt x="754380" y="542925"/>
                  </a:lnTo>
                  <a:lnTo>
                    <a:pt x="754380" y="542925"/>
                  </a:lnTo>
                  <a:lnTo>
                    <a:pt x="742950" y="521970"/>
                  </a:lnTo>
                  <a:lnTo>
                    <a:pt x="783907" y="492443"/>
                  </a:lnTo>
                  <a:lnTo>
                    <a:pt x="813435" y="457200"/>
                  </a:lnTo>
                  <a:lnTo>
                    <a:pt x="828675" y="449580"/>
                  </a:lnTo>
                  <a:lnTo>
                    <a:pt x="873443" y="393383"/>
                  </a:lnTo>
                  <a:lnTo>
                    <a:pt x="933450" y="338137"/>
                  </a:lnTo>
                  <a:lnTo>
                    <a:pt x="970598" y="318135"/>
                  </a:lnTo>
                  <a:lnTo>
                    <a:pt x="1030605" y="292418"/>
                  </a:lnTo>
                  <a:lnTo>
                    <a:pt x="1102995" y="249555"/>
                  </a:lnTo>
                  <a:lnTo>
                    <a:pt x="1097280" y="245745"/>
                  </a:lnTo>
                  <a:lnTo>
                    <a:pt x="1062038" y="252412"/>
                  </a:lnTo>
                  <a:lnTo>
                    <a:pt x="1035368" y="253365"/>
                  </a:lnTo>
                  <a:lnTo>
                    <a:pt x="1025843" y="238125"/>
                  </a:lnTo>
                  <a:lnTo>
                    <a:pt x="1012507" y="229553"/>
                  </a:lnTo>
                  <a:lnTo>
                    <a:pt x="919163" y="240983"/>
                  </a:lnTo>
                  <a:lnTo>
                    <a:pt x="909638" y="214312"/>
                  </a:lnTo>
                  <a:lnTo>
                    <a:pt x="894398" y="213360"/>
                  </a:lnTo>
                  <a:lnTo>
                    <a:pt x="878205" y="220980"/>
                  </a:lnTo>
                  <a:lnTo>
                    <a:pt x="842963" y="250508"/>
                  </a:lnTo>
                  <a:lnTo>
                    <a:pt x="803910" y="250508"/>
                  </a:lnTo>
                  <a:lnTo>
                    <a:pt x="783907" y="240983"/>
                  </a:lnTo>
                  <a:lnTo>
                    <a:pt x="781050" y="224790"/>
                  </a:lnTo>
                  <a:lnTo>
                    <a:pt x="743903" y="217170"/>
                  </a:lnTo>
                  <a:lnTo>
                    <a:pt x="738188" y="201930"/>
                  </a:lnTo>
                  <a:lnTo>
                    <a:pt x="731520" y="189547"/>
                  </a:lnTo>
                  <a:lnTo>
                    <a:pt x="721995" y="198120"/>
                  </a:lnTo>
                  <a:lnTo>
                    <a:pt x="697230" y="199072"/>
                  </a:lnTo>
                  <a:lnTo>
                    <a:pt x="602932" y="146685"/>
                  </a:lnTo>
                  <a:lnTo>
                    <a:pt x="575310" y="146685"/>
                  </a:lnTo>
                  <a:lnTo>
                    <a:pt x="567690" y="140018"/>
                  </a:lnTo>
                  <a:lnTo>
                    <a:pt x="538163" y="152400"/>
                  </a:lnTo>
                  <a:lnTo>
                    <a:pt x="530543" y="164783"/>
                  </a:lnTo>
                  <a:lnTo>
                    <a:pt x="499110" y="172403"/>
                  </a:lnTo>
                  <a:lnTo>
                    <a:pt x="486728" y="170497"/>
                  </a:lnTo>
                  <a:lnTo>
                    <a:pt x="486728" y="154305"/>
                  </a:lnTo>
                  <a:lnTo>
                    <a:pt x="480060" y="145733"/>
                  </a:lnTo>
                  <a:lnTo>
                    <a:pt x="423863" y="145733"/>
                  </a:lnTo>
                  <a:lnTo>
                    <a:pt x="420053" y="132397"/>
                  </a:lnTo>
                  <a:lnTo>
                    <a:pt x="395288" y="132397"/>
                  </a:lnTo>
                  <a:lnTo>
                    <a:pt x="384810" y="136208"/>
                  </a:lnTo>
                  <a:lnTo>
                    <a:pt x="361950" y="120015"/>
                  </a:lnTo>
                  <a:lnTo>
                    <a:pt x="364808" y="106680"/>
                  </a:lnTo>
                  <a:lnTo>
                    <a:pt x="359093" y="83820"/>
                  </a:lnTo>
                  <a:lnTo>
                    <a:pt x="352425" y="73343"/>
                  </a:lnTo>
                  <a:lnTo>
                    <a:pt x="350520" y="44768"/>
                  </a:lnTo>
                  <a:lnTo>
                    <a:pt x="340995" y="15240"/>
                  </a:lnTo>
                  <a:lnTo>
                    <a:pt x="320993" y="0"/>
                  </a:lnTo>
                  <a:lnTo>
                    <a:pt x="293370" y="0"/>
                  </a:lnTo>
                  <a:lnTo>
                    <a:pt x="294323" y="76200"/>
                  </a:lnTo>
                  <a:lnTo>
                    <a:pt x="0" y="72390"/>
                  </a:lnTo>
                  <a:close/>
                </a:path>
              </a:pathLst>
            </a:custGeom>
            <a:solidFill>
              <a:srgbClr val="D0D0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AFE19009-9416-AD45-9D26-EA78BCBB1DBE}"/>
                </a:ext>
              </a:extLst>
            </p:cNvPr>
            <p:cNvSpPr/>
            <p:nvPr/>
          </p:nvSpPr>
          <p:spPr>
            <a:xfrm>
              <a:off x="6889431" y="4230052"/>
              <a:ext cx="595312" cy="1033462"/>
            </a:xfrm>
            <a:custGeom>
              <a:avLst/>
              <a:gdLst>
                <a:gd name="connsiteX0" fmla="*/ 581025 w 595312"/>
                <a:gd name="connsiteY0" fmla="*/ 985838 h 1033462"/>
                <a:gd name="connsiteX1" fmla="*/ 533400 w 595312"/>
                <a:gd name="connsiteY1" fmla="*/ 986790 h 1033462"/>
                <a:gd name="connsiteX2" fmla="*/ 510540 w 595312"/>
                <a:gd name="connsiteY2" fmla="*/ 972503 h 1033462"/>
                <a:gd name="connsiteX3" fmla="*/ 435293 w 595312"/>
                <a:gd name="connsiteY3" fmla="*/ 996315 h 1033462"/>
                <a:gd name="connsiteX4" fmla="*/ 426720 w 595312"/>
                <a:gd name="connsiteY4" fmla="*/ 989647 h 1033462"/>
                <a:gd name="connsiteX5" fmla="*/ 421957 w 595312"/>
                <a:gd name="connsiteY5" fmla="*/ 991553 h 1033462"/>
                <a:gd name="connsiteX6" fmla="*/ 421005 w 595312"/>
                <a:gd name="connsiteY6" fmla="*/ 1006792 h 1033462"/>
                <a:gd name="connsiteX7" fmla="*/ 415290 w 595312"/>
                <a:gd name="connsiteY7" fmla="*/ 1007745 h 1033462"/>
                <a:gd name="connsiteX8" fmla="*/ 390525 w 595312"/>
                <a:gd name="connsiteY8" fmla="*/ 1033463 h 1033462"/>
                <a:gd name="connsiteX9" fmla="*/ 383857 w 595312"/>
                <a:gd name="connsiteY9" fmla="*/ 1032510 h 1033462"/>
                <a:gd name="connsiteX10" fmla="*/ 378143 w 595312"/>
                <a:gd name="connsiteY10" fmla="*/ 1025842 h 1033462"/>
                <a:gd name="connsiteX11" fmla="*/ 366713 w 595312"/>
                <a:gd name="connsiteY11" fmla="*/ 1008697 h 1033462"/>
                <a:gd name="connsiteX12" fmla="*/ 369570 w 595312"/>
                <a:gd name="connsiteY12" fmla="*/ 996315 h 1033462"/>
                <a:gd name="connsiteX13" fmla="*/ 323850 w 595312"/>
                <a:gd name="connsiteY13" fmla="*/ 931545 h 1033462"/>
                <a:gd name="connsiteX14" fmla="*/ 332423 w 595312"/>
                <a:gd name="connsiteY14" fmla="*/ 887730 h 1033462"/>
                <a:gd name="connsiteX15" fmla="*/ 341948 w 595312"/>
                <a:gd name="connsiteY15" fmla="*/ 874395 h 1033462"/>
                <a:gd name="connsiteX16" fmla="*/ 342900 w 595312"/>
                <a:gd name="connsiteY16" fmla="*/ 861060 h 1033462"/>
                <a:gd name="connsiteX17" fmla="*/ 0 w 595312"/>
                <a:gd name="connsiteY17" fmla="*/ 880110 h 1033462"/>
                <a:gd name="connsiteX18" fmla="*/ 16193 w 595312"/>
                <a:gd name="connsiteY18" fmla="*/ 766763 h 1033462"/>
                <a:gd name="connsiteX19" fmla="*/ 39053 w 595312"/>
                <a:gd name="connsiteY19" fmla="*/ 721042 h 1033462"/>
                <a:gd name="connsiteX20" fmla="*/ 96203 w 595312"/>
                <a:gd name="connsiteY20" fmla="*/ 641032 h 1033462"/>
                <a:gd name="connsiteX21" fmla="*/ 79057 w 595312"/>
                <a:gd name="connsiteY21" fmla="*/ 617220 h 1033462"/>
                <a:gd name="connsiteX22" fmla="*/ 98107 w 595312"/>
                <a:gd name="connsiteY22" fmla="*/ 617220 h 1033462"/>
                <a:gd name="connsiteX23" fmla="*/ 98107 w 595312"/>
                <a:gd name="connsiteY23" fmla="*/ 585788 h 1033462"/>
                <a:gd name="connsiteX24" fmla="*/ 75248 w 595312"/>
                <a:gd name="connsiteY24" fmla="*/ 561975 h 1033462"/>
                <a:gd name="connsiteX25" fmla="*/ 80010 w 595312"/>
                <a:gd name="connsiteY25" fmla="*/ 545782 h 1033462"/>
                <a:gd name="connsiteX26" fmla="*/ 68580 w 595312"/>
                <a:gd name="connsiteY26" fmla="*/ 536257 h 1033462"/>
                <a:gd name="connsiteX27" fmla="*/ 53340 w 595312"/>
                <a:gd name="connsiteY27" fmla="*/ 468630 h 1033462"/>
                <a:gd name="connsiteX28" fmla="*/ 59055 w 595312"/>
                <a:gd name="connsiteY28" fmla="*/ 455295 h 1033462"/>
                <a:gd name="connsiteX29" fmla="*/ 70485 w 595312"/>
                <a:gd name="connsiteY29" fmla="*/ 441007 h 1033462"/>
                <a:gd name="connsiteX30" fmla="*/ 75248 w 595312"/>
                <a:gd name="connsiteY30" fmla="*/ 412432 h 1033462"/>
                <a:gd name="connsiteX31" fmla="*/ 60960 w 595312"/>
                <a:gd name="connsiteY31" fmla="*/ 390525 h 1033462"/>
                <a:gd name="connsiteX32" fmla="*/ 56198 w 595312"/>
                <a:gd name="connsiteY32" fmla="*/ 369570 h 1033462"/>
                <a:gd name="connsiteX33" fmla="*/ 64770 w 595312"/>
                <a:gd name="connsiteY33" fmla="*/ 362903 h 1033462"/>
                <a:gd name="connsiteX34" fmla="*/ 64770 w 595312"/>
                <a:gd name="connsiteY34" fmla="*/ 355282 h 1033462"/>
                <a:gd name="connsiteX35" fmla="*/ 48578 w 595312"/>
                <a:gd name="connsiteY35" fmla="*/ 344805 h 1033462"/>
                <a:gd name="connsiteX36" fmla="*/ 47625 w 595312"/>
                <a:gd name="connsiteY36" fmla="*/ 338138 h 1033462"/>
                <a:gd name="connsiteX37" fmla="*/ 62865 w 595312"/>
                <a:gd name="connsiteY37" fmla="*/ 329565 h 1033462"/>
                <a:gd name="connsiteX38" fmla="*/ 51435 w 595312"/>
                <a:gd name="connsiteY38" fmla="*/ 319088 h 1033462"/>
                <a:gd name="connsiteX39" fmla="*/ 67628 w 595312"/>
                <a:gd name="connsiteY39" fmla="*/ 251460 h 1033462"/>
                <a:gd name="connsiteX40" fmla="*/ 100013 w 595312"/>
                <a:gd name="connsiteY40" fmla="*/ 236220 h 1033462"/>
                <a:gd name="connsiteX41" fmla="*/ 100013 w 595312"/>
                <a:gd name="connsiteY41" fmla="*/ 228600 h 1033462"/>
                <a:gd name="connsiteX42" fmla="*/ 89535 w 595312"/>
                <a:gd name="connsiteY42" fmla="*/ 215265 h 1033462"/>
                <a:gd name="connsiteX43" fmla="*/ 117157 w 595312"/>
                <a:gd name="connsiteY43" fmla="*/ 163830 h 1033462"/>
                <a:gd name="connsiteX44" fmla="*/ 135255 w 595312"/>
                <a:gd name="connsiteY44" fmla="*/ 163830 h 1033462"/>
                <a:gd name="connsiteX45" fmla="*/ 149543 w 595312"/>
                <a:gd name="connsiteY45" fmla="*/ 152400 h 1033462"/>
                <a:gd name="connsiteX46" fmla="*/ 146685 w 595312"/>
                <a:gd name="connsiteY46" fmla="*/ 102870 h 1033462"/>
                <a:gd name="connsiteX47" fmla="*/ 176213 w 595312"/>
                <a:gd name="connsiteY47" fmla="*/ 60007 h 1033462"/>
                <a:gd name="connsiteX48" fmla="*/ 193357 w 595312"/>
                <a:gd name="connsiteY48" fmla="*/ 54292 h 1033462"/>
                <a:gd name="connsiteX49" fmla="*/ 188595 w 595312"/>
                <a:gd name="connsiteY49" fmla="*/ 24765 h 1033462"/>
                <a:gd name="connsiteX50" fmla="*/ 553403 w 595312"/>
                <a:gd name="connsiteY50" fmla="*/ 0 h 1033462"/>
                <a:gd name="connsiteX51" fmla="*/ 565785 w 595312"/>
                <a:gd name="connsiteY51" fmla="*/ 19050 h 1033462"/>
                <a:gd name="connsiteX52" fmla="*/ 553403 w 595312"/>
                <a:gd name="connsiteY52" fmla="*/ 657225 h 1033462"/>
                <a:gd name="connsiteX53" fmla="*/ 595313 w 595312"/>
                <a:gd name="connsiteY53" fmla="*/ 973455 h 1033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595312" h="1033462">
                  <a:moveTo>
                    <a:pt x="581025" y="985838"/>
                  </a:moveTo>
                  <a:lnTo>
                    <a:pt x="533400" y="986790"/>
                  </a:lnTo>
                  <a:lnTo>
                    <a:pt x="510540" y="972503"/>
                  </a:lnTo>
                  <a:lnTo>
                    <a:pt x="435293" y="996315"/>
                  </a:lnTo>
                  <a:lnTo>
                    <a:pt x="426720" y="989647"/>
                  </a:lnTo>
                  <a:lnTo>
                    <a:pt x="421957" y="991553"/>
                  </a:lnTo>
                  <a:lnTo>
                    <a:pt x="421005" y="1006792"/>
                  </a:lnTo>
                  <a:lnTo>
                    <a:pt x="415290" y="1007745"/>
                  </a:lnTo>
                  <a:lnTo>
                    <a:pt x="390525" y="1033463"/>
                  </a:lnTo>
                  <a:lnTo>
                    <a:pt x="383857" y="1032510"/>
                  </a:lnTo>
                  <a:lnTo>
                    <a:pt x="378143" y="1025842"/>
                  </a:lnTo>
                  <a:lnTo>
                    <a:pt x="366713" y="1008697"/>
                  </a:lnTo>
                  <a:lnTo>
                    <a:pt x="369570" y="996315"/>
                  </a:lnTo>
                  <a:lnTo>
                    <a:pt x="323850" y="931545"/>
                  </a:lnTo>
                  <a:lnTo>
                    <a:pt x="332423" y="887730"/>
                  </a:lnTo>
                  <a:lnTo>
                    <a:pt x="341948" y="874395"/>
                  </a:lnTo>
                  <a:lnTo>
                    <a:pt x="342900" y="861060"/>
                  </a:lnTo>
                  <a:lnTo>
                    <a:pt x="0" y="880110"/>
                  </a:lnTo>
                  <a:lnTo>
                    <a:pt x="16193" y="766763"/>
                  </a:lnTo>
                  <a:lnTo>
                    <a:pt x="39053" y="721042"/>
                  </a:lnTo>
                  <a:lnTo>
                    <a:pt x="96203" y="641032"/>
                  </a:lnTo>
                  <a:lnTo>
                    <a:pt x="79057" y="617220"/>
                  </a:lnTo>
                  <a:lnTo>
                    <a:pt x="98107" y="617220"/>
                  </a:lnTo>
                  <a:lnTo>
                    <a:pt x="98107" y="585788"/>
                  </a:lnTo>
                  <a:lnTo>
                    <a:pt x="75248" y="561975"/>
                  </a:lnTo>
                  <a:lnTo>
                    <a:pt x="80010" y="545782"/>
                  </a:lnTo>
                  <a:lnTo>
                    <a:pt x="68580" y="536257"/>
                  </a:lnTo>
                  <a:lnTo>
                    <a:pt x="53340" y="468630"/>
                  </a:lnTo>
                  <a:lnTo>
                    <a:pt x="59055" y="455295"/>
                  </a:lnTo>
                  <a:lnTo>
                    <a:pt x="70485" y="441007"/>
                  </a:lnTo>
                  <a:lnTo>
                    <a:pt x="75248" y="412432"/>
                  </a:lnTo>
                  <a:lnTo>
                    <a:pt x="60960" y="390525"/>
                  </a:lnTo>
                  <a:lnTo>
                    <a:pt x="56198" y="369570"/>
                  </a:lnTo>
                  <a:lnTo>
                    <a:pt x="64770" y="362903"/>
                  </a:lnTo>
                  <a:lnTo>
                    <a:pt x="64770" y="355282"/>
                  </a:lnTo>
                  <a:lnTo>
                    <a:pt x="48578" y="344805"/>
                  </a:lnTo>
                  <a:lnTo>
                    <a:pt x="47625" y="338138"/>
                  </a:lnTo>
                  <a:lnTo>
                    <a:pt x="62865" y="329565"/>
                  </a:lnTo>
                  <a:lnTo>
                    <a:pt x="51435" y="319088"/>
                  </a:lnTo>
                  <a:lnTo>
                    <a:pt x="67628" y="251460"/>
                  </a:lnTo>
                  <a:lnTo>
                    <a:pt x="100013" y="236220"/>
                  </a:lnTo>
                  <a:lnTo>
                    <a:pt x="100013" y="228600"/>
                  </a:lnTo>
                  <a:lnTo>
                    <a:pt x="89535" y="215265"/>
                  </a:lnTo>
                  <a:lnTo>
                    <a:pt x="117157" y="163830"/>
                  </a:lnTo>
                  <a:lnTo>
                    <a:pt x="135255" y="163830"/>
                  </a:lnTo>
                  <a:lnTo>
                    <a:pt x="149543" y="152400"/>
                  </a:lnTo>
                  <a:lnTo>
                    <a:pt x="146685" y="102870"/>
                  </a:lnTo>
                  <a:lnTo>
                    <a:pt x="176213" y="60007"/>
                  </a:lnTo>
                  <a:lnTo>
                    <a:pt x="193357" y="54292"/>
                  </a:lnTo>
                  <a:lnTo>
                    <a:pt x="188595" y="24765"/>
                  </a:lnTo>
                  <a:lnTo>
                    <a:pt x="553403" y="0"/>
                  </a:lnTo>
                  <a:lnTo>
                    <a:pt x="565785" y="19050"/>
                  </a:lnTo>
                  <a:lnTo>
                    <a:pt x="553403" y="657225"/>
                  </a:lnTo>
                  <a:lnTo>
                    <a:pt x="595313" y="973455"/>
                  </a:lnTo>
                  <a:close/>
                </a:path>
              </a:pathLst>
            </a:custGeom>
            <a:solidFill>
              <a:srgbClr val="D0D0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63841C56-B52A-B5C2-FABC-4BBFE87EF364}"/>
                </a:ext>
              </a:extLst>
            </p:cNvPr>
            <p:cNvSpPr/>
            <p:nvPr/>
          </p:nvSpPr>
          <p:spPr>
            <a:xfrm>
              <a:off x="6143624" y="3085147"/>
              <a:ext cx="1111567" cy="960120"/>
            </a:xfrm>
            <a:custGeom>
              <a:avLst/>
              <a:gdLst>
                <a:gd name="connsiteX0" fmla="*/ 674370 w 1111567"/>
                <a:gd name="connsiteY0" fmla="*/ 38100 h 960120"/>
                <a:gd name="connsiteX1" fmla="*/ 663893 w 1111567"/>
                <a:gd name="connsiteY1" fmla="*/ 27623 h 960120"/>
                <a:gd name="connsiteX2" fmla="*/ 658177 w 1111567"/>
                <a:gd name="connsiteY2" fmla="*/ 12383 h 960120"/>
                <a:gd name="connsiteX3" fmla="*/ 641985 w 1111567"/>
                <a:gd name="connsiteY3" fmla="*/ 0 h 960120"/>
                <a:gd name="connsiteX4" fmla="*/ 505777 w 1111567"/>
                <a:gd name="connsiteY4" fmla="*/ 7620 h 960120"/>
                <a:gd name="connsiteX5" fmla="*/ 246697 w 1111567"/>
                <a:gd name="connsiteY5" fmla="*/ 19050 h 960120"/>
                <a:gd name="connsiteX6" fmla="*/ 0 w 1111567"/>
                <a:gd name="connsiteY6" fmla="*/ 18098 h 960120"/>
                <a:gd name="connsiteX7" fmla="*/ 12382 w 1111567"/>
                <a:gd name="connsiteY7" fmla="*/ 30480 h 960120"/>
                <a:gd name="connsiteX8" fmla="*/ 9525 w 1111567"/>
                <a:gd name="connsiteY8" fmla="*/ 43815 h 960120"/>
                <a:gd name="connsiteX9" fmla="*/ 29528 w 1111567"/>
                <a:gd name="connsiteY9" fmla="*/ 79058 h 960120"/>
                <a:gd name="connsiteX10" fmla="*/ 66675 w 1111567"/>
                <a:gd name="connsiteY10" fmla="*/ 139065 h 960120"/>
                <a:gd name="connsiteX11" fmla="*/ 94297 w 1111567"/>
                <a:gd name="connsiteY11" fmla="*/ 167640 h 960120"/>
                <a:gd name="connsiteX12" fmla="*/ 113347 w 1111567"/>
                <a:gd name="connsiteY12" fmla="*/ 173355 h 960120"/>
                <a:gd name="connsiteX13" fmla="*/ 121920 w 1111567"/>
                <a:gd name="connsiteY13" fmla="*/ 163830 h 960120"/>
                <a:gd name="connsiteX14" fmla="*/ 136207 w 1111567"/>
                <a:gd name="connsiteY14" fmla="*/ 183833 h 960120"/>
                <a:gd name="connsiteX15" fmla="*/ 135255 w 1111567"/>
                <a:gd name="connsiteY15" fmla="*/ 195263 h 960120"/>
                <a:gd name="connsiteX16" fmla="*/ 109538 w 1111567"/>
                <a:gd name="connsiteY16" fmla="*/ 220028 h 960120"/>
                <a:gd name="connsiteX17" fmla="*/ 104775 w 1111567"/>
                <a:gd name="connsiteY17" fmla="*/ 241935 h 960120"/>
                <a:gd name="connsiteX18" fmla="*/ 128588 w 1111567"/>
                <a:gd name="connsiteY18" fmla="*/ 265747 h 960120"/>
                <a:gd name="connsiteX19" fmla="*/ 153353 w 1111567"/>
                <a:gd name="connsiteY19" fmla="*/ 310515 h 960120"/>
                <a:gd name="connsiteX20" fmla="*/ 183832 w 1111567"/>
                <a:gd name="connsiteY20" fmla="*/ 317183 h 960120"/>
                <a:gd name="connsiteX21" fmla="*/ 188595 w 1111567"/>
                <a:gd name="connsiteY21" fmla="*/ 775335 h 960120"/>
                <a:gd name="connsiteX22" fmla="*/ 190500 w 1111567"/>
                <a:gd name="connsiteY22" fmla="*/ 878205 h 960120"/>
                <a:gd name="connsiteX23" fmla="*/ 562927 w 1111567"/>
                <a:gd name="connsiteY23" fmla="*/ 871538 h 960120"/>
                <a:gd name="connsiteX24" fmla="*/ 942023 w 1111567"/>
                <a:gd name="connsiteY24" fmla="*/ 852488 h 960120"/>
                <a:gd name="connsiteX25" fmla="*/ 957263 w 1111567"/>
                <a:gd name="connsiteY25" fmla="*/ 876300 h 960120"/>
                <a:gd name="connsiteX26" fmla="*/ 957263 w 1111567"/>
                <a:gd name="connsiteY26" fmla="*/ 897255 h 960120"/>
                <a:gd name="connsiteX27" fmla="*/ 941070 w 1111567"/>
                <a:gd name="connsiteY27" fmla="*/ 911543 h 960120"/>
                <a:gd name="connsiteX28" fmla="*/ 914400 w 1111567"/>
                <a:gd name="connsiteY28" fmla="*/ 960120 h 960120"/>
                <a:gd name="connsiteX29" fmla="*/ 1021080 w 1111567"/>
                <a:gd name="connsiteY29" fmla="*/ 952500 h 960120"/>
                <a:gd name="connsiteX30" fmla="*/ 1030605 w 1111567"/>
                <a:gd name="connsiteY30" fmla="*/ 933450 h 960120"/>
                <a:gd name="connsiteX31" fmla="*/ 1042035 w 1111567"/>
                <a:gd name="connsiteY31" fmla="*/ 928688 h 960120"/>
                <a:gd name="connsiteX32" fmla="*/ 1042035 w 1111567"/>
                <a:gd name="connsiteY32" fmla="*/ 922020 h 960120"/>
                <a:gd name="connsiteX33" fmla="*/ 1030605 w 1111567"/>
                <a:gd name="connsiteY33" fmla="*/ 911543 h 960120"/>
                <a:gd name="connsiteX34" fmla="*/ 1024890 w 1111567"/>
                <a:gd name="connsiteY34" fmla="*/ 902018 h 960120"/>
                <a:gd name="connsiteX35" fmla="*/ 1041082 w 1111567"/>
                <a:gd name="connsiteY35" fmla="*/ 903922 h 960120"/>
                <a:gd name="connsiteX36" fmla="*/ 1048702 w 1111567"/>
                <a:gd name="connsiteY36" fmla="*/ 897255 h 960120"/>
                <a:gd name="connsiteX37" fmla="*/ 1035368 w 1111567"/>
                <a:gd name="connsiteY37" fmla="*/ 882968 h 960120"/>
                <a:gd name="connsiteX38" fmla="*/ 1048702 w 1111567"/>
                <a:gd name="connsiteY38" fmla="*/ 878205 h 960120"/>
                <a:gd name="connsiteX39" fmla="*/ 1049655 w 1111567"/>
                <a:gd name="connsiteY39" fmla="*/ 868680 h 960120"/>
                <a:gd name="connsiteX40" fmla="*/ 1043940 w 1111567"/>
                <a:gd name="connsiteY40" fmla="*/ 859155 h 960120"/>
                <a:gd name="connsiteX41" fmla="*/ 1043940 w 1111567"/>
                <a:gd name="connsiteY41" fmla="*/ 846772 h 960120"/>
                <a:gd name="connsiteX42" fmla="*/ 1037273 w 1111567"/>
                <a:gd name="connsiteY42" fmla="*/ 840105 h 960120"/>
                <a:gd name="connsiteX43" fmla="*/ 1039177 w 1111567"/>
                <a:gd name="connsiteY43" fmla="*/ 830580 h 960120"/>
                <a:gd name="connsiteX44" fmla="*/ 1049655 w 1111567"/>
                <a:gd name="connsiteY44" fmla="*/ 830580 h 960120"/>
                <a:gd name="connsiteX45" fmla="*/ 1056323 w 1111567"/>
                <a:gd name="connsiteY45" fmla="*/ 837247 h 960120"/>
                <a:gd name="connsiteX46" fmla="*/ 1053465 w 1111567"/>
                <a:gd name="connsiteY46" fmla="*/ 846772 h 960120"/>
                <a:gd name="connsiteX47" fmla="*/ 1061085 w 1111567"/>
                <a:gd name="connsiteY47" fmla="*/ 853440 h 960120"/>
                <a:gd name="connsiteX48" fmla="*/ 1068705 w 1111567"/>
                <a:gd name="connsiteY48" fmla="*/ 843915 h 960120"/>
                <a:gd name="connsiteX49" fmla="*/ 1078230 w 1111567"/>
                <a:gd name="connsiteY49" fmla="*/ 818197 h 960120"/>
                <a:gd name="connsiteX50" fmla="*/ 1091565 w 1111567"/>
                <a:gd name="connsiteY50" fmla="*/ 826770 h 960120"/>
                <a:gd name="connsiteX51" fmla="*/ 1098232 w 1111567"/>
                <a:gd name="connsiteY51" fmla="*/ 822960 h 960120"/>
                <a:gd name="connsiteX52" fmla="*/ 1109663 w 1111567"/>
                <a:gd name="connsiteY52" fmla="*/ 783908 h 960120"/>
                <a:gd name="connsiteX53" fmla="*/ 1100138 w 1111567"/>
                <a:gd name="connsiteY53" fmla="*/ 774383 h 960120"/>
                <a:gd name="connsiteX54" fmla="*/ 1109663 w 1111567"/>
                <a:gd name="connsiteY54" fmla="*/ 755333 h 960120"/>
                <a:gd name="connsiteX55" fmla="*/ 1111568 w 1111567"/>
                <a:gd name="connsiteY55" fmla="*/ 746760 h 960120"/>
                <a:gd name="connsiteX56" fmla="*/ 1099185 w 1111567"/>
                <a:gd name="connsiteY56" fmla="*/ 739140 h 960120"/>
                <a:gd name="connsiteX57" fmla="*/ 1072515 w 1111567"/>
                <a:gd name="connsiteY57" fmla="*/ 739140 h 960120"/>
                <a:gd name="connsiteX58" fmla="*/ 1059180 w 1111567"/>
                <a:gd name="connsiteY58" fmla="*/ 724853 h 960120"/>
                <a:gd name="connsiteX59" fmla="*/ 1042035 w 1111567"/>
                <a:gd name="connsiteY59" fmla="*/ 688658 h 960120"/>
                <a:gd name="connsiteX60" fmla="*/ 1042035 w 1111567"/>
                <a:gd name="connsiteY60" fmla="*/ 670560 h 960120"/>
                <a:gd name="connsiteX61" fmla="*/ 1049655 w 1111567"/>
                <a:gd name="connsiteY61" fmla="*/ 664845 h 960120"/>
                <a:gd name="connsiteX62" fmla="*/ 1050607 w 1111567"/>
                <a:gd name="connsiteY62" fmla="*/ 652463 h 960120"/>
                <a:gd name="connsiteX63" fmla="*/ 1034415 w 1111567"/>
                <a:gd name="connsiteY63" fmla="*/ 634365 h 960120"/>
                <a:gd name="connsiteX64" fmla="*/ 1025843 w 1111567"/>
                <a:gd name="connsiteY64" fmla="*/ 610553 h 960120"/>
                <a:gd name="connsiteX65" fmla="*/ 1000125 w 1111567"/>
                <a:gd name="connsiteY65" fmla="*/ 571500 h 960120"/>
                <a:gd name="connsiteX66" fmla="*/ 954405 w 1111567"/>
                <a:gd name="connsiteY66" fmla="*/ 559118 h 960120"/>
                <a:gd name="connsiteX67" fmla="*/ 883920 w 1111567"/>
                <a:gd name="connsiteY67" fmla="*/ 491490 h 960120"/>
                <a:gd name="connsiteX68" fmla="*/ 880110 w 1111567"/>
                <a:gd name="connsiteY68" fmla="*/ 468630 h 960120"/>
                <a:gd name="connsiteX69" fmla="*/ 906780 w 1111567"/>
                <a:gd name="connsiteY69" fmla="*/ 396240 h 960120"/>
                <a:gd name="connsiteX70" fmla="*/ 902970 w 1111567"/>
                <a:gd name="connsiteY70" fmla="*/ 378143 h 960120"/>
                <a:gd name="connsiteX71" fmla="*/ 914400 w 1111567"/>
                <a:gd name="connsiteY71" fmla="*/ 367665 h 960120"/>
                <a:gd name="connsiteX72" fmla="*/ 914400 w 1111567"/>
                <a:gd name="connsiteY72" fmla="*/ 355283 h 960120"/>
                <a:gd name="connsiteX73" fmla="*/ 887730 w 1111567"/>
                <a:gd name="connsiteY73" fmla="*/ 340995 h 960120"/>
                <a:gd name="connsiteX74" fmla="*/ 859155 w 1111567"/>
                <a:gd name="connsiteY74" fmla="*/ 334328 h 960120"/>
                <a:gd name="connsiteX75" fmla="*/ 826770 w 1111567"/>
                <a:gd name="connsiteY75" fmla="*/ 345758 h 960120"/>
                <a:gd name="connsiteX76" fmla="*/ 814388 w 1111567"/>
                <a:gd name="connsiteY76" fmla="*/ 323850 h 960120"/>
                <a:gd name="connsiteX77" fmla="*/ 820102 w 1111567"/>
                <a:gd name="connsiteY77" fmla="*/ 305753 h 960120"/>
                <a:gd name="connsiteX78" fmla="*/ 813435 w 1111567"/>
                <a:gd name="connsiteY78" fmla="*/ 282893 h 960120"/>
                <a:gd name="connsiteX79" fmla="*/ 731520 w 1111567"/>
                <a:gd name="connsiteY79" fmla="*/ 202883 h 960120"/>
                <a:gd name="connsiteX80" fmla="*/ 710565 w 1111567"/>
                <a:gd name="connsiteY80" fmla="*/ 188595 h 960120"/>
                <a:gd name="connsiteX81" fmla="*/ 686752 w 1111567"/>
                <a:gd name="connsiteY81" fmla="*/ 132397 h 960120"/>
                <a:gd name="connsiteX82" fmla="*/ 675323 w 1111567"/>
                <a:gd name="connsiteY82" fmla="*/ 80963 h 960120"/>
                <a:gd name="connsiteX83" fmla="*/ 688657 w 1111567"/>
                <a:gd name="connsiteY83" fmla="*/ 45720 h 960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1111567" h="960120">
                  <a:moveTo>
                    <a:pt x="674370" y="38100"/>
                  </a:moveTo>
                  <a:lnTo>
                    <a:pt x="663893" y="27623"/>
                  </a:lnTo>
                  <a:lnTo>
                    <a:pt x="658177" y="12383"/>
                  </a:lnTo>
                  <a:lnTo>
                    <a:pt x="641985" y="0"/>
                  </a:lnTo>
                  <a:lnTo>
                    <a:pt x="505777" y="7620"/>
                  </a:lnTo>
                  <a:lnTo>
                    <a:pt x="246697" y="19050"/>
                  </a:lnTo>
                  <a:lnTo>
                    <a:pt x="0" y="18098"/>
                  </a:lnTo>
                  <a:lnTo>
                    <a:pt x="12382" y="30480"/>
                  </a:lnTo>
                  <a:lnTo>
                    <a:pt x="9525" y="43815"/>
                  </a:lnTo>
                  <a:lnTo>
                    <a:pt x="29528" y="79058"/>
                  </a:lnTo>
                  <a:lnTo>
                    <a:pt x="66675" y="139065"/>
                  </a:lnTo>
                  <a:lnTo>
                    <a:pt x="94297" y="167640"/>
                  </a:lnTo>
                  <a:lnTo>
                    <a:pt x="113347" y="173355"/>
                  </a:lnTo>
                  <a:lnTo>
                    <a:pt x="121920" y="163830"/>
                  </a:lnTo>
                  <a:lnTo>
                    <a:pt x="136207" y="183833"/>
                  </a:lnTo>
                  <a:lnTo>
                    <a:pt x="135255" y="195263"/>
                  </a:lnTo>
                  <a:lnTo>
                    <a:pt x="109538" y="220028"/>
                  </a:lnTo>
                  <a:lnTo>
                    <a:pt x="104775" y="241935"/>
                  </a:lnTo>
                  <a:lnTo>
                    <a:pt x="128588" y="265747"/>
                  </a:lnTo>
                  <a:lnTo>
                    <a:pt x="153353" y="310515"/>
                  </a:lnTo>
                  <a:lnTo>
                    <a:pt x="183832" y="317183"/>
                  </a:lnTo>
                  <a:lnTo>
                    <a:pt x="188595" y="775335"/>
                  </a:lnTo>
                  <a:lnTo>
                    <a:pt x="190500" y="878205"/>
                  </a:lnTo>
                  <a:lnTo>
                    <a:pt x="562927" y="871538"/>
                  </a:lnTo>
                  <a:lnTo>
                    <a:pt x="942023" y="852488"/>
                  </a:lnTo>
                  <a:lnTo>
                    <a:pt x="957263" y="876300"/>
                  </a:lnTo>
                  <a:lnTo>
                    <a:pt x="957263" y="897255"/>
                  </a:lnTo>
                  <a:lnTo>
                    <a:pt x="941070" y="911543"/>
                  </a:lnTo>
                  <a:lnTo>
                    <a:pt x="914400" y="960120"/>
                  </a:lnTo>
                  <a:lnTo>
                    <a:pt x="1021080" y="952500"/>
                  </a:lnTo>
                  <a:lnTo>
                    <a:pt x="1030605" y="933450"/>
                  </a:lnTo>
                  <a:lnTo>
                    <a:pt x="1042035" y="928688"/>
                  </a:lnTo>
                  <a:lnTo>
                    <a:pt x="1042035" y="922020"/>
                  </a:lnTo>
                  <a:lnTo>
                    <a:pt x="1030605" y="911543"/>
                  </a:lnTo>
                  <a:lnTo>
                    <a:pt x="1024890" y="902018"/>
                  </a:lnTo>
                  <a:lnTo>
                    <a:pt x="1041082" y="903922"/>
                  </a:lnTo>
                  <a:lnTo>
                    <a:pt x="1048702" y="897255"/>
                  </a:lnTo>
                  <a:lnTo>
                    <a:pt x="1035368" y="882968"/>
                  </a:lnTo>
                  <a:lnTo>
                    <a:pt x="1048702" y="878205"/>
                  </a:lnTo>
                  <a:lnTo>
                    <a:pt x="1049655" y="868680"/>
                  </a:lnTo>
                  <a:lnTo>
                    <a:pt x="1043940" y="859155"/>
                  </a:lnTo>
                  <a:lnTo>
                    <a:pt x="1043940" y="846772"/>
                  </a:lnTo>
                  <a:lnTo>
                    <a:pt x="1037273" y="840105"/>
                  </a:lnTo>
                  <a:lnTo>
                    <a:pt x="1039177" y="830580"/>
                  </a:lnTo>
                  <a:lnTo>
                    <a:pt x="1049655" y="830580"/>
                  </a:lnTo>
                  <a:lnTo>
                    <a:pt x="1056323" y="837247"/>
                  </a:lnTo>
                  <a:lnTo>
                    <a:pt x="1053465" y="846772"/>
                  </a:lnTo>
                  <a:lnTo>
                    <a:pt x="1061085" y="853440"/>
                  </a:lnTo>
                  <a:lnTo>
                    <a:pt x="1068705" y="843915"/>
                  </a:lnTo>
                  <a:lnTo>
                    <a:pt x="1078230" y="818197"/>
                  </a:lnTo>
                  <a:lnTo>
                    <a:pt x="1091565" y="826770"/>
                  </a:lnTo>
                  <a:lnTo>
                    <a:pt x="1098232" y="822960"/>
                  </a:lnTo>
                  <a:lnTo>
                    <a:pt x="1109663" y="783908"/>
                  </a:lnTo>
                  <a:lnTo>
                    <a:pt x="1100138" y="774383"/>
                  </a:lnTo>
                  <a:lnTo>
                    <a:pt x="1109663" y="755333"/>
                  </a:lnTo>
                  <a:lnTo>
                    <a:pt x="1111568" y="746760"/>
                  </a:lnTo>
                  <a:lnTo>
                    <a:pt x="1099185" y="739140"/>
                  </a:lnTo>
                  <a:lnTo>
                    <a:pt x="1072515" y="739140"/>
                  </a:lnTo>
                  <a:lnTo>
                    <a:pt x="1059180" y="724853"/>
                  </a:lnTo>
                  <a:lnTo>
                    <a:pt x="1042035" y="688658"/>
                  </a:lnTo>
                  <a:lnTo>
                    <a:pt x="1042035" y="670560"/>
                  </a:lnTo>
                  <a:lnTo>
                    <a:pt x="1049655" y="664845"/>
                  </a:lnTo>
                  <a:lnTo>
                    <a:pt x="1050607" y="652463"/>
                  </a:lnTo>
                  <a:lnTo>
                    <a:pt x="1034415" y="634365"/>
                  </a:lnTo>
                  <a:lnTo>
                    <a:pt x="1025843" y="610553"/>
                  </a:lnTo>
                  <a:lnTo>
                    <a:pt x="1000125" y="571500"/>
                  </a:lnTo>
                  <a:lnTo>
                    <a:pt x="954405" y="559118"/>
                  </a:lnTo>
                  <a:lnTo>
                    <a:pt x="883920" y="491490"/>
                  </a:lnTo>
                  <a:lnTo>
                    <a:pt x="880110" y="468630"/>
                  </a:lnTo>
                  <a:lnTo>
                    <a:pt x="906780" y="396240"/>
                  </a:lnTo>
                  <a:lnTo>
                    <a:pt x="902970" y="378143"/>
                  </a:lnTo>
                  <a:lnTo>
                    <a:pt x="914400" y="367665"/>
                  </a:lnTo>
                  <a:lnTo>
                    <a:pt x="914400" y="355283"/>
                  </a:lnTo>
                  <a:lnTo>
                    <a:pt x="887730" y="340995"/>
                  </a:lnTo>
                  <a:lnTo>
                    <a:pt x="859155" y="334328"/>
                  </a:lnTo>
                  <a:lnTo>
                    <a:pt x="826770" y="345758"/>
                  </a:lnTo>
                  <a:lnTo>
                    <a:pt x="814388" y="323850"/>
                  </a:lnTo>
                  <a:lnTo>
                    <a:pt x="820102" y="305753"/>
                  </a:lnTo>
                  <a:lnTo>
                    <a:pt x="813435" y="282893"/>
                  </a:lnTo>
                  <a:lnTo>
                    <a:pt x="731520" y="202883"/>
                  </a:lnTo>
                  <a:lnTo>
                    <a:pt x="710565" y="188595"/>
                  </a:lnTo>
                  <a:lnTo>
                    <a:pt x="686752" y="132397"/>
                  </a:lnTo>
                  <a:lnTo>
                    <a:pt x="675323" y="80963"/>
                  </a:lnTo>
                  <a:lnTo>
                    <a:pt x="688657" y="45720"/>
                  </a:lnTo>
                  <a:close/>
                </a:path>
              </a:pathLst>
            </a:custGeom>
            <a:solidFill>
              <a:srgbClr val="D0D0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708D625C-160F-36EA-6610-4DC44BD4E2BC}"/>
                </a:ext>
              </a:extLst>
            </p:cNvPr>
            <p:cNvSpPr/>
            <p:nvPr/>
          </p:nvSpPr>
          <p:spPr>
            <a:xfrm>
              <a:off x="3281362" y="1042987"/>
              <a:ext cx="1700212" cy="1078229"/>
            </a:xfrm>
            <a:custGeom>
              <a:avLst/>
              <a:gdLst>
                <a:gd name="connsiteX0" fmla="*/ 600075 w 1700212"/>
                <a:gd name="connsiteY0" fmla="*/ 952500 h 1078229"/>
                <a:gd name="connsiteX1" fmla="*/ 1145857 w 1700212"/>
                <a:gd name="connsiteY1" fmla="*/ 1027747 h 1078229"/>
                <a:gd name="connsiteX2" fmla="*/ 1631632 w 1700212"/>
                <a:gd name="connsiteY2" fmla="*/ 1078230 h 1078229"/>
                <a:gd name="connsiteX3" fmla="*/ 1650682 w 1700212"/>
                <a:gd name="connsiteY3" fmla="*/ 881063 h 1078229"/>
                <a:gd name="connsiteX4" fmla="*/ 1700213 w 1700212"/>
                <a:gd name="connsiteY4" fmla="*/ 245745 h 1078229"/>
                <a:gd name="connsiteX5" fmla="*/ 1190625 w 1700212"/>
                <a:gd name="connsiteY5" fmla="*/ 192405 h 1078229"/>
                <a:gd name="connsiteX6" fmla="*/ 673418 w 1700212"/>
                <a:gd name="connsiteY6" fmla="*/ 119063 h 1078229"/>
                <a:gd name="connsiteX7" fmla="*/ 45720 w 1700212"/>
                <a:gd name="connsiteY7" fmla="*/ 0 h 1078229"/>
                <a:gd name="connsiteX8" fmla="*/ 0 w 1700212"/>
                <a:gd name="connsiteY8" fmla="*/ 209550 h 1078229"/>
                <a:gd name="connsiteX9" fmla="*/ 35242 w 1700212"/>
                <a:gd name="connsiteY9" fmla="*/ 280035 h 1078229"/>
                <a:gd name="connsiteX10" fmla="*/ 20003 w 1700212"/>
                <a:gd name="connsiteY10" fmla="*/ 325755 h 1078229"/>
                <a:gd name="connsiteX11" fmla="*/ 54292 w 1700212"/>
                <a:gd name="connsiteY11" fmla="*/ 371475 h 1078229"/>
                <a:gd name="connsiteX12" fmla="*/ 72390 w 1700212"/>
                <a:gd name="connsiteY12" fmla="*/ 378142 h 1078229"/>
                <a:gd name="connsiteX13" fmla="*/ 109538 w 1700212"/>
                <a:gd name="connsiteY13" fmla="*/ 457200 h 1078229"/>
                <a:gd name="connsiteX14" fmla="*/ 109538 w 1700212"/>
                <a:gd name="connsiteY14" fmla="*/ 477203 h 1078229"/>
                <a:gd name="connsiteX15" fmla="*/ 131445 w 1700212"/>
                <a:gd name="connsiteY15" fmla="*/ 505778 h 1078229"/>
                <a:gd name="connsiteX16" fmla="*/ 140017 w 1700212"/>
                <a:gd name="connsiteY16" fmla="*/ 505778 h 1078229"/>
                <a:gd name="connsiteX17" fmla="*/ 153353 w 1700212"/>
                <a:gd name="connsiteY17" fmla="*/ 525780 h 1078229"/>
                <a:gd name="connsiteX18" fmla="*/ 183833 w 1700212"/>
                <a:gd name="connsiteY18" fmla="*/ 525780 h 1078229"/>
                <a:gd name="connsiteX19" fmla="*/ 183833 w 1700212"/>
                <a:gd name="connsiteY19" fmla="*/ 541020 h 1078229"/>
                <a:gd name="connsiteX20" fmla="*/ 116205 w 1700212"/>
                <a:gd name="connsiteY20" fmla="*/ 702945 h 1078229"/>
                <a:gd name="connsiteX21" fmla="*/ 111442 w 1700212"/>
                <a:gd name="connsiteY21" fmla="*/ 741998 h 1078229"/>
                <a:gd name="connsiteX22" fmla="*/ 124778 w 1700212"/>
                <a:gd name="connsiteY22" fmla="*/ 746760 h 1078229"/>
                <a:gd name="connsiteX23" fmla="*/ 140017 w 1700212"/>
                <a:gd name="connsiteY23" fmla="*/ 771525 h 1078229"/>
                <a:gd name="connsiteX24" fmla="*/ 166688 w 1700212"/>
                <a:gd name="connsiteY24" fmla="*/ 758190 h 1078229"/>
                <a:gd name="connsiteX25" fmla="*/ 200978 w 1700212"/>
                <a:gd name="connsiteY25" fmla="*/ 735330 h 1078229"/>
                <a:gd name="connsiteX26" fmla="*/ 219075 w 1700212"/>
                <a:gd name="connsiteY26" fmla="*/ 753428 h 1078229"/>
                <a:gd name="connsiteX27" fmla="*/ 223838 w 1700212"/>
                <a:gd name="connsiteY27" fmla="*/ 777240 h 1078229"/>
                <a:gd name="connsiteX28" fmla="*/ 219075 w 1700212"/>
                <a:gd name="connsiteY28" fmla="*/ 807720 h 1078229"/>
                <a:gd name="connsiteX29" fmla="*/ 242888 w 1700212"/>
                <a:gd name="connsiteY29" fmla="*/ 900113 h 1078229"/>
                <a:gd name="connsiteX30" fmla="*/ 267653 w 1700212"/>
                <a:gd name="connsiteY30" fmla="*/ 933450 h 1078229"/>
                <a:gd name="connsiteX31" fmla="*/ 289560 w 1700212"/>
                <a:gd name="connsiteY31" fmla="*/ 946785 h 1078229"/>
                <a:gd name="connsiteX32" fmla="*/ 293370 w 1700212"/>
                <a:gd name="connsiteY32" fmla="*/ 975360 h 1078229"/>
                <a:gd name="connsiteX33" fmla="*/ 293370 w 1700212"/>
                <a:gd name="connsiteY33" fmla="*/ 1014413 h 1078229"/>
                <a:gd name="connsiteX34" fmla="*/ 315278 w 1700212"/>
                <a:gd name="connsiteY34" fmla="*/ 1036320 h 1078229"/>
                <a:gd name="connsiteX35" fmla="*/ 330517 w 1700212"/>
                <a:gd name="connsiteY35" fmla="*/ 1014413 h 1078229"/>
                <a:gd name="connsiteX36" fmla="*/ 396240 w 1700212"/>
                <a:gd name="connsiteY36" fmla="*/ 1029653 h 1078229"/>
                <a:gd name="connsiteX37" fmla="*/ 416242 w 1700212"/>
                <a:gd name="connsiteY37" fmla="*/ 1018222 h 1078229"/>
                <a:gd name="connsiteX38" fmla="*/ 501967 w 1700212"/>
                <a:gd name="connsiteY38" fmla="*/ 1034415 h 1078229"/>
                <a:gd name="connsiteX39" fmla="*/ 528638 w 1700212"/>
                <a:gd name="connsiteY39" fmla="*/ 1002983 h 1078229"/>
                <a:gd name="connsiteX40" fmla="*/ 545783 w 1700212"/>
                <a:gd name="connsiteY40" fmla="*/ 997268 h 1078229"/>
                <a:gd name="connsiteX41" fmla="*/ 557213 w 1700212"/>
                <a:gd name="connsiteY41" fmla="*/ 1014413 h 1078229"/>
                <a:gd name="connsiteX42" fmla="*/ 572453 w 1700212"/>
                <a:gd name="connsiteY42" fmla="*/ 1053465 h 1078229"/>
                <a:gd name="connsiteX43" fmla="*/ 581025 w 1700212"/>
                <a:gd name="connsiteY43" fmla="*/ 1054418 h 1078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1700212" h="1078229">
                  <a:moveTo>
                    <a:pt x="600075" y="952500"/>
                  </a:moveTo>
                  <a:lnTo>
                    <a:pt x="1145857" y="1027747"/>
                  </a:lnTo>
                  <a:lnTo>
                    <a:pt x="1631632" y="1078230"/>
                  </a:lnTo>
                  <a:lnTo>
                    <a:pt x="1650682" y="881063"/>
                  </a:lnTo>
                  <a:lnTo>
                    <a:pt x="1700213" y="245745"/>
                  </a:lnTo>
                  <a:lnTo>
                    <a:pt x="1190625" y="192405"/>
                  </a:lnTo>
                  <a:lnTo>
                    <a:pt x="673418" y="119063"/>
                  </a:lnTo>
                  <a:lnTo>
                    <a:pt x="45720" y="0"/>
                  </a:lnTo>
                  <a:lnTo>
                    <a:pt x="0" y="209550"/>
                  </a:lnTo>
                  <a:lnTo>
                    <a:pt x="35242" y="280035"/>
                  </a:lnTo>
                  <a:lnTo>
                    <a:pt x="20003" y="325755"/>
                  </a:lnTo>
                  <a:lnTo>
                    <a:pt x="54292" y="371475"/>
                  </a:lnTo>
                  <a:lnTo>
                    <a:pt x="72390" y="378142"/>
                  </a:lnTo>
                  <a:lnTo>
                    <a:pt x="109538" y="457200"/>
                  </a:lnTo>
                  <a:lnTo>
                    <a:pt x="109538" y="477203"/>
                  </a:lnTo>
                  <a:lnTo>
                    <a:pt x="131445" y="505778"/>
                  </a:lnTo>
                  <a:lnTo>
                    <a:pt x="140017" y="505778"/>
                  </a:lnTo>
                  <a:lnTo>
                    <a:pt x="153353" y="525780"/>
                  </a:lnTo>
                  <a:lnTo>
                    <a:pt x="183833" y="525780"/>
                  </a:lnTo>
                  <a:lnTo>
                    <a:pt x="183833" y="541020"/>
                  </a:lnTo>
                  <a:lnTo>
                    <a:pt x="116205" y="702945"/>
                  </a:lnTo>
                  <a:lnTo>
                    <a:pt x="111442" y="741998"/>
                  </a:lnTo>
                  <a:lnTo>
                    <a:pt x="124778" y="746760"/>
                  </a:lnTo>
                  <a:lnTo>
                    <a:pt x="140017" y="771525"/>
                  </a:lnTo>
                  <a:lnTo>
                    <a:pt x="166688" y="758190"/>
                  </a:lnTo>
                  <a:lnTo>
                    <a:pt x="200978" y="735330"/>
                  </a:lnTo>
                  <a:lnTo>
                    <a:pt x="219075" y="753428"/>
                  </a:lnTo>
                  <a:lnTo>
                    <a:pt x="223838" y="777240"/>
                  </a:lnTo>
                  <a:lnTo>
                    <a:pt x="219075" y="807720"/>
                  </a:lnTo>
                  <a:lnTo>
                    <a:pt x="242888" y="900113"/>
                  </a:lnTo>
                  <a:lnTo>
                    <a:pt x="267653" y="933450"/>
                  </a:lnTo>
                  <a:lnTo>
                    <a:pt x="289560" y="946785"/>
                  </a:lnTo>
                  <a:lnTo>
                    <a:pt x="293370" y="975360"/>
                  </a:lnTo>
                  <a:lnTo>
                    <a:pt x="293370" y="1014413"/>
                  </a:lnTo>
                  <a:lnTo>
                    <a:pt x="315278" y="1036320"/>
                  </a:lnTo>
                  <a:lnTo>
                    <a:pt x="330517" y="1014413"/>
                  </a:lnTo>
                  <a:lnTo>
                    <a:pt x="396240" y="1029653"/>
                  </a:lnTo>
                  <a:lnTo>
                    <a:pt x="416242" y="1018222"/>
                  </a:lnTo>
                  <a:lnTo>
                    <a:pt x="501967" y="1034415"/>
                  </a:lnTo>
                  <a:lnTo>
                    <a:pt x="528638" y="1002983"/>
                  </a:lnTo>
                  <a:lnTo>
                    <a:pt x="545783" y="997268"/>
                  </a:lnTo>
                  <a:lnTo>
                    <a:pt x="557213" y="1014413"/>
                  </a:lnTo>
                  <a:lnTo>
                    <a:pt x="572453" y="1053465"/>
                  </a:lnTo>
                  <a:lnTo>
                    <a:pt x="581025" y="1054418"/>
                  </a:lnTo>
                  <a:close/>
                </a:path>
              </a:pathLst>
            </a:custGeom>
            <a:solidFill>
              <a:srgbClr val="D0D0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3388A306-E836-0643-EBB7-DC93A15F1FD2}"/>
                </a:ext>
              </a:extLst>
            </p:cNvPr>
            <p:cNvSpPr/>
            <p:nvPr/>
          </p:nvSpPr>
          <p:spPr>
            <a:xfrm>
              <a:off x="4840604" y="2539365"/>
              <a:ext cx="1369694" cy="684847"/>
            </a:xfrm>
            <a:custGeom>
              <a:avLst/>
              <a:gdLst>
                <a:gd name="connsiteX0" fmla="*/ 521970 w 1369694"/>
                <a:gd name="connsiteY0" fmla="*/ 33338 h 684847"/>
                <a:gd name="connsiteX1" fmla="*/ 883920 w 1369694"/>
                <a:gd name="connsiteY1" fmla="*/ 48577 h 684847"/>
                <a:gd name="connsiteX2" fmla="*/ 916305 w 1369694"/>
                <a:gd name="connsiteY2" fmla="*/ 79057 h 684847"/>
                <a:gd name="connsiteX3" fmla="*/ 932497 w 1369694"/>
                <a:gd name="connsiteY3" fmla="*/ 80963 h 684847"/>
                <a:gd name="connsiteX4" fmla="*/ 952500 w 1369694"/>
                <a:gd name="connsiteY4" fmla="*/ 100013 h 684847"/>
                <a:gd name="connsiteX5" fmla="*/ 969645 w 1369694"/>
                <a:gd name="connsiteY5" fmla="*/ 99060 h 684847"/>
                <a:gd name="connsiteX6" fmla="*/ 986790 w 1369694"/>
                <a:gd name="connsiteY6" fmla="*/ 80010 h 684847"/>
                <a:gd name="connsiteX7" fmla="*/ 1001077 w 1369694"/>
                <a:gd name="connsiteY7" fmla="*/ 85725 h 684847"/>
                <a:gd name="connsiteX8" fmla="*/ 1010602 w 1369694"/>
                <a:gd name="connsiteY8" fmla="*/ 79057 h 684847"/>
                <a:gd name="connsiteX9" fmla="*/ 1017270 w 1369694"/>
                <a:gd name="connsiteY9" fmla="*/ 83820 h 684847"/>
                <a:gd name="connsiteX10" fmla="*/ 1025842 w 1369694"/>
                <a:gd name="connsiteY10" fmla="*/ 80010 h 684847"/>
                <a:gd name="connsiteX11" fmla="*/ 1032510 w 1369694"/>
                <a:gd name="connsiteY11" fmla="*/ 83820 h 684847"/>
                <a:gd name="connsiteX12" fmla="*/ 1041082 w 1369694"/>
                <a:gd name="connsiteY12" fmla="*/ 80010 h 684847"/>
                <a:gd name="connsiteX13" fmla="*/ 1050607 w 1369694"/>
                <a:gd name="connsiteY13" fmla="*/ 84772 h 684847"/>
                <a:gd name="connsiteX14" fmla="*/ 1063942 w 1369694"/>
                <a:gd name="connsiteY14" fmla="*/ 79057 h 684847"/>
                <a:gd name="connsiteX15" fmla="*/ 1082992 w 1369694"/>
                <a:gd name="connsiteY15" fmla="*/ 84772 h 684847"/>
                <a:gd name="connsiteX16" fmla="*/ 1088707 w 1369694"/>
                <a:gd name="connsiteY16" fmla="*/ 95250 h 684847"/>
                <a:gd name="connsiteX17" fmla="*/ 1146810 w 1369694"/>
                <a:gd name="connsiteY17" fmla="*/ 116205 h 684847"/>
                <a:gd name="connsiteX18" fmla="*/ 1158240 w 1369694"/>
                <a:gd name="connsiteY18" fmla="*/ 128588 h 684847"/>
                <a:gd name="connsiteX19" fmla="*/ 1166813 w 1369694"/>
                <a:gd name="connsiteY19" fmla="*/ 153352 h 684847"/>
                <a:gd name="connsiteX20" fmla="*/ 1183957 w 1369694"/>
                <a:gd name="connsiteY20" fmla="*/ 160020 h 684847"/>
                <a:gd name="connsiteX21" fmla="*/ 1198245 w 1369694"/>
                <a:gd name="connsiteY21" fmla="*/ 158115 h 684847"/>
                <a:gd name="connsiteX22" fmla="*/ 1203007 w 1369694"/>
                <a:gd name="connsiteY22" fmla="*/ 166688 h 684847"/>
                <a:gd name="connsiteX23" fmla="*/ 1203007 w 1369694"/>
                <a:gd name="connsiteY23" fmla="*/ 188595 h 684847"/>
                <a:gd name="connsiteX24" fmla="*/ 1208723 w 1369694"/>
                <a:gd name="connsiteY24" fmla="*/ 204788 h 684847"/>
                <a:gd name="connsiteX25" fmla="*/ 1208723 w 1369694"/>
                <a:gd name="connsiteY25" fmla="*/ 218122 h 684847"/>
                <a:gd name="connsiteX26" fmla="*/ 1221105 w 1369694"/>
                <a:gd name="connsiteY26" fmla="*/ 253365 h 684847"/>
                <a:gd name="connsiteX27" fmla="*/ 1242060 w 1369694"/>
                <a:gd name="connsiteY27" fmla="*/ 294322 h 684847"/>
                <a:gd name="connsiteX28" fmla="*/ 1243965 w 1369694"/>
                <a:gd name="connsiteY28" fmla="*/ 329565 h 684847"/>
                <a:gd name="connsiteX29" fmla="*/ 1270635 w 1369694"/>
                <a:gd name="connsiteY29" fmla="*/ 377190 h 684847"/>
                <a:gd name="connsiteX30" fmla="*/ 1274445 w 1369694"/>
                <a:gd name="connsiteY30" fmla="*/ 435292 h 684847"/>
                <a:gd name="connsiteX31" fmla="*/ 1286827 w 1369694"/>
                <a:gd name="connsiteY31" fmla="*/ 441960 h 684847"/>
                <a:gd name="connsiteX32" fmla="*/ 1284923 w 1369694"/>
                <a:gd name="connsiteY32" fmla="*/ 469582 h 684847"/>
                <a:gd name="connsiteX33" fmla="*/ 1292542 w 1369694"/>
                <a:gd name="connsiteY33" fmla="*/ 501015 h 684847"/>
                <a:gd name="connsiteX34" fmla="*/ 1285875 w 1369694"/>
                <a:gd name="connsiteY34" fmla="*/ 521970 h 684847"/>
                <a:gd name="connsiteX35" fmla="*/ 1303020 w 1369694"/>
                <a:gd name="connsiteY35" fmla="*/ 563880 h 684847"/>
                <a:gd name="connsiteX36" fmla="*/ 1315402 w 1369694"/>
                <a:gd name="connsiteY36" fmla="*/ 576263 h 684847"/>
                <a:gd name="connsiteX37" fmla="*/ 1312545 w 1369694"/>
                <a:gd name="connsiteY37" fmla="*/ 589597 h 684847"/>
                <a:gd name="connsiteX38" fmla="*/ 1332548 w 1369694"/>
                <a:gd name="connsiteY38" fmla="*/ 624840 h 684847"/>
                <a:gd name="connsiteX39" fmla="*/ 1369695 w 1369694"/>
                <a:gd name="connsiteY39" fmla="*/ 684847 h 684847"/>
                <a:gd name="connsiteX40" fmla="*/ 1061085 w 1369694"/>
                <a:gd name="connsiteY40" fmla="*/ 684847 h 684847"/>
                <a:gd name="connsiteX41" fmla="*/ 644842 w 1369694"/>
                <a:gd name="connsiteY41" fmla="*/ 673417 h 684847"/>
                <a:gd name="connsiteX42" fmla="*/ 301942 w 1369694"/>
                <a:gd name="connsiteY42" fmla="*/ 654367 h 684847"/>
                <a:gd name="connsiteX43" fmla="*/ 315277 w 1369694"/>
                <a:gd name="connsiteY43" fmla="*/ 443865 h 684847"/>
                <a:gd name="connsiteX44" fmla="*/ 0 w 1369694"/>
                <a:gd name="connsiteY44" fmla="*/ 421005 h 684847"/>
                <a:gd name="connsiteX45" fmla="*/ 35242 w 1369694"/>
                <a:gd name="connsiteY45" fmla="*/ 0 h 684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1369694" h="684847">
                  <a:moveTo>
                    <a:pt x="521970" y="33338"/>
                  </a:moveTo>
                  <a:lnTo>
                    <a:pt x="883920" y="48577"/>
                  </a:lnTo>
                  <a:lnTo>
                    <a:pt x="916305" y="79057"/>
                  </a:lnTo>
                  <a:lnTo>
                    <a:pt x="932497" y="80963"/>
                  </a:lnTo>
                  <a:lnTo>
                    <a:pt x="952500" y="100013"/>
                  </a:lnTo>
                  <a:lnTo>
                    <a:pt x="969645" y="99060"/>
                  </a:lnTo>
                  <a:lnTo>
                    <a:pt x="986790" y="80010"/>
                  </a:lnTo>
                  <a:lnTo>
                    <a:pt x="1001077" y="85725"/>
                  </a:lnTo>
                  <a:lnTo>
                    <a:pt x="1010602" y="79057"/>
                  </a:lnTo>
                  <a:lnTo>
                    <a:pt x="1017270" y="83820"/>
                  </a:lnTo>
                  <a:lnTo>
                    <a:pt x="1025842" y="80010"/>
                  </a:lnTo>
                  <a:lnTo>
                    <a:pt x="1032510" y="83820"/>
                  </a:lnTo>
                  <a:lnTo>
                    <a:pt x="1041082" y="80010"/>
                  </a:lnTo>
                  <a:lnTo>
                    <a:pt x="1050607" y="84772"/>
                  </a:lnTo>
                  <a:lnTo>
                    <a:pt x="1063942" y="79057"/>
                  </a:lnTo>
                  <a:lnTo>
                    <a:pt x="1082992" y="84772"/>
                  </a:lnTo>
                  <a:lnTo>
                    <a:pt x="1088707" y="95250"/>
                  </a:lnTo>
                  <a:lnTo>
                    <a:pt x="1146810" y="116205"/>
                  </a:lnTo>
                  <a:lnTo>
                    <a:pt x="1158240" y="128588"/>
                  </a:lnTo>
                  <a:lnTo>
                    <a:pt x="1166813" y="153352"/>
                  </a:lnTo>
                  <a:lnTo>
                    <a:pt x="1183957" y="160020"/>
                  </a:lnTo>
                  <a:lnTo>
                    <a:pt x="1198245" y="158115"/>
                  </a:lnTo>
                  <a:lnTo>
                    <a:pt x="1203007" y="166688"/>
                  </a:lnTo>
                  <a:lnTo>
                    <a:pt x="1203007" y="188595"/>
                  </a:lnTo>
                  <a:lnTo>
                    <a:pt x="1208723" y="204788"/>
                  </a:lnTo>
                  <a:lnTo>
                    <a:pt x="1208723" y="218122"/>
                  </a:lnTo>
                  <a:lnTo>
                    <a:pt x="1221105" y="253365"/>
                  </a:lnTo>
                  <a:lnTo>
                    <a:pt x="1242060" y="294322"/>
                  </a:lnTo>
                  <a:lnTo>
                    <a:pt x="1243965" y="329565"/>
                  </a:lnTo>
                  <a:lnTo>
                    <a:pt x="1270635" y="377190"/>
                  </a:lnTo>
                  <a:lnTo>
                    <a:pt x="1274445" y="435292"/>
                  </a:lnTo>
                  <a:lnTo>
                    <a:pt x="1286827" y="441960"/>
                  </a:lnTo>
                  <a:lnTo>
                    <a:pt x="1284923" y="469582"/>
                  </a:lnTo>
                  <a:lnTo>
                    <a:pt x="1292542" y="501015"/>
                  </a:lnTo>
                  <a:lnTo>
                    <a:pt x="1285875" y="521970"/>
                  </a:lnTo>
                  <a:lnTo>
                    <a:pt x="1303020" y="563880"/>
                  </a:lnTo>
                  <a:lnTo>
                    <a:pt x="1315402" y="576263"/>
                  </a:lnTo>
                  <a:lnTo>
                    <a:pt x="1312545" y="589597"/>
                  </a:lnTo>
                  <a:lnTo>
                    <a:pt x="1332548" y="624840"/>
                  </a:lnTo>
                  <a:lnTo>
                    <a:pt x="1369695" y="684847"/>
                  </a:lnTo>
                  <a:lnTo>
                    <a:pt x="1061085" y="684847"/>
                  </a:lnTo>
                  <a:lnTo>
                    <a:pt x="644842" y="673417"/>
                  </a:lnTo>
                  <a:lnTo>
                    <a:pt x="301942" y="654367"/>
                  </a:lnTo>
                  <a:lnTo>
                    <a:pt x="315277" y="443865"/>
                  </a:lnTo>
                  <a:lnTo>
                    <a:pt x="0" y="421005"/>
                  </a:lnTo>
                  <a:lnTo>
                    <a:pt x="35242" y="0"/>
                  </a:lnTo>
                  <a:close/>
                </a:path>
              </a:pathLst>
            </a:custGeom>
            <a:solidFill>
              <a:srgbClr val="D0D0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1863C357-8716-BFA3-3B17-B337DF2F54D2}"/>
                </a:ext>
              </a:extLst>
            </p:cNvPr>
            <p:cNvSpPr/>
            <p:nvPr/>
          </p:nvSpPr>
          <p:spPr>
            <a:xfrm>
              <a:off x="2266949" y="2338387"/>
              <a:ext cx="1058227" cy="1634490"/>
            </a:xfrm>
            <a:custGeom>
              <a:avLst/>
              <a:gdLst>
                <a:gd name="connsiteX0" fmla="*/ 858203 w 1058227"/>
                <a:gd name="connsiteY0" fmla="*/ 1241107 h 1634490"/>
                <a:gd name="connsiteX1" fmla="*/ 825818 w 1058227"/>
                <a:gd name="connsiteY1" fmla="*/ 1407795 h 1634490"/>
                <a:gd name="connsiteX2" fmla="*/ 802958 w 1058227"/>
                <a:gd name="connsiteY2" fmla="*/ 1435418 h 1634490"/>
                <a:gd name="connsiteX3" fmla="*/ 783908 w 1058227"/>
                <a:gd name="connsiteY3" fmla="*/ 1435418 h 1634490"/>
                <a:gd name="connsiteX4" fmla="*/ 772478 w 1058227"/>
                <a:gd name="connsiteY4" fmla="*/ 1409700 h 1634490"/>
                <a:gd name="connsiteX5" fmla="*/ 737235 w 1058227"/>
                <a:gd name="connsiteY5" fmla="*/ 1396365 h 1634490"/>
                <a:gd name="connsiteX6" fmla="*/ 703897 w 1058227"/>
                <a:gd name="connsiteY6" fmla="*/ 1402080 h 1634490"/>
                <a:gd name="connsiteX7" fmla="*/ 694372 w 1058227"/>
                <a:gd name="connsiteY7" fmla="*/ 1531620 h 1634490"/>
                <a:gd name="connsiteX8" fmla="*/ 699135 w 1058227"/>
                <a:gd name="connsiteY8" fmla="*/ 1578293 h 1634490"/>
                <a:gd name="connsiteX9" fmla="*/ 694372 w 1058227"/>
                <a:gd name="connsiteY9" fmla="*/ 1605915 h 1634490"/>
                <a:gd name="connsiteX10" fmla="*/ 681038 w 1058227"/>
                <a:gd name="connsiteY10" fmla="*/ 1634490 h 1634490"/>
                <a:gd name="connsiteX11" fmla="*/ 10477 w 1058227"/>
                <a:gd name="connsiteY11" fmla="*/ 634365 h 1634490"/>
                <a:gd name="connsiteX12" fmla="*/ 0 w 1058227"/>
                <a:gd name="connsiteY12" fmla="*/ 601028 h 1634490"/>
                <a:gd name="connsiteX13" fmla="*/ 156210 w 1058227"/>
                <a:gd name="connsiteY13" fmla="*/ 0 h 1634490"/>
                <a:gd name="connsiteX14" fmla="*/ 603885 w 1058227"/>
                <a:gd name="connsiteY14" fmla="*/ 106680 h 1634490"/>
                <a:gd name="connsiteX15" fmla="*/ 836295 w 1058227"/>
                <a:gd name="connsiteY15" fmla="*/ 158115 h 1634490"/>
                <a:gd name="connsiteX16" fmla="*/ 1058228 w 1058227"/>
                <a:gd name="connsiteY16" fmla="*/ 202883 h 1634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8227" h="1634490">
                  <a:moveTo>
                    <a:pt x="858203" y="1241107"/>
                  </a:moveTo>
                  <a:lnTo>
                    <a:pt x="825818" y="1407795"/>
                  </a:lnTo>
                  <a:lnTo>
                    <a:pt x="802958" y="1435418"/>
                  </a:lnTo>
                  <a:lnTo>
                    <a:pt x="783908" y="1435418"/>
                  </a:lnTo>
                  <a:lnTo>
                    <a:pt x="772478" y="1409700"/>
                  </a:lnTo>
                  <a:lnTo>
                    <a:pt x="737235" y="1396365"/>
                  </a:lnTo>
                  <a:lnTo>
                    <a:pt x="703897" y="1402080"/>
                  </a:lnTo>
                  <a:lnTo>
                    <a:pt x="694372" y="1531620"/>
                  </a:lnTo>
                  <a:lnTo>
                    <a:pt x="699135" y="1578293"/>
                  </a:lnTo>
                  <a:lnTo>
                    <a:pt x="694372" y="1605915"/>
                  </a:lnTo>
                  <a:lnTo>
                    <a:pt x="681038" y="1634490"/>
                  </a:lnTo>
                  <a:lnTo>
                    <a:pt x="10477" y="634365"/>
                  </a:lnTo>
                  <a:lnTo>
                    <a:pt x="0" y="601028"/>
                  </a:lnTo>
                  <a:lnTo>
                    <a:pt x="156210" y="0"/>
                  </a:lnTo>
                  <a:lnTo>
                    <a:pt x="603885" y="106680"/>
                  </a:lnTo>
                  <a:lnTo>
                    <a:pt x="836295" y="158115"/>
                  </a:lnTo>
                  <a:lnTo>
                    <a:pt x="1058228" y="202883"/>
                  </a:lnTo>
                  <a:close/>
                </a:path>
              </a:pathLst>
            </a:custGeom>
            <a:solidFill>
              <a:srgbClr val="D0D0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42AB5FF3-B4F1-E9C7-BF88-FB6EFE839332}"/>
                </a:ext>
              </a:extLst>
            </p:cNvPr>
            <p:cNvSpPr/>
            <p:nvPr/>
          </p:nvSpPr>
          <p:spPr>
            <a:xfrm>
              <a:off x="9652634" y="1627822"/>
              <a:ext cx="276225" cy="578167"/>
            </a:xfrm>
            <a:custGeom>
              <a:avLst/>
              <a:gdLst>
                <a:gd name="connsiteX0" fmla="*/ 92392 w 276225"/>
                <a:gd name="connsiteY0" fmla="*/ 16192 h 578167"/>
                <a:gd name="connsiteX1" fmla="*/ 80010 w 276225"/>
                <a:gd name="connsiteY1" fmla="*/ 17145 h 578167"/>
                <a:gd name="connsiteX2" fmla="*/ 70485 w 276225"/>
                <a:gd name="connsiteY2" fmla="*/ 6667 h 578167"/>
                <a:gd name="connsiteX3" fmla="*/ 52388 w 276225"/>
                <a:gd name="connsiteY3" fmla="*/ 20002 h 578167"/>
                <a:gd name="connsiteX4" fmla="*/ 47625 w 276225"/>
                <a:gd name="connsiteY4" fmla="*/ 78105 h 578167"/>
                <a:gd name="connsiteX5" fmla="*/ 59055 w 276225"/>
                <a:gd name="connsiteY5" fmla="*/ 100013 h 578167"/>
                <a:gd name="connsiteX6" fmla="*/ 48577 w 276225"/>
                <a:gd name="connsiteY6" fmla="*/ 133350 h 578167"/>
                <a:gd name="connsiteX7" fmla="*/ 68580 w 276225"/>
                <a:gd name="connsiteY7" fmla="*/ 160020 h 578167"/>
                <a:gd name="connsiteX8" fmla="*/ 64770 w 276225"/>
                <a:gd name="connsiteY8" fmla="*/ 176213 h 578167"/>
                <a:gd name="connsiteX9" fmla="*/ 65722 w 276225"/>
                <a:gd name="connsiteY9" fmla="*/ 188595 h 578167"/>
                <a:gd name="connsiteX10" fmla="*/ 55245 w 276225"/>
                <a:gd name="connsiteY10" fmla="*/ 208598 h 578167"/>
                <a:gd name="connsiteX11" fmla="*/ 41910 w 276225"/>
                <a:gd name="connsiteY11" fmla="*/ 212407 h 578167"/>
                <a:gd name="connsiteX12" fmla="*/ 36195 w 276225"/>
                <a:gd name="connsiteY12" fmla="*/ 224790 h 578167"/>
                <a:gd name="connsiteX13" fmla="*/ 16192 w 276225"/>
                <a:gd name="connsiteY13" fmla="*/ 234315 h 578167"/>
                <a:gd name="connsiteX14" fmla="*/ 9525 w 276225"/>
                <a:gd name="connsiteY14" fmla="*/ 248602 h 578167"/>
                <a:gd name="connsiteX15" fmla="*/ 22860 w 276225"/>
                <a:gd name="connsiteY15" fmla="*/ 280988 h 578167"/>
                <a:gd name="connsiteX16" fmla="*/ 18097 w 276225"/>
                <a:gd name="connsiteY16" fmla="*/ 304800 h 578167"/>
                <a:gd name="connsiteX17" fmla="*/ 22860 w 276225"/>
                <a:gd name="connsiteY17" fmla="*/ 319088 h 578167"/>
                <a:gd name="connsiteX18" fmla="*/ 13335 w 276225"/>
                <a:gd name="connsiteY18" fmla="*/ 337185 h 578167"/>
                <a:gd name="connsiteX19" fmla="*/ 17145 w 276225"/>
                <a:gd name="connsiteY19" fmla="*/ 355282 h 578167"/>
                <a:gd name="connsiteX20" fmla="*/ 4763 w 276225"/>
                <a:gd name="connsiteY20" fmla="*/ 373380 h 578167"/>
                <a:gd name="connsiteX21" fmla="*/ 6667 w 276225"/>
                <a:gd name="connsiteY21" fmla="*/ 394335 h 578167"/>
                <a:gd name="connsiteX22" fmla="*/ 0 w 276225"/>
                <a:gd name="connsiteY22" fmla="*/ 404812 h 578167"/>
                <a:gd name="connsiteX23" fmla="*/ 6667 w 276225"/>
                <a:gd name="connsiteY23" fmla="*/ 447675 h 578167"/>
                <a:gd name="connsiteX24" fmla="*/ 13335 w 276225"/>
                <a:gd name="connsiteY24" fmla="*/ 461962 h 578167"/>
                <a:gd name="connsiteX25" fmla="*/ 8572 w 276225"/>
                <a:gd name="connsiteY25" fmla="*/ 486728 h 578167"/>
                <a:gd name="connsiteX26" fmla="*/ 17145 w 276225"/>
                <a:gd name="connsiteY26" fmla="*/ 503873 h 578167"/>
                <a:gd name="connsiteX27" fmla="*/ 15240 w 276225"/>
                <a:gd name="connsiteY27" fmla="*/ 527685 h 578167"/>
                <a:gd name="connsiteX28" fmla="*/ 10477 w 276225"/>
                <a:gd name="connsiteY28" fmla="*/ 540068 h 578167"/>
                <a:gd name="connsiteX29" fmla="*/ 9525 w 276225"/>
                <a:gd name="connsiteY29" fmla="*/ 553403 h 578167"/>
                <a:gd name="connsiteX30" fmla="*/ 29527 w 276225"/>
                <a:gd name="connsiteY30" fmla="*/ 578168 h 578167"/>
                <a:gd name="connsiteX31" fmla="*/ 204788 w 276225"/>
                <a:gd name="connsiteY31" fmla="*/ 541973 h 578167"/>
                <a:gd name="connsiteX32" fmla="*/ 214313 w 276225"/>
                <a:gd name="connsiteY32" fmla="*/ 527685 h 578167"/>
                <a:gd name="connsiteX33" fmla="*/ 217170 w 276225"/>
                <a:gd name="connsiteY33" fmla="*/ 511493 h 578167"/>
                <a:gd name="connsiteX34" fmla="*/ 235267 w 276225"/>
                <a:gd name="connsiteY34" fmla="*/ 505778 h 578167"/>
                <a:gd name="connsiteX35" fmla="*/ 240030 w 276225"/>
                <a:gd name="connsiteY35" fmla="*/ 495300 h 578167"/>
                <a:gd name="connsiteX36" fmla="*/ 256222 w 276225"/>
                <a:gd name="connsiteY36" fmla="*/ 484823 h 578167"/>
                <a:gd name="connsiteX37" fmla="*/ 268605 w 276225"/>
                <a:gd name="connsiteY37" fmla="*/ 487680 h 578167"/>
                <a:gd name="connsiteX38" fmla="*/ 276225 w 276225"/>
                <a:gd name="connsiteY38" fmla="*/ 441960 h 578167"/>
                <a:gd name="connsiteX39" fmla="*/ 254317 w 276225"/>
                <a:gd name="connsiteY39" fmla="*/ 428625 h 578167"/>
                <a:gd name="connsiteX40" fmla="*/ 246697 w 276225"/>
                <a:gd name="connsiteY40" fmla="*/ 407670 h 578167"/>
                <a:gd name="connsiteX41" fmla="*/ 216217 w 276225"/>
                <a:gd name="connsiteY41" fmla="*/ 388620 h 578167"/>
                <a:gd name="connsiteX42" fmla="*/ 210502 w 276225"/>
                <a:gd name="connsiteY42" fmla="*/ 350520 h 578167"/>
                <a:gd name="connsiteX43" fmla="*/ 97155 w 276225"/>
                <a:gd name="connsiteY43" fmla="*/ 0 h 578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76225" h="578167">
                  <a:moveTo>
                    <a:pt x="92392" y="16192"/>
                  </a:moveTo>
                  <a:lnTo>
                    <a:pt x="80010" y="17145"/>
                  </a:lnTo>
                  <a:lnTo>
                    <a:pt x="70485" y="6667"/>
                  </a:lnTo>
                  <a:lnTo>
                    <a:pt x="52388" y="20002"/>
                  </a:lnTo>
                  <a:lnTo>
                    <a:pt x="47625" y="78105"/>
                  </a:lnTo>
                  <a:lnTo>
                    <a:pt x="59055" y="100013"/>
                  </a:lnTo>
                  <a:lnTo>
                    <a:pt x="48577" y="133350"/>
                  </a:lnTo>
                  <a:lnTo>
                    <a:pt x="68580" y="160020"/>
                  </a:lnTo>
                  <a:lnTo>
                    <a:pt x="64770" y="176213"/>
                  </a:lnTo>
                  <a:lnTo>
                    <a:pt x="65722" y="188595"/>
                  </a:lnTo>
                  <a:lnTo>
                    <a:pt x="55245" y="208598"/>
                  </a:lnTo>
                  <a:lnTo>
                    <a:pt x="41910" y="212407"/>
                  </a:lnTo>
                  <a:lnTo>
                    <a:pt x="36195" y="224790"/>
                  </a:lnTo>
                  <a:lnTo>
                    <a:pt x="16192" y="234315"/>
                  </a:lnTo>
                  <a:lnTo>
                    <a:pt x="9525" y="248602"/>
                  </a:lnTo>
                  <a:lnTo>
                    <a:pt x="22860" y="280988"/>
                  </a:lnTo>
                  <a:lnTo>
                    <a:pt x="18097" y="304800"/>
                  </a:lnTo>
                  <a:lnTo>
                    <a:pt x="22860" y="319088"/>
                  </a:lnTo>
                  <a:lnTo>
                    <a:pt x="13335" y="337185"/>
                  </a:lnTo>
                  <a:lnTo>
                    <a:pt x="17145" y="355282"/>
                  </a:lnTo>
                  <a:lnTo>
                    <a:pt x="4763" y="373380"/>
                  </a:lnTo>
                  <a:lnTo>
                    <a:pt x="6667" y="394335"/>
                  </a:lnTo>
                  <a:lnTo>
                    <a:pt x="0" y="404812"/>
                  </a:lnTo>
                  <a:lnTo>
                    <a:pt x="6667" y="447675"/>
                  </a:lnTo>
                  <a:lnTo>
                    <a:pt x="13335" y="461962"/>
                  </a:lnTo>
                  <a:lnTo>
                    <a:pt x="8572" y="486728"/>
                  </a:lnTo>
                  <a:lnTo>
                    <a:pt x="17145" y="503873"/>
                  </a:lnTo>
                  <a:lnTo>
                    <a:pt x="15240" y="527685"/>
                  </a:lnTo>
                  <a:lnTo>
                    <a:pt x="10477" y="540068"/>
                  </a:lnTo>
                  <a:lnTo>
                    <a:pt x="9525" y="553403"/>
                  </a:lnTo>
                  <a:lnTo>
                    <a:pt x="29527" y="578168"/>
                  </a:lnTo>
                  <a:lnTo>
                    <a:pt x="204788" y="541973"/>
                  </a:lnTo>
                  <a:lnTo>
                    <a:pt x="214313" y="527685"/>
                  </a:lnTo>
                  <a:lnTo>
                    <a:pt x="217170" y="511493"/>
                  </a:lnTo>
                  <a:lnTo>
                    <a:pt x="235267" y="505778"/>
                  </a:lnTo>
                  <a:lnTo>
                    <a:pt x="240030" y="495300"/>
                  </a:lnTo>
                  <a:lnTo>
                    <a:pt x="256222" y="484823"/>
                  </a:lnTo>
                  <a:lnTo>
                    <a:pt x="268605" y="487680"/>
                  </a:lnTo>
                  <a:lnTo>
                    <a:pt x="276225" y="441960"/>
                  </a:lnTo>
                  <a:lnTo>
                    <a:pt x="254317" y="428625"/>
                  </a:lnTo>
                  <a:lnTo>
                    <a:pt x="246697" y="407670"/>
                  </a:lnTo>
                  <a:lnTo>
                    <a:pt x="216217" y="388620"/>
                  </a:lnTo>
                  <a:lnTo>
                    <a:pt x="210502" y="350520"/>
                  </a:lnTo>
                  <a:lnTo>
                    <a:pt x="97155" y="0"/>
                  </a:lnTo>
                  <a:close/>
                </a:path>
              </a:pathLst>
            </a:custGeom>
            <a:solidFill>
              <a:srgbClr val="D0D0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4F2613D9-DABC-2F4D-99C5-76A049B4DC10}"/>
                </a:ext>
              </a:extLst>
            </p:cNvPr>
            <p:cNvSpPr/>
            <p:nvPr/>
          </p:nvSpPr>
          <p:spPr>
            <a:xfrm>
              <a:off x="9363074" y="2566987"/>
              <a:ext cx="220027" cy="513397"/>
            </a:xfrm>
            <a:custGeom>
              <a:avLst/>
              <a:gdLst>
                <a:gd name="connsiteX0" fmla="*/ 190500 w 220027"/>
                <a:gd name="connsiteY0" fmla="*/ 46672 h 513397"/>
                <a:gd name="connsiteX1" fmla="*/ 51435 w 220027"/>
                <a:gd name="connsiteY1" fmla="*/ 0 h 513397"/>
                <a:gd name="connsiteX2" fmla="*/ 34290 w 220027"/>
                <a:gd name="connsiteY2" fmla="*/ 23813 h 513397"/>
                <a:gd name="connsiteX3" fmla="*/ 35243 w 220027"/>
                <a:gd name="connsiteY3" fmla="*/ 44767 h 513397"/>
                <a:gd name="connsiteX4" fmla="*/ 6668 w 220027"/>
                <a:gd name="connsiteY4" fmla="*/ 96203 h 513397"/>
                <a:gd name="connsiteX5" fmla="*/ 20955 w 220027"/>
                <a:gd name="connsiteY5" fmla="*/ 113347 h 513397"/>
                <a:gd name="connsiteX6" fmla="*/ 14288 w 220027"/>
                <a:gd name="connsiteY6" fmla="*/ 132397 h 513397"/>
                <a:gd name="connsiteX7" fmla="*/ 4763 w 220027"/>
                <a:gd name="connsiteY7" fmla="*/ 141922 h 513397"/>
                <a:gd name="connsiteX8" fmla="*/ 9525 w 220027"/>
                <a:gd name="connsiteY8" fmla="*/ 176213 h 513397"/>
                <a:gd name="connsiteX9" fmla="*/ 35243 w 220027"/>
                <a:gd name="connsiteY9" fmla="*/ 184785 h 513397"/>
                <a:gd name="connsiteX10" fmla="*/ 44768 w 220027"/>
                <a:gd name="connsiteY10" fmla="*/ 211455 h 513397"/>
                <a:gd name="connsiteX11" fmla="*/ 64770 w 220027"/>
                <a:gd name="connsiteY11" fmla="*/ 221933 h 513397"/>
                <a:gd name="connsiteX12" fmla="*/ 104775 w 220027"/>
                <a:gd name="connsiteY12" fmla="*/ 252413 h 513397"/>
                <a:gd name="connsiteX13" fmla="*/ 73343 w 220027"/>
                <a:gd name="connsiteY13" fmla="*/ 277178 h 513397"/>
                <a:gd name="connsiteX14" fmla="*/ 58102 w 220027"/>
                <a:gd name="connsiteY14" fmla="*/ 299085 h 513397"/>
                <a:gd name="connsiteX15" fmla="*/ 40957 w 220027"/>
                <a:gd name="connsiteY15" fmla="*/ 327660 h 513397"/>
                <a:gd name="connsiteX16" fmla="*/ 25718 w 220027"/>
                <a:gd name="connsiteY16" fmla="*/ 333375 h 513397"/>
                <a:gd name="connsiteX17" fmla="*/ 12382 w 220027"/>
                <a:gd name="connsiteY17" fmla="*/ 349567 h 513397"/>
                <a:gd name="connsiteX18" fmla="*/ 2857 w 220027"/>
                <a:gd name="connsiteY18" fmla="*/ 370522 h 513397"/>
                <a:gd name="connsiteX19" fmla="*/ 0 w 220027"/>
                <a:gd name="connsiteY19" fmla="*/ 390525 h 513397"/>
                <a:gd name="connsiteX20" fmla="*/ 7620 w 220027"/>
                <a:gd name="connsiteY20" fmla="*/ 399097 h 513397"/>
                <a:gd name="connsiteX21" fmla="*/ 11430 w 220027"/>
                <a:gd name="connsiteY21" fmla="*/ 421005 h 513397"/>
                <a:gd name="connsiteX22" fmla="*/ 22860 w 220027"/>
                <a:gd name="connsiteY22" fmla="*/ 426720 h 513397"/>
                <a:gd name="connsiteX23" fmla="*/ 45720 w 220027"/>
                <a:gd name="connsiteY23" fmla="*/ 441008 h 513397"/>
                <a:gd name="connsiteX24" fmla="*/ 62865 w 220027"/>
                <a:gd name="connsiteY24" fmla="*/ 448628 h 513397"/>
                <a:gd name="connsiteX25" fmla="*/ 78105 w 220027"/>
                <a:gd name="connsiteY25" fmla="*/ 456247 h 513397"/>
                <a:gd name="connsiteX26" fmla="*/ 79057 w 220027"/>
                <a:gd name="connsiteY26" fmla="*/ 466725 h 513397"/>
                <a:gd name="connsiteX27" fmla="*/ 86677 w 220027"/>
                <a:gd name="connsiteY27" fmla="*/ 467678 h 513397"/>
                <a:gd name="connsiteX28" fmla="*/ 97155 w 220027"/>
                <a:gd name="connsiteY28" fmla="*/ 456247 h 513397"/>
                <a:gd name="connsiteX29" fmla="*/ 104775 w 220027"/>
                <a:gd name="connsiteY29" fmla="*/ 460058 h 513397"/>
                <a:gd name="connsiteX30" fmla="*/ 124777 w 220027"/>
                <a:gd name="connsiteY30" fmla="*/ 461963 h 513397"/>
                <a:gd name="connsiteX31" fmla="*/ 122873 w 220027"/>
                <a:gd name="connsiteY31" fmla="*/ 489585 h 513397"/>
                <a:gd name="connsiteX32" fmla="*/ 124777 w 220027"/>
                <a:gd name="connsiteY32" fmla="*/ 513397 h 513397"/>
                <a:gd name="connsiteX33" fmla="*/ 141923 w 220027"/>
                <a:gd name="connsiteY33" fmla="*/ 506730 h 513397"/>
                <a:gd name="connsiteX34" fmla="*/ 156210 w 220027"/>
                <a:gd name="connsiteY34" fmla="*/ 469583 h 513397"/>
                <a:gd name="connsiteX35" fmla="*/ 171450 w 220027"/>
                <a:gd name="connsiteY35" fmla="*/ 423863 h 513397"/>
                <a:gd name="connsiteX36" fmla="*/ 199073 w 220027"/>
                <a:gd name="connsiteY36" fmla="*/ 397192 h 513397"/>
                <a:gd name="connsiteX37" fmla="*/ 204788 w 220027"/>
                <a:gd name="connsiteY37" fmla="*/ 363855 h 513397"/>
                <a:gd name="connsiteX38" fmla="*/ 199073 w 220027"/>
                <a:gd name="connsiteY38" fmla="*/ 352425 h 513397"/>
                <a:gd name="connsiteX39" fmla="*/ 215265 w 220027"/>
                <a:gd name="connsiteY39" fmla="*/ 324803 h 513397"/>
                <a:gd name="connsiteX40" fmla="*/ 215265 w 220027"/>
                <a:gd name="connsiteY40" fmla="*/ 313372 h 513397"/>
                <a:gd name="connsiteX41" fmla="*/ 208598 w 220027"/>
                <a:gd name="connsiteY41" fmla="*/ 302895 h 513397"/>
                <a:gd name="connsiteX42" fmla="*/ 220027 w 220027"/>
                <a:gd name="connsiteY42" fmla="*/ 277178 h 513397"/>
                <a:gd name="connsiteX43" fmla="*/ 217170 w 220027"/>
                <a:gd name="connsiteY43" fmla="*/ 242888 h 513397"/>
                <a:gd name="connsiteX44" fmla="*/ 211455 w 220027"/>
                <a:gd name="connsiteY44" fmla="*/ 164783 h 513397"/>
                <a:gd name="connsiteX45" fmla="*/ 200025 w 220027"/>
                <a:gd name="connsiteY45" fmla="*/ 151447 h 513397"/>
                <a:gd name="connsiteX46" fmla="*/ 200025 w 220027"/>
                <a:gd name="connsiteY46" fmla="*/ 164783 h 513397"/>
                <a:gd name="connsiteX47" fmla="*/ 204788 w 220027"/>
                <a:gd name="connsiteY47" fmla="*/ 170497 h 513397"/>
                <a:gd name="connsiteX48" fmla="*/ 194310 w 220027"/>
                <a:gd name="connsiteY48" fmla="*/ 170497 h 513397"/>
                <a:gd name="connsiteX49" fmla="*/ 188595 w 220027"/>
                <a:gd name="connsiteY49" fmla="*/ 166688 h 513397"/>
                <a:gd name="connsiteX50" fmla="*/ 176213 w 220027"/>
                <a:gd name="connsiteY50" fmla="*/ 164783 h 513397"/>
                <a:gd name="connsiteX51" fmla="*/ 167640 w 220027"/>
                <a:gd name="connsiteY51" fmla="*/ 170497 h 513397"/>
                <a:gd name="connsiteX52" fmla="*/ 156210 w 220027"/>
                <a:gd name="connsiteY52" fmla="*/ 155258 h 513397"/>
                <a:gd name="connsiteX53" fmla="*/ 162877 w 220027"/>
                <a:gd name="connsiteY53" fmla="*/ 139065 h 513397"/>
                <a:gd name="connsiteX54" fmla="*/ 162877 w 220027"/>
                <a:gd name="connsiteY54" fmla="*/ 129540 h 513397"/>
                <a:gd name="connsiteX55" fmla="*/ 179070 w 220027"/>
                <a:gd name="connsiteY55" fmla="*/ 122872 h 513397"/>
                <a:gd name="connsiteX56" fmla="*/ 186690 w 220027"/>
                <a:gd name="connsiteY56" fmla="*/ 102870 h 513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220027" h="513397">
                  <a:moveTo>
                    <a:pt x="190500" y="46672"/>
                  </a:moveTo>
                  <a:lnTo>
                    <a:pt x="51435" y="0"/>
                  </a:lnTo>
                  <a:lnTo>
                    <a:pt x="34290" y="23813"/>
                  </a:lnTo>
                  <a:lnTo>
                    <a:pt x="35243" y="44767"/>
                  </a:lnTo>
                  <a:lnTo>
                    <a:pt x="6668" y="96203"/>
                  </a:lnTo>
                  <a:lnTo>
                    <a:pt x="20955" y="113347"/>
                  </a:lnTo>
                  <a:lnTo>
                    <a:pt x="14288" y="132397"/>
                  </a:lnTo>
                  <a:lnTo>
                    <a:pt x="4763" y="141922"/>
                  </a:lnTo>
                  <a:lnTo>
                    <a:pt x="9525" y="176213"/>
                  </a:lnTo>
                  <a:lnTo>
                    <a:pt x="35243" y="184785"/>
                  </a:lnTo>
                  <a:lnTo>
                    <a:pt x="44768" y="211455"/>
                  </a:lnTo>
                  <a:lnTo>
                    <a:pt x="64770" y="221933"/>
                  </a:lnTo>
                  <a:lnTo>
                    <a:pt x="104775" y="252413"/>
                  </a:lnTo>
                  <a:lnTo>
                    <a:pt x="73343" y="277178"/>
                  </a:lnTo>
                  <a:lnTo>
                    <a:pt x="58102" y="299085"/>
                  </a:lnTo>
                  <a:lnTo>
                    <a:pt x="40957" y="327660"/>
                  </a:lnTo>
                  <a:lnTo>
                    <a:pt x="25718" y="333375"/>
                  </a:lnTo>
                  <a:lnTo>
                    <a:pt x="12382" y="349567"/>
                  </a:lnTo>
                  <a:lnTo>
                    <a:pt x="2857" y="370522"/>
                  </a:lnTo>
                  <a:lnTo>
                    <a:pt x="0" y="390525"/>
                  </a:lnTo>
                  <a:lnTo>
                    <a:pt x="7620" y="399097"/>
                  </a:lnTo>
                  <a:lnTo>
                    <a:pt x="11430" y="421005"/>
                  </a:lnTo>
                  <a:lnTo>
                    <a:pt x="22860" y="426720"/>
                  </a:lnTo>
                  <a:lnTo>
                    <a:pt x="45720" y="441008"/>
                  </a:lnTo>
                  <a:lnTo>
                    <a:pt x="62865" y="448628"/>
                  </a:lnTo>
                  <a:lnTo>
                    <a:pt x="78105" y="456247"/>
                  </a:lnTo>
                  <a:lnTo>
                    <a:pt x="79057" y="466725"/>
                  </a:lnTo>
                  <a:lnTo>
                    <a:pt x="86677" y="467678"/>
                  </a:lnTo>
                  <a:lnTo>
                    <a:pt x="97155" y="456247"/>
                  </a:lnTo>
                  <a:lnTo>
                    <a:pt x="104775" y="460058"/>
                  </a:lnTo>
                  <a:lnTo>
                    <a:pt x="124777" y="461963"/>
                  </a:lnTo>
                  <a:lnTo>
                    <a:pt x="122873" y="489585"/>
                  </a:lnTo>
                  <a:lnTo>
                    <a:pt x="124777" y="513397"/>
                  </a:lnTo>
                  <a:lnTo>
                    <a:pt x="141923" y="506730"/>
                  </a:lnTo>
                  <a:lnTo>
                    <a:pt x="156210" y="469583"/>
                  </a:lnTo>
                  <a:lnTo>
                    <a:pt x="171450" y="423863"/>
                  </a:lnTo>
                  <a:lnTo>
                    <a:pt x="199073" y="397192"/>
                  </a:lnTo>
                  <a:lnTo>
                    <a:pt x="204788" y="363855"/>
                  </a:lnTo>
                  <a:lnTo>
                    <a:pt x="199073" y="352425"/>
                  </a:lnTo>
                  <a:lnTo>
                    <a:pt x="215265" y="324803"/>
                  </a:lnTo>
                  <a:lnTo>
                    <a:pt x="215265" y="313372"/>
                  </a:lnTo>
                  <a:lnTo>
                    <a:pt x="208598" y="302895"/>
                  </a:lnTo>
                  <a:lnTo>
                    <a:pt x="220027" y="277178"/>
                  </a:lnTo>
                  <a:lnTo>
                    <a:pt x="217170" y="242888"/>
                  </a:lnTo>
                  <a:lnTo>
                    <a:pt x="211455" y="164783"/>
                  </a:lnTo>
                  <a:lnTo>
                    <a:pt x="200025" y="151447"/>
                  </a:lnTo>
                  <a:lnTo>
                    <a:pt x="200025" y="164783"/>
                  </a:lnTo>
                  <a:lnTo>
                    <a:pt x="204788" y="170497"/>
                  </a:lnTo>
                  <a:lnTo>
                    <a:pt x="194310" y="170497"/>
                  </a:lnTo>
                  <a:lnTo>
                    <a:pt x="188595" y="166688"/>
                  </a:lnTo>
                  <a:lnTo>
                    <a:pt x="176213" y="164783"/>
                  </a:lnTo>
                  <a:lnTo>
                    <a:pt x="167640" y="170497"/>
                  </a:lnTo>
                  <a:lnTo>
                    <a:pt x="156210" y="155258"/>
                  </a:lnTo>
                  <a:lnTo>
                    <a:pt x="162877" y="139065"/>
                  </a:lnTo>
                  <a:lnTo>
                    <a:pt x="162877" y="129540"/>
                  </a:lnTo>
                  <a:lnTo>
                    <a:pt x="179070" y="122872"/>
                  </a:lnTo>
                  <a:lnTo>
                    <a:pt x="186690" y="102870"/>
                  </a:lnTo>
                  <a:close/>
                </a:path>
              </a:pathLst>
            </a:custGeom>
            <a:solidFill>
              <a:srgbClr val="D0D0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18A8B9B7-FDC6-AAB4-1ECA-7802213978EF}"/>
                </a:ext>
              </a:extLst>
            </p:cNvPr>
            <p:cNvSpPr/>
            <p:nvPr/>
          </p:nvSpPr>
          <p:spPr>
            <a:xfrm>
              <a:off x="3780471" y="3714750"/>
              <a:ext cx="1159192" cy="1203007"/>
            </a:xfrm>
            <a:custGeom>
              <a:avLst/>
              <a:gdLst>
                <a:gd name="connsiteX0" fmla="*/ 1153478 w 1159192"/>
                <a:gd name="connsiteY0" fmla="*/ 208597 h 1203007"/>
                <a:gd name="connsiteX1" fmla="*/ 1145858 w 1159192"/>
                <a:gd name="connsiteY1" fmla="*/ 208597 h 1203007"/>
                <a:gd name="connsiteX2" fmla="*/ 1070610 w 1159192"/>
                <a:gd name="connsiteY2" fmla="*/ 1154430 h 1203007"/>
                <a:gd name="connsiteX3" fmla="*/ 767715 w 1159192"/>
                <a:gd name="connsiteY3" fmla="*/ 1129665 h 1203007"/>
                <a:gd name="connsiteX4" fmla="*/ 440055 w 1159192"/>
                <a:gd name="connsiteY4" fmla="*/ 1095375 h 1203007"/>
                <a:gd name="connsiteX5" fmla="*/ 437197 w 1159192"/>
                <a:gd name="connsiteY5" fmla="*/ 1123950 h 1203007"/>
                <a:gd name="connsiteX6" fmla="*/ 456247 w 1159192"/>
                <a:gd name="connsiteY6" fmla="*/ 1144905 h 1203007"/>
                <a:gd name="connsiteX7" fmla="*/ 162878 w 1159192"/>
                <a:gd name="connsiteY7" fmla="*/ 1105853 h 1203007"/>
                <a:gd name="connsiteX8" fmla="*/ 149543 w 1159192"/>
                <a:gd name="connsiteY8" fmla="*/ 1203007 h 1203007"/>
                <a:gd name="connsiteX9" fmla="*/ 0 w 1159192"/>
                <a:gd name="connsiteY9" fmla="*/ 1182053 h 1203007"/>
                <a:gd name="connsiteX10" fmla="*/ 165735 w 1159192"/>
                <a:gd name="connsiteY10" fmla="*/ 0 h 1203007"/>
                <a:gd name="connsiteX11" fmla="*/ 666750 w 1159192"/>
                <a:gd name="connsiteY11" fmla="*/ 61913 h 1203007"/>
                <a:gd name="connsiteX12" fmla="*/ 1159193 w 1159192"/>
                <a:gd name="connsiteY12" fmla="*/ 107632 h 1203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59192" h="1203007">
                  <a:moveTo>
                    <a:pt x="1153478" y="208597"/>
                  </a:moveTo>
                  <a:lnTo>
                    <a:pt x="1145858" y="208597"/>
                  </a:lnTo>
                  <a:lnTo>
                    <a:pt x="1070610" y="1154430"/>
                  </a:lnTo>
                  <a:lnTo>
                    <a:pt x="767715" y="1129665"/>
                  </a:lnTo>
                  <a:lnTo>
                    <a:pt x="440055" y="1095375"/>
                  </a:lnTo>
                  <a:lnTo>
                    <a:pt x="437197" y="1123950"/>
                  </a:lnTo>
                  <a:lnTo>
                    <a:pt x="456247" y="1144905"/>
                  </a:lnTo>
                  <a:lnTo>
                    <a:pt x="162878" y="1105853"/>
                  </a:lnTo>
                  <a:lnTo>
                    <a:pt x="149543" y="1203007"/>
                  </a:lnTo>
                  <a:lnTo>
                    <a:pt x="0" y="1182053"/>
                  </a:lnTo>
                  <a:lnTo>
                    <a:pt x="165735" y="0"/>
                  </a:lnTo>
                  <a:lnTo>
                    <a:pt x="666750" y="61913"/>
                  </a:lnTo>
                  <a:lnTo>
                    <a:pt x="1159193" y="107632"/>
                  </a:lnTo>
                  <a:close/>
                </a:path>
              </a:pathLst>
            </a:custGeom>
            <a:solidFill>
              <a:srgbClr val="D0D0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0108D81-6353-2E57-F80A-60AD7474982F}"/>
                </a:ext>
              </a:extLst>
            </p:cNvPr>
            <p:cNvSpPr/>
            <p:nvPr/>
          </p:nvSpPr>
          <p:spPr>
            <a:xfrm>
              <a:off x="8605837" y="1771650"/>
              <a:ext cx="1261110" cy="958215"/>
            </a:xfrm>
            <a:custGeom>
              <a:avLst/>
              <a:gdLst>
                <a:gd name="connsiteX0" fmla="*/ 1237298 w 1261110"/>
                <a:gd name="connsiteY0" fmla="*/ 710565 h 958215"/>
                <a:gd name="connsiteX1" fmla="*/ 1224915 w 1261110"/>
                <a:gd name="connsiteY1" fmla="*/ 711518 h 958215"/>
                <a:gd name="connsiteX2" fmla="*/ 1220152 w 1261110"/>
                <a:gd name="connsiteY2" fmla="*/ 721043 h 958215"/>
                <a:gd name="connsiteX3" fmla="*/ 945832 w 1261110"/>
                <a:gd name="connsiteY3" fmla="*/ 926783 h 958215"/>
                <a:gd name="connsiteX4" fmla="*/ 952500 w 1261110"/>
                <a:gd name="connsiteY4" fmla="*/ 932497 h 958215"/>
                <a:gd name="connsiteX5" fmla="*/ 964882 w 1261110"/>
                <a:gd name="connsiteY5" fmla="*/ 929640 h 958215"/>
                <a:gd name="connsiteX6" fmla="*/ 975360 w 1261110"/>
                <a:gd name="connsiteY6" fmla="*/ 932497 h 958215"/>
                <a:gd name="connsiteX7" fmla="*/ 983932 w 1261110"/>
                <a:gd name="connsiteY7" fmla="*/ 920115 h 958215"/>
                <a:gd name="connsiteX8" fmla="*/ 1002030 w 1261110"/>
                <a:gd name="connsiteY8" fmla="*/ 920115 h 958215"/>
                <a:gd name="connsiteX9" fmla="*/ 1024890 w 1261110"/>
                <a:gd name="connsiteY9" fmla="*/ 911543 h 958215"/>
                <a:gd name="connsiteX10" fmla="*/ 1073468 w 1261110"/>
                <a:gd name="connsiteY10" fmla="*/ 891540 h 958215"/>
                <a:gd name="connsiteX11" fmla="*/ 1068705 w 1261110"/>
                <a:gd name="connsiteY11" fmla="*/ 886778 h 958215"/>
                <a:gd name="connsiteX12" fmla="*/ 1050607 w 1261110"/>
                <a:gd name="connsiteY12" fmla="*/ 894397 h 958215"/>
                <a:gd name="connsiteX13" fmla="*/ 1031557 w 1261110"/>
                <a:gd name="connsiteY13" fmla="*/ 902970 h 958215"/>
                <a:gd name="connsiteX14" fmla="*/ 1033463 w 1261110"/>
                <a:gd name="connsiteY14" fmla="*/ 895350 h 958215"/>
                <a:gd name="connsiteX15" fmla="*/ 1058227 w 1261110"/>
                <a:gd name="connsiteY15" fmla="*/ 884872 h 958215"/>
                <a:gd name="connsiteX16" fmla="*/ 1065848 w 1261110"/>
                <a:gd name="connsiteY16" fmla="*/ 875347 h 958215"/>
                <a:gd name="connsiteX17" fmla="*/ 1077277 w 1261110"/>
                <a:gd name="connsiteY17" fmla="*/ 876300 h 958215"/>
                <a:gd name="connsiteX18" fmla="*/ 1116330 w 1261110"/>
                <a:gd name="connsiteY18" fmla="*/ 854393 h 958215"/>
                <a:gd name="connsiteX19" fmla="*/ 1116330 w 1261110"/>
                <a:gd name="connsiteY19" fmla="*/ 861060 h 958215"/>
                <a:gd name="connsiteX20" fmla="*/ 1076325 w 1261110"/>
                <a:gd name="connsiteY20" fmla="*/ 889635 h 958215"/>
                <a:gd name="connsiteX21" fmla="*/ 1119188 w 1261110"/>
                <a:gd name="connsiteY21" fmla="*/ 862965 h 958215"/>
                <a:gd name="connsiteX22" fmla="*/ 1135380 w 1261110"/>
                <a:gd name="connsiteY22" fmla="*/ 842010 h 958215"/>
                <a:gd name="connsiteX23" fmla="*/ 1149668 w 1261110"/>
                <a:gd name="connsiteY23" fmla="*/ 841058 h 958215"/>
                <a:gd name="connsiteX24" fmla="*/ 1192530 w 1261110"/>
                <a:gd name="connsiteY24" fmla="*/ 811530 h 958215"/>
                <a:gd name="connsiteX25" fmla="*/ 1223010 w 1261110"/>
                <a:gd name="connsiteY25" fmla="*/ 782003 h 958215"/>
                <a:gd name="connsiteX26" fmla="*/ 1251585 w 1261110"/>
                <a:gd name="connsiteY26" fmla="*/ 760095 h 958215"/>
                <a:gd name="connsiteX27" fmla="*/ 1261110 w 1261110"/>
                <a:gd name="connsiteY27" fmla="*/ 748665 h 958215"/>
                <a:gd name="connsiteX28" fmla="*/ 1244918 w 1261110"/>
                <a:gd name="connsiteY28" fmla="*/ 747713 h 958215"/>
                <a:gd name="connsiteX29" fmla="*/ 1235393 w 1261110"/>
                <a:gd name="connsiteY29" fmla="*/ 759143 h 958215"/>
                <a:gd name="connsiteX30" fmla="*/ 1233488 w 1261110"/>
                <a:gd name="connsiteY30" fmla="*/ 765810 h 958215"/>
                <a:gd name="connsiteX31" fmla="*/ 1224915 w 1261110"/>
                <a:gd name="connsiteY31" fmla="*/ 772478 h 958215"/>
                <a:gd name="connsiteX32" fmla="*/ 1217295 w 1261110"/>
                <a:gd name="connsiteY32" fmla="*/ 762000 h 958215"/>
                <a:gd name="connsiteX33" fmla="*/ 1201102 w 1261110"/>
                <a:gd name="connsiteY33" fmla="*/ 771525 h 958215"/>
                <a:gd name="connsiteX34" fmla="*/ 1200150 w 1261110"/>
                <a:gd name="connsiteY34" fmla="*/ 780097 h 958215"/>
                <a:gd name="connsiteX35" fmla="*/ 1191577 w 1261110"/>
                <a:gd name="connsiteY35" fmla="*/ 778193 h 958215"/>
                <a:gd name="connsiteX36" fmla="*/ 1196340 w 1261110"/>
                <a:gd name="connsiteY36" fmla="*/ 769620 h 958215"/>
                <a:gd name="connsiteX37" fmla="*/ 1184910 w 1261110"/>
                <a:gd name="connsiteY37" fmla="*/ 762953 h 958215"/>
                <a:gd name="connsiteX38" fmla="*/ 1179195 w 1261110"/>
                <a:gd name="connsiteY38" fmla="*/ 771525 h 958215"/>
                <a:gd name="connsiteX39" fmla="*/ 1187768 w 1261110"/>
                <a:gd name="connsiteY39" fmla="*/ 774383 h 958215"/>
                <a:gd name="connsiteX40" fmla="*/ 1189673 w 1261110"/>
                <a:gd name="connsiteY40" fmla="*/ 779145 h 958215"/>
                <a:gd name="connsiteX41" fmla="*/ 1186815 w 1261110"/>
                <a:gd name="connsiteY41" fmla="*/ 783908 h 958215"/>
                <a:gd name="connsiteX42" fmla="*/ 1173480 w 1261110"/>
                <a:gd name="connsiteY42" fmla="*/ 808672 h 958215"/>
                <a:gd name="connsiteX43" fmla="*/ 1155382 w 1261110"/>
                <a:gd name="connsiteY43" fmla="*/ 808672 h 958215"/>
                <a:gd name="connsiteX44" fmla="*/ 1163955 w 1261110"/>
                <a:gd name="connsiteY44" fmla="*/ 791528 h 958215"/>
                <a:gd name="connsiteX45" fmla="*/ 1172527 w 1261110"/>
                <a:gd name="connsiteY45" fmla="*/ 785813 h 958215"/>
                <a:gd name="connsiteX46" fmla="*/ 1175385 w 1261110"/>
                <a:gd name="connsiteY46" fmla="*/ 769620 h 958215"/>
                <a:gd name="connsiteX47" fmla="*/ 1188720 w 1261110"/>
                <a:gd name="connsiteY47" fmla="*/ 754380 h 958215"/>
                <a:gd name="connsiteX48" fmla="*/ 1197293 w 1261110"/>
                <a:gd name="connsiteY48" fmla="*/ 746760 h 958215"/>
                <a:gd name="connsiteX49" fmla="*/ 1211580 w 1261110"/>
                <a:gd name="connsiteY49" fmla="*/ 740093 h 958215"/>
                <a:gd name="connsiteX50" fmla="*/ 1200150 w 1261110"/>
                <a:gd name="connsiteY50" fmla="*/ 738188 h 958215"/>
                <a:gd name="connsiteX51" fmla="*/ 1193482 w 1261110"/>
                <a:gd name="connsiteY51" fmla="*/ 746760 h 958215"/>
                <a:gd name="connsiteX52" fmla="*/ 1186815 w 1261110"/>
                <a:gd name="connsiteY52" fmla="*/ 746760 h 958215"/>
                <a:gd name="connsiteX53" fmla="*/ 1176338 w 1261110"/>
                <a:gd name="connsiteY53" fmla="*/ 754380 h 958215"/>
                <a:gd name="connsiteX54" fmla="*/ 1174432 w 1261110"/>
                <a:gd name="connsiteY54" fmla="*/ 763905 h 958215"/>
                <a:gd name="connsiteX55" fmla="*/ 1153477 w 1261110"/>
                <a:gd name="connsiteY55" fmla="*/ 783908 h 958215"/>
                <a:gd name="connsiteX56" fmla="*/ 1149668 w 1261110"/>
                <a:gd name="connsiteY56" fmla="*/ 792480 h 958215"/>
                <a:gd name="connsiteX57" fmla="*/ 1136332 w 1261110"/>
                <a:gd name="connsiteY57" fmla="*/ 801053 h 958215"/>
                <a:gd name="connsiteX58" fmla="*/ 1062990 w 1261110"/>
                <a:gd name="connsiteY58" fmla="*/ 819150 h 958215"/>
                <a:gd name="connsiteX59" fmla="*/ 1064895 w 1261110"/>
                <a:gd name="connsiteY59" fmla="*/ 827722 h 958215"/>
                <a:gd name="connsiteX60" fmla="*/ 1056323 w 1261110"/>
                <a:gd name="connsiteY60" fmla="*/ 834390 h 958215"/>
                <a:gd name="connsiteX61" fmla="*/ 1037273 w 1261110"/>
                <a:gd name="connsiteY61" fmla="*/ 837247 h 958215"/>
                <a:gd name="connsiteX62" fmla="*/ 1027748 w 1261110"/>
                <a:gd name="connsiteY62" fmla="*/ 831533 h 958215"/>
                <a:gd name="connsiteX63" fmla="*/ 1025843 w 1261110"/>
                <a:gd name="connsiteY63" fmla="*/ 842010 h 958215"/>
                <a:gd name="connsiteX64" fmla="*/ 1015365 w 1261110"/>
                <a:gd name="connsiteY64" fmla="*/ 838200 h 958215"/>
                <a:gd name="connsiteX65" fmla="*/ 1016318 w 1261110"/>
                <a:gd name="connsiteY65" fmla="*/ 847725 h 958215"/>
                <a:gd name="connsiteX66" fmla="*/ 1004888 w 1261110"/>
                <a:gd name="connsiteY66" fmla="*/ 846772 h 958215"/>
                <a:gd name="connsiteX67" fmla="*/ 993457 w 1261110"/>
                <a:gd name="connsiteY67" fmla="*/ 851535 h 958215"/>
                <a:gd name="connsiteX68" fmla="*/ 991552 w 1261110"/>
                <a:gd name="connsiteY68" fmla="*/ 862013 h 958215"/>
                <a:gd name="connsiteX69" fmla="*/ 982027 w 1261110"/>
                <a:gd name="connsiteY69" fmla="*/ 862013 h 958215"/>
                <a:gd name="connsiteX70" fmla="*/ 983932 w 1261110"/>
                <a:gd name="connsiteY70" fmla="*/ 871538 h 958215"/>
                <a:gd name="connsiteX71" fmla="*/ 977265 w 1261110"/>
                <a:gd name="connsiteY71" fmla="*/ 871538 h 958215"/>
                <a:gd name="connsiteX72" fmla="*/ 979170 w 1261110"/>
                <a:gd name="connsiteY72" fmla="*/ 881063 h 958215"/>
                <a:gd name="connsiteX73" fmla="*/ 962025 w 1261110"/>
                <a:gd name="connsiteY73" fmla="*/ 884872 h 958215"/>
                <a:gd name="connsiteX74" fmla="*/ 947738 w 1261110"/>
                <a:gd name="connsiteY74" fmla="*/ 906780 h 958215"/>
                <a:gd name="connsiteX75" fmla="*/ 938213 w 1261110"/>
                <a:gd name="connsiteY75" fmla="*/ 922972 h 958215"/>
                <a:gd name="connsiteX76" fmla="*/ 922973 w 1261110"/>
                <a:gd name="connsiteY76" fmla="*/ 926783 h 958215"/>
                <a:gd name="connsiteX77" fmla="*/ 922973 w 1261110"/>
                <a:gd name="connsiteY77" fmla="*/ 936308 h 958215"/>
                <a:gd name="connsiteX78" fmla="*/ 916305 w 1261110"/>
                <a:gd name="connsiteY78" fmla="*/ 951547 h 958215"/>
                <a:gd name="connsiteX79" fmla="*/ 922020 w 1261110"/>
                <a:gd name="connsiteY79" fmla="*/ 958215 h 958215"/>
                <a:gd name="connsiteX80" fmla="*/ 944880 w 1261110"/>
                <a:gd name="connsiteY80" fmla="*/ 936308 h 958215"/>
                <a:gd name="connsiteX81" fmla="*/ 943927 w 1261110"/>
                <a:gd name="connsiteY81" fmla="*/ 927735 h 958215"/>
                <a:gd name="connsiteX82" fmla="*/ 842010 w 1261110"/>
                <a:gd name="connsiteY82" fmla="*/ 16192 h 958215"/>
                <a:gd name="connsiteX83" fmla="*/ 836295 w 1261110"/>
                <a:gd name="connsiteY83" fmla="*/ 34290 h 958215"/>
                <a:gd name="connsiteX84" fmla="*/ 849630 w 1261110"/>
                <a:gd name="connsiteY84" fmla="*/ 42863 h 958215"/>
                <a:gd name="connsiteX85" fmla="*/ 845820 w 1261110"/>
                <a:gd name="connsiteY85" fmla="*/ 57150 h 958215"/>
                <a:gd name="connsiteX86" fmla="*/ 850582 w 1261110"/>
                <a:gd name="connsiteY86" fmla="*/ 87630 h 958215"/>
                <a:gd name="connsiteX87" fmla="*/ 871538 w 1261110"/>
                <a:gd name="connsiteY87" fmla="*/ 109538 h 958215"/>
                <a:gd name="connsiteX88" fmla="*/ 867727 w 1261110"/>
                <a:gd name="connsiteY88" fmla="*/ 130492 h 958215"/>
                <a:gd name="connsiteX89" fmla="*/ 873443 w 1261110"/>
                <a:gd name="connsiteY89" fmla="*/ 149542 h 958215"/>
                <a:gd name="connsiteX90" fmla="*/ 869632 w 1261110"/>
                <a:gd name="connsiteY90" fmla="*/ 159067 h 958215"/>
                <a:gd name="connsiteX91" fmla="*/ 866775 w 1261110"/>
                <a:gd name="connsiteY91" fmla="*/ 195263 h 958215"/>
                <a:gd name="connsiteX92" fmla="*/ 896302 w 1261110"/>
                <a:gd name="connsiteY92" fmla="*/ 259080 h 958215"/>
                <a:gd name="connsiteX93" fmla="*/ 888682 w 1261110"/>
                <a:gd name="connsiteY93" fmla="*/ 276225 h 958215"/>
                <a:gd name="connsiteX94" fmla="*/ 897255 w 1261110"/>
                <a:gd name="connsiteY94" fmla="*/ 297180 h 958215"/>
                <a:gd name="connsiteX95" fmla="*/ 905827 w 1261110"/>
                <a:gd name="connsiteY95" fmla="*/ 281940 h 958215"/>
                <a:gd name="connsiteX96" fmla="*/ 923925 w 1261110"/>
                <a:gd name="connsiteY96" fmla="*/ 296228 h 958215"/>
                <a:gd name="connsiteX97" fmla="*/ 952500 w 1261110"/>
                <a:gd name="connsiteY97" fmla="*/ 431483 h 958215"/>
                <a:gd name="connsiteX98" fmla="*/ 947738 w 1261110"/>
                <a:gd name="connsiteY98" fmla="*/ 450533 h 958215"/>
                <a:gd name="connsiteX99" fmla="*/ 958215 w 1261110"/>
                <a:gd name="connsiteY99" fmla="*/ 460058 h 958215"/>
                <a:gd name="connsiteX100" fmla="*/ 953452 w 1261110"/>
                <a:gd name="connsiteY100" fmla="*/ 602933 h 958215"/>
                <a:gd name="connsiteX101" fmla="*/ 960120 w 1261110"/>
                <a:gd name="connsiteY101" fmla="*/ 612458 h 958215"/>
                <a:gd name="connsiteX102" fmla="*/ 986790 w 1261110"/>
                <a:gd name="connsiteY102" fmla="*/ 767715 h 958215"/>
                <a:gd name="connsiteX103" fmla="*/ 1003935 w 1261110"/>
                <a:gd name="connsiteY103" fmla="*/ 782003 h 958215"/>
                <a:gd name="connsiteX104" fmla="*/ 970598 w 1261110"/>
                <a:gd name="connsiteY104" fmla="*/ 814388 h 958215"/>
                <a:gd name="connsiteX105" fmla="*/ 986790 w 1261110"/>
                <a:gd name="connsiteY105" fmla="*/ 835343 h 958215"/>
                <a:gd name="connsiteX106" fmla="*/ 974407 w 1261110"/>
                <a:gd name="connsiteY106" fmla="*/ 866775 h 958215"/>
                <a:gd name="connsiteX107" fmla="*/ 960120 w 1261110"/>
                <a:gd name="connsiteY107" fmla="*/ 882968 h 958215"/>
                <a:gd name="connsiteX108" fmla="*/ 945832 w 1261110"/>
                <a:gd name="connsiteY108" fmla="*/ 904875 h 958215"/>
                <a:gd name="connsiteX109" fmla="*/ 943927 w 1261110"/>
                <a:gd name="connsiteY109" fmla="*/ 898208 h 958215"/>
                <a:gd name="connsiteX110" fmla="*/ 947738 w 1261110"/>
                <a:gd name="connsiteY110" fmla="*/ 842010 h 958215"/>
                <a:gd name="connsiteX111" fmla="*/ 808673 w 1261110"/>
                <a:gd name="connsiteY111" fmla="*/ 795338 h 958215"/>
                <a:gd name="connsiteX112" fmla="*/ 793432 w 1261110"/>
                <a:gd name="connsiteY112" fmla="*/ 784860 h 958215"/>
                <a:gd name="connsiteX113" fmla="*/ 775335 w 1261110"/>
                <a:gd name="connsiteY113" fmla="*/ 787718 h 958215"/>
                <a:gd name="connsiteX114" fmla="*/ 746760 w 1261110"/>
                <a:gd name="connsiteY114" fmla="*/ 766763 h 958215"/>
                <a:gd name="connsiteX115" fmla="*/ 718185 w 1261110"/>
                <a:gd name="connsiteY115" fmla="*/ 711518 h 958215"/>
                <a:gd name="connsiteX116" fmla="*/ 699135 w 1261110"/>
                <a:gd name="connsiteY116" fmla="*/ 711518 h 958215"/>
                <a:gd name="connsiteX117" fmla="*/ 695325 w 1261110"/>
                <a:gd name="connsiteY117" fmla="*/ 697230 h 958215"/>
                <a:gd name="connsiteX118" fmla="*/ 679132 w 1261110"/>
                <a:gd name="connsiteY118" fmla="*/ 686753 h 958215"/>
                <a:gd name="connsiteX119" fmla="*/ 7620 w 1261110"/>
                <a:gd name="connsiteY119" fmla="*/ 819150 h 958215"/>
                <a:gd name="connsiteX120" fmla="*/ 0 w 1261110"/>
                <a:gd name="connsiteY120" fmla="*/ 762000 h 958215"/>
                <a:gd name="connsiteX121" fmla="*/ 40957 w 1261110"/>
                <a:gd name="connsiteY121" fmla="*/ 724853 h 958215"/>
                <a:gd name="connsiteX122" fmla="*/ 46673 w 1261110"/>
                <a:gd name="connsiteY122" fmla="*/ 708660 h 958215"/>
                <a:gd name="connsiteX123" fmla="*/ 83820 w 1261110"/>
                <a:gd name="connsiteY123" fmla="*/ 684847 h 958215"/>
                <a:gd name="connsiteX124" fmla="*/ 89535 w 1261110"/>
                <a:gd name="connsiteY124" fmla="*/ 661988 h 958215"/>
                <a:gd name="connsiteX125" fmla="*/ 111443 w 1261110"/>
                <a:gd name="connsiteY125" fmla="*/ 642938 h 958215"/>
                <a:gd name="connsiteX126" fmla="*/ 119063 w 1261110"/>
                <a:gd name="connsiteY126" fmla="*/ 632460 h 958215"/>
                <a:gd name="connsiteX127" fmla="*/ 102870 w 1261110"/>
                <a:gd name="connsiteY127" fmla="*/ 601028 h 958215"/>
                <a:gd name="connsiteX128" fmla="*/ 86677 w 1261110"/>
                <a:gd name="connsiteY128" fmla="*/ 596265 h 958215"/>
                <a:gd name="connsiteX129" fmla="*/ 69532 w 1261110"/>
                <a:gd name="connsiteY129" fmla="*/ 567690 h 958215"/>
                <a:gd name="connsiteX130" fmla="*/ 67627 w 1261110"/>
                <a:gd name="connsiteY130" fmla="*/ 537210 h 958215"/>
                <a:gd name="connsiteX131" fmla="*/ 140018 w 1261110"/>
                <a:gd name="connsiteY131" fmla="*/ 500063 h 958215"/>
                <a:gd name="connsiteX132" fmla="*/ 218123 w 1261110"/>
                <a:gd name="connsiteY132" fmla="*/ 484822 h 958215"/>
                <a:gd name="connsiteX133" fmla="*/ 260032 w 1261110"/>
                <a:gd name="connsiteY133" fmla="*/ 484822 h 958215"/>
                <a:gd name="connsiteX134" fmla="*/ 290513 w 1261110"/>
                <a:gd name="connsiteY134" fmla="*/ 500063 h 958215"/>
                <a:gd name="connsiteX135" fmla="*/ 299085 w 1261110"/>
                <a:gd name="connsiteY135" fmla="*/ 499110 h 958215"/>
                <a:gd name="connsiteX136" fmla="*/ 316230 w 1261110"/>
                <a:gd name="connsiteY136" fmla="*/ 483870 h 958215"/>
                <a:gd name="connsiteX137" fmla="*/ 348615 w 1261110"/>
                <a:gd name="connsiteY137" fmla="*/ 477203 h 958215"/>
                <a:gd name="connsiteX138" fmla="*/ 377190 w 1261110"/>
                <a:gd name="connsiteY138" fmla="*/ 477203 h 958215"/>
                <a:gd name="connsiteX139" fmla="*/ 401955 w 1261110"/>
                <a:gd name="connsiteY139" fmla="*/ 464820 h 958215"/>
                <a:gd name="connsiteX140" fmla="*/ 425768 w 1261110"/>
                <a:gd name="connsiteY140" fmla="*/ 440055 h 958215"/>
                <a:gd name="connsiteX141" fmla="*/ 448627 w 1261110"/>
                <a:gd name="connsiteY141" fmla="*/ 410528 h 958215"/>
                <a:gd name="connsiteX142" fmla="*/ 466725 w 1261110"/>
                <a:gd name="connsiteY142" fmla="*/ 406717 h 958215"/>
                <a:gd name="connsiteX143" fmla="*/ 477202 w 1261110"/>
                <a:gd name="connsiteY143" fmla="*/ 401955 h 958215"/>
                <a:gd name="connsiteX144" fmla="*/ 481013 w 1261110"/>
                <a:gd name="connsiteY144" fmla="*/ 371475 h 958215"/>
                <a:gd name="connsiteX145" fmla="*/ 467677 w 1261110"/>
                <a:gd name="connsiteY145" fmla="*/ 345758 h 958215"/>
                <a:gd name="connsiteX146" fmla="*/ 456248 w 1261110"/>
                <a:gd name="connsiteY146" fmla="*/ 339090 h 958215"/>
                <a:gd name="connsiteX147" fmla="*/ 475298 w 1261110"/>
                <a:gd name="connsiteY147" fmla="*/ 326708 h 958215"/>
                <a:gd name="connsiteX148" fmla="*/ 474345 w 1261110"/>
                <a:gd name="connsiteY148" fmla="*/ 309563 h 958215"/>
                <a:gd name="connsiteX149" fmla="*/ 460057 w 1261110"/>
                <a:gd name="connsiteY149" fmla="*/ 309563 h 958215"/>
                <a:gd name="connsiteX150" fmla="*/ 438150 w 1261110"/>
                <a:gd name="connsiteY150" fmla="*/ 296228 h 958215"/>
                <a:gd name="connsiteX151" fmla="*/ 437198 w 1261110"/>
                <a:gd name="connsiteY151" fmla="*/ 266700 h 958215"/>
                <a:gd name="connsiteX152" fmla="*/ 496252 w 1261110"/>
                <a:gd name="connsiteY152" fmla="*/ 208597 h 958215"/>
                <a:gd name="connsiteX153" fmla="*/ 502920 w 1261110"/>
                <a:gd name="connsiteY153" fmla="*/ 185738 h 958215"/>
                <a:gd name="connsiteX154" fmla="*/ 538163 w 1261110"/>
                <a:gd name="connsiteY154" fmla="*/ 125730 h 958215"/>
                <a:gd name="connsiteX155" fmla="*/ 594360 w 1261110"/>
                <a:gd name="connsiteY155" fmla="*/ 64770 h 958215"/>
                <a:gd name="connsiteX156" fmla="*/ 614363 w 1261110"/>
                <a:gd name="connsiteY156" fmla="*/ 48577 h 958215"/>
                <a:gd name="connsiteX157" fmla="*/ 638175 w 1261110"/>
                <a:gd name="connsiteY157" fmla="*/ 49530 h 958215"/>
                <a:gd name="connsiteX158" fmla="*/ 834390 w 1261110"/>
                <a:gd name="connsiteY158" fmla="*/ 0 h 958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</a:cxnLst>
              <a:rect l="l" t="t" r="r" b="b"/>
              <a:pathLst>
                <a:path w="1261110" h="958215">
                  <a:moveTo>
                    <a:pt x="1237298" y="710565"/>
                  </a:moveTo>
                  <a:lnTo>
                    <a:pt x="1224915" y="711518"/>
                  </a:lnTo>
                  <a:lnTo>
                    <a:pt x="1220152" y="721043"/>
                  </a:lnTo>
                  <a:close/>
                  <a:moveTo>
                    <a:pt x="945832" y="926783"/>
                  </a:moveTo>
                  <a:lnTo>
                    <a:pt x="952500" y="932497"/>
                  </a:lnTo>
                  <a:lnTo>
                    <a:pt x="964882" y="929640"/>
                  </a:lnTo>
                  <a:lnTo>
                    <a:pt x="975360" y="932497"/>
                  </a:lnTo>
                  <a:lnTo>
                    <a:pt x="983932" y="920115"/>
                  </a:lnTo>
                  <a:lnTo>
                    <a:pt x="1002030" y="920115"/>
                  </a:lnTo>
                  <a:lnTo>
                    <a:pt x="1024890" y="911543"/>
                  </a:lnTo>
                  <a:lnTo>
                    <a:pt x="1073468" y="891540"/>
                  </a:lnTo>
                  <a:lnTo>
                    <a:pt x="1068705" y="886778"/>
                  </a:lnTo>
                  <a:lnTo>
                    <a:pt x="1050607" y="894397"/>
                  </a:lnTo>
                  <a:lnTo>
                    <a:pt x="1031557" y="902970"/>
                  </a:lnTo>
                  <a:lnTo>
                    <a:pt x="1033463" y="895350"/>
                  </a:lnTo>
                  <a:lnTo>
                    <a:pt x="1058227" y="884872"/>
                  </a:lnTo>
                  <a:lnTo>
                    <a:pt x="1065848" y="875347"/>
                  </a:lnTo>
                  <a:lnTo>
                    <a:pt x="1077277" y="876300"/>
                  </a:lnTo>
                  <a:lnTo>
                    <a:pt x="1116330" y="854393"/>
                  </a:lnTo>
                  <a:lnTo>
                    <a:pt x="1116330" y="861060"/>
                  </a:lnTo>
                  <a:lnTo>
                    <a:pt x="1076325" y="889635"/>
                  </a:lnTo>
                  <a:lnTo>
                    <a:pt x="1119188" y="862965"/>
                  </a:lnTo>
                  <a:lnTo>
                    <a:pt x="1135380" y="842010"/>
                  </a:lnTo>
                  <a:lnTo>
                    <a:pt x="1149668" y="841058"/>
                  </a:lnTo>
                  <a:lnTo>
                    <a:pt x="1192530" y="811530"/>
                  </a:lnTo>
                  <a:lnTo>
                    <a:pt x="1223010" y="782003"/>
                  </a:lnTo>
                  <a:lnTo>
                    <a:pt x="1251585" y="760095"/>
                  </a:lnTo>
                  <a:lnTo>
                    <a:pt x="1261110" y="748665"/>
                  </a:lnTo>
                  <a:lnTo>
                    <a:pt x="1244918" y="747713"/>
                  </a:lnTo>
                  <a:lnTo>
                    <a:pt x="1235393" y="759143"/>
                  </a:lnTo>
                  <a:lnTo>
                    <a:pt x="1233488" y="765810"/>
                  </a:lnTo>
                  <a:lnTo>
                    <a:pt x="1224915" y="772478"/>
                  </a:lnTo>
                  <a:lnTo>
                    <a:pt x="1217295" y="762000"/>
                  </a:lnTo>
                  <a:lnTo>
                    <a:pt x="1201102" y="771525"/>
                  </a:lnTo>
                  <a:lnTo>
                    <a:pt x="1200150" y="780097"/>
                  </a:lnTo>
                  <a:lnTo>
                    <a:pt x="1191577" y="778193"/>
                  </a:lnTo>
                  <a:lnTo>
                    <a:pt x="1196340" y="769620"/>
                  </a:lnTo>
                  <a:lnTo>
                    <a:pt x="1184910" y="762953"/>
                  </a:lnTo>
                  <a:lnTo>
                    <a:pt x="1179195" y="771525"/>
                  </a:lnTo>
                  <a:lnTo>
                    <a:pt x="1187768" y="774383"/>
                  </a:lnTo>
                  <a:lnTo>
                    <a:pt x="1189673" y="779145"/>
                  </a:lnTo>
                  <a:lnTo>
                    <a:pt x="1186815" y="783908"/>
                  </a:lnTo>
                  <a:lnTo>
                    <a:pt x="1173480" y="808672"/>
                  </a:lnTo>
                  <a:lnTo>
                    <a:pt x="1155382" y="808672"/>
                  </a:lnTo>
                  <a:lnTo>
                    <a:pt x="1163955" y="791528"/>
                  </a:lnTo>
                  <a:lnTo>
                    <a:pt x="1172527" y="785813"/>
                  </a:lnTo>
                  <a:lnTo>
                    <a:pt x="1175385" y="769620"/>
                  </a:lnTo>
                  <a:lnTo>
                    <a:pt x="1188720" y="754380"/>
                  </a:lnTo>
                  <a:lnTo>
                    <a:pt x="1197293" y="746760"/>
                  </a:lnTo>
                  <a:lnTo>
                    <a:pt x="1211580" y="740093"/>
                  </a:lnTo>
                  <a:lnTo>
                    <a:pt x="1200150" y="738188"/>
                  </a:lnTo>
                  <a:lnTo>
                    <a:pt x="1193482" y="746760"/>
                  </a:lnTo>
                  <a:lnTo>
                    <a:pt x="1186815" y="746760"/>
                  </a:lnTo>
                  <a:lnTo>
                    <a:pt x="1176338" y="754380"/>
                  </a:lnTo>
                  <a:lnTo>
                    <a:pt x="1174432" y="763905"/>
                  </a:lnTo>
                  <a:lnTo>
                    <a:pt x="1153477" y="783908"/>
                  </a:lnTo>
                  <a:lnTo>
                    <a:pt x="1149668" y="792480"/>
                  </a:lnTo>
                  <a:lnTo>
                    <a:pt x="1136332" y="801053"/>
                  </a:lnTo>
                  <a:lnTo>
                    <a:pt x="1062990" y="819150"/>
                  </a:lnTo>
                  <a:lnTo>
                    <a:pt x="1064895" y="827722"/>
                  </a:lnTo>
                  <a:lnTo>
                    <a:pt x="1056323" y="834390"/>
                  </a:lnTo>
                  <a:lnTo>
                    <a:pt x="1037273" y="837247"/>
                  </a:lnTo>
                  <a:lnTo>
                    <a:pt x="1027748" y="831533"/>
                  </a:lnTo>
                  <a:lnTo>
                    <a:pt x="1025843" y="842010"/>
                  </a:lnTo>
                  <a:lnTo>
                    <a:pt x="1015365" y="838200"/>
                  </a:lnTo>
                  <a:lnTo>
                    <a:pt x="1016318" y="847725"/>
                  </a:lnTo>
                  <a:lnTo>
                    <a:pt x="1004888" y="846772"/>
                  </a:lnTo>
                  <a:lnTo>
                    <a:pt x="993457" y="851535"/>
                  </a:lnTo>
                  <a:lnTo>
                    <a:pt x="991552" y="862013"/>
                  </a:lnTo>
                  <a:lnTo>
                    <a:pt x="982027" y="862013"/>
                  </a:lnTo>
                  <a:lnTo>
                    <a:pt x="983932" y="871538"/>
                  </a:lnTo>
                  <a:lnTo>
                    <a:pt x="977265" y="871538"/>
                  </a:lnTo>
                  <a:lnTo>
                    <a:pt x="979170" y="881063"/>
                  </a:lnTo>
                  <a:lnTo>
                    <a:pt x="962025" y="884872"/>
                  </a:lnTo>
                  <a:lnTo>
                    <a:pt x="947738" y="906780"/>
                  </a:lnTo>
                  <a:close/>
                  <a:moveTo>
                    <a:pt x="938213" y="922972"/>
                  </a:moveTo>
                  <a:lnTo>
                    <a:pt x="922973" y="926783"/>
                  </a:lnTo>
                  <a:lnTo>
                    <a:pt x="922973" y="936308"/>
                  </a:lnTo>
                  <a:lnTo>
                    <a:pt x="916305" y="951547"/>
                  </a:lnTo>
                  <a:lnTo>
                    <a:pt x="922020" y="958215"/>
                  </a:lnTo>
                  <a:lnTo>
                    <a:pt x="944880" y="936308"/>
                  </a:lnTo>
                  <a:lnTo>
                    <a:pt x="943927" y="927735"/>
                  </a:lnTo>
                  <a:close/>
                  <a:moveTo>
                    <a:pt x="842010" y="16192"/>
                  </a:moveTo>
                  <a:lnTo>
                    <a:pt x="836295" y="34290"/>
                  </a:lnTo>
                  <a:lnTo>
                    <a:pt x="849630" y="42863"/>
                  </a:lnTo>
                  <a:lnTo>
                    <a:pt x="845820" y="57150"/>
                  </a:lnTo>
                  <a:lnTo>
                    <a:pt x="850582" y="87630"/>
                  </a:lnTo>
                  <a:lnTo>
                    <a:pt x="871538" y="109538"/>
                  </a:lnTo>
                  <a:lnTo>
                    <a:pt x="867727" y="130492"/>
                  </a:lnTo>
                  <a:lnTo>
                    <a:pt x="873443" y="149542"/>
                  </a:lnTo>
                  <a:lnTo>
                    <a:pt x="869632" y="159067"/>
                  </a:lnTo>
                  <a:lnTo>
                    <a:pt x="866775" y="195263"/>
                  </a:lnTo>
                  <a:lnTo>
                    <a:pt x="896302" y="259080"/>
                  </a:lnTo>
                  <a:lnTo>
                    <a:pt x="888682" y="276225"/>
                  </a:lnTo>
                  <a:lnTo>
                    <a:pt x="897255" y="297180"/>
                  </a:lnTo>
                  <a:lnTo>
                    <a:pt x="905827" y="281940"/>
                  </a:lnTo>
                  <a:lnTo>
                    <a:pt x="923925" y="296228"/>
                  </a:lnTo>
                  <a:lnTo>
                    <a:pt x="952500" y="431483"/>
                  </a:lnTo>
                  <a:lnTo>
                    <a:pt x="947738" y="450533"/>
                  </a:lnTo>
                  <a:lnTo>
                    <a:pt x="958215" y="460058"/>
                  </a:lnTo>
                  <a:lnTo>
                    <a:pt x="953452" y="602933"/>
                  </a:lnTo>
                  <a:lnTo>
                    <a:pt x="960120" y="612458"/>
                  </a:lnTo>
                  <a:lnTo>
                    <a:pt x="986790" y="767715"/>
                  </a:lnTo>
                  <a:lnTo>
                    <a:pt x="1003935" y="782003"/>
                  </a:lnTo>
                  <a:lnTo>
                    <a:pt x="970598" y="814388"/>
                  </a:lnTo>
                  <a:lnTo>
                    <a:pt x="986790" y="835343"/>
                  </a:lnTo>
                  <a:lnTo>
                    <a:pt x="974407" y="866775"/>
                  </a:lnTo>
                  <a:lnTo>
                    <a:pt x="960120" y="882968"/>
                  </a:lnTo>
                  <a:lnTo>
                    <a:pt x="945832" y="904875"/>
                  </a:lnTo>
                  <a:lnTo>
                    <a:pt x="943927" y="898208"/>
                  </a:lnTo>
                  <a:lnTo>
                    <a:pt x="947738" y="842010"/>
                  </a:lnTo>
                  <a:lnTo>
                    <a:pt x="808673" y="795338"/>
                  </a:lnTo>
                  <a:lnTo>
                    <a:pt x="793432" y="784860"/>
                  </a:lnTo>
                  <a:lnTo>
                    <a:pt x="775335" y="787718"/>
                  </a:lnTo>
                  <a:lnTo>
                    <a:pt x="746760" y="766763"/>
                  </a:lnTo>
                  <a:lnTo>
                    <a:pt x="718185" y="711518"/>
                  </a:lnTo>
                  <a:lnTo>
                    <a:pt x="699135" y="711518"/>
                  </a:lnTo>
                  <a:lnTo>
                    <a:pt x="695325" y="697230"/>
                  </a:lnTo>
                  <a:lnTo>
                    <a:pt x="679132" y="686753"/>
                  </a:lnTo>
                  <a:lnTo>
                    <a:pt x="7620" y="819150"/>
                  </a:lnTo>
                  <a:lnTo>
                    <a:pt x="0" y="762000"/>
                  </a:lnTo>
                  <a:lnTo>
                    <a:pt x="40957" y="724853"/>
                  </a:lnTo>
                  <a:lnTo>
                    <a:pt x="46673" y="708660"/>
                  </a:lnTo>
                  <a:lnTo>
                    <a:pt x="83820" y="684847"/>
                  </a:lnTo>
                  <a:lnTo>
                    <a:pt x="89535" y="661988"/>
                  </a:lnTo>
                  <a:lnTo>
                    <a:pt x="111443" y="642938"/>
                  </a:lnTo>
                  <a:lnTo>
                    <a:pt x="119063" y="632460"/>
                  </a:lnTo>
                  <a:lnTo>
                    <a:pt x="102870" y="601028"/>
                  </a:lnTo>
                  <a:lnTo>
                    <a:pt x="86677" y="596265"/>
                  </a:lnTo>
                  <a:lnTo>
                    <a:pt x="69532" y="567690"/>
                  </a:lnTo>
                  <a:lnTo>
                    <a:pt x="67627" y="537210"/>
                  </a:lnTo>
                  <a:lnTo>
                    <a:pt x="140018" y="500063"/>
                  </a:lnTo>
                  <a:lnTo>
                    <a:pt x="218123" y="484822"/>
                  </a:lnTo>
                  <a:lnTo>
                    <a:pt x="260032" y="484822"/>
                  </a:lnTo>
                  <a:lnTo>
                    <a:pt x="290513" y="500063"/>
                  </a:lnTo>
                  <a:lnTo>
                    <a:pt x="299085" y="499110"/>
                  </a:lnTo>
                  <a:lnTo>
                    <a:pt x="316230" y="483870"/>
                  </a:lnTo>
                  <a:lnTo>
                    <a:pt x="348615" y="477203"/>
                  </a:lnTo>
                  <a:lnTo>
                    <a:pt x="377190" y="477203"/>
                  </a:lnTo>
                  <a:lnTo>
                    <a:pt x="401955" y="464820"/>
                  </a:lnTo>
                  <a:lnTo>
                    <a:pt x="425768" y="440055"/>
                  </a:lnTo>
                  <a:lnTo>
                    <a:pt x="448627" y="410528"/>
                  </a:lnTo>
                  <a:lnTo>
                    <a:pt x="466725" y="406717"/>
                  </a:lnTo>
                  <a:lnTo>
                    <a:pt x="477202" y="401955"/>
                  </a:lnTo>
                  <a:lnTo>
                    <a:pt x="481013" y="371475"/>
                  </a:lnTo>
                  <a:lnTo>
                    <a:pt x="467677" y="345758"/>
                  </a:lnTo>
                  <a:lnTo>
                    <a:pt x="456248" y="339090"/>
                  </a:lnTo>
                  <a:lnTo>
                    <a:pt x="475298" y="326708"/>
                  </a:lnTo>
                  <a:lnTo>
                    <a:pt x="474345" y="309563"/>
                  </a:lnTo>
                  <a:lnTo>
                    <a:pt x="460057" y="309563"/>
                  </a:lnTo>
                  <a:lnTo>
                    <a:pt x="438150" y="296228"/>
                  </a:lnTo>
                  <a:lnTo>
                    <a:pt x="437198" y="266700"/>
                  </a:lnTo>
                  <a:lnTo>
                    <a:pt x="496252" y="208597"/>
                  </a:lnTo>
                  <a:lnTo>
                    <a:pt x="502920" y="185738"/>
                  </a:lnTo>
                  <a:lnTo>
                    <a:pt x="538163" y="125730"/>
                  </a:lnTo>
                  <a:lnTo>
                    <a:pt x="594360" y="64770"/>
                  </a:lnTo>
                  <a:lnTo>
                    <a:pt x="614363" y="48577"/>
                  </a:lnTo>
                  <a:lnTo>
                    <a:pt x="638175" y="49530"/>
                  </a:lnTo>
                  <a:lnTo>
                    <a:pt x="834390" y="0"/>
                  </a:lnTo>
                  <a:close/>
                </a:path>
              </a:pathLst>
            </a:custGeom>
            <a:solidFill>
              <a:srgbClr val="D0D0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BC0EEEBD-0E75-00E5-AE49-9E8521132E27}"/>
                </a:ext>
              </a:extLst>
            </p:cNvPr>
            <p:cNvSpPr/>
            <p:nvPr/>
          </p:nvSpPr>
          <p:spPr>
            <a:xfrm>
              <a:off x="8096249" y="3607117"/>
              <a:ext cx="1472564" cy="643889"/>
            </a:xfrm>
            <a:custGeom>
              <a:avLst/>
              <a:gdLst>
                <a:gd name="connsiteX0" fmla="*/ 1328738 w 1472564"/>
                <a:gd name="connsiteY0" fmla="*/ 3810 h 643889"/>
                <a:gd name="connsiteX1" fmla="*/ 1051560 w 1472564"/>
                <a:gd name="connsiteY1" fmla="*/ 61913 h 643889"/>
                <a:gd name="connsiteX2" fmla="*/ 676275 w 1472564"/>
                <a:gd name="connsiteY2" fmla="*/ 131445 h 643889"/>
                <a:gd name="connsiteX3" fmla="*/ 396240 w 1472564"/>
                <a:gd name="connsiteY3" fmla="*/ 164782 h 643889"/>
                <a:gd name="connsiteX4" fmla="*/ 396240 w 1472564"/>
                <a:gd name="connsiteY4" fmla="*/ 214313 h 643889"/>
                <a:gd name="connsiteX5" fmla="*/ 381952 w 1472564"/>
                <a:gd name="connsiteY5" fmla="*/ 213360 h 643889"/>
                <a:gd name="connsiteX6" fmla="*/ 368618 w 1472564"/>
                <a:gd name="connsiteY6" fmla="*/ 224790 h 643889"/>
                <a:gd name="connsiteX7" fmla="*/ 345757 w 1472564"/>
                <a:gd name="connsiteY7" fmla="*/ 274320 h 643889"/>
                <a:gd name="connsiteX8" fmla="*/ 320993 w 1472564"/>
                <a:gd name="connsiteY8" fmla="*/ 263842 h 643889"/>
                <a:gd name="connsiteX9" fmla="*/ 287655 w 1472564"/>
                <a:gd name="connsiteY9" fmla="*/ 287655 h 643889"/>
                <a:gd name="connsiteX10" fmla="*/ 280988 w 1472564"/>
                <a:gd name="connsiteY10" fmla="*/ 307657 h 643889"/>
                <a:gd name="connsiteX11" fmla="*/ 266700 w 1472564"/>
                <a:gd name="connsiteY11" fmla="*/ 319088 h 643889"/>
                <a:gd name="connsiteX12" fmla="*/ 259080 w 1472564"/>
                <a:gd name="connsiteY12" fmla="*/ 311467 h 643889"/>
                <a:gd name="connsiteX13" fmla="*/ 258127 w 1472564"/>
                <a:gd name="connsiteY13" fmla="*/ 297180 h 643889"/>
                <a:gd name="connsiteX14" fmla="*/ 250507 w 1472564"/>
                <a:gd name="connsiteY14" fmla="*/ 295275 h 643889"/>
                <a:gd name="connsiteX15" fmla="*/ 212407 w 1472564"/>
                <a:gd name="connsiteY15" fmla="*/ 326707 h 643889"/>
                <a:gd name="connsiteX16" fmla="*/ 206693 w 1472564"/>
                <a:gd name="connsiteY16" fmla="*/ 359092 h 643889"/>
                <a:gd name="connsiteX17" fmla="*/ 161925 w 1472564"/>
                <a:gd name="connsiteY17" fmla="*/ 381952 h 643889"/>
                <a:gd name="connsiteX18" fmla="*/ 157163 w 1472564"/>
                <a:gd name="connsiteY18" fmla="*/ 393382 h 643889"/>
                <a:gd name="connsiteX19" fmla="*/ 126682 w 1472564"/>
                <a:gd name="connsiteY19" fmla="*/ 418147 h 643889"/>
                <a:gd name="connsiteX20" fmla="*/ 92393 w 1472564"/>
                <a:gd name="connsiteY20" fmla="*/ 422910 h 643889"/>
                <a:gd name="connsiteX21" fmla="*/ 48577 w 1472564"/>
                <a:gd name="connsiteY21" fmla="*/ 451485 h 643889"/>
                <a:gd name="connsiteX22" fmla="*/ 40957 w 1472564"/>
                <a:gd name="connsiteY22" fmla="*/ 490538 h 643889"/>
                <a:gd name="connsiteX23" fmla="*/ 28575 w 1472564"/>
                <a:gd name="connsiteY23" fmla="*/ 499110 h 643889"/>
                <a:gd name="connsiteX24" fmla="*/ 14288 w 1472564"/>
                <a:gd name="connsiteY24" fmla="*/ 498157 h 643889"/>
                <a:gd name="connsiteX25" fmla="*/ 952 w 1472564"/>
                <a:gd name="connsiteY25" fmla="*/ 510540 h 643889"/>
                <a:gd name="connsiteX26" fmla="*/ 0 w 1472564"/>
                <a:gd name="connsiteY26" fmla="*/ 557213 h 643889"/>
                <a:gd name="connsiteX27" fmla="*/ 203835 w 1472564"/>
                <a:gd name="connsiteY27" fmla="*/ 528638 h 643889"/>
                <a:gd name="connsiteX28" fmla="*/ 245745 w 1472564"/>
                <a:gd name="connsiteY28" fmla="*/ 510540 h 643889"/>
                <a:gd name="connsiteX29" fmla="*/ 258127 w 1472564"/>
                <a:gd name="connsiteY29" fmla="*/ 509588 h 643889"/>
                <a:gd name="connsiteX30" fmla="*/ 327660 w 1472564"/>
                <a:gd name="connsiteY30" fmla="*/ 468630 h 643889"/>
                <a:gd name="connsiteX31" fmla="*/ 548640 w 1472564"/>
                <a:gd name="connsiteY31" fmla="*/ 447675 h 643889"/>
                <a:gd name="connsiteX32" fmla="*/ 552450 w 1472564"/>
                <a:gd name="connsiteY32" fmla="*/ 452438 h 643889"/>
                <a:gd name="connsiteX33" fmla="*/ 550545 w 1472564"/>
                <a:gd name="connsiteY33" fmla="*/ 465772 h 643889"/>
                <a:gd name="connsiteX34" fmla="*/ 557213 w 1472564"/>
                <a:gd name="connsiteY34" fmla="*/ 468630 h 643889"/>
                <a:gd name="connsiteX35" fmla="*/ 568643 w 1472564"/>
                <a:gd name="connsiteY35" fmla="*/ 454342 h 643889"/>
                <a:gd name="connsiteX36" fmla="*/ 600075 w 1472564"/>
                <a:gd name="connsiteY36" fmla="*/ 482917 h 643889"/>
                <a:gd name="connsiteX37" fmla="*/ 601027 w 1472564"/>
                <a:gd name="connsiteY37" fmla="*/ 507682 h 643889"/>
                <a:gd name="connsiteX38" fmla="*/ 788670 w 1472564"/>
                <a:gd name="connsiteY38" fmla="*/ 481013 h 643889"/>
                <a:gd name="connsiteX39" fmla="*/ 1022032 w 1472564"/>
                <a:gd name="connsiteY39" fmla="*/ 643890 h 643889"/>
                <a:gd name="connsiteX40" fmla="*/ 1060132 w 1472564"/>
                <a:gd name="connsiteY40" fmla="*/ 622935 h 643889"/>
                <a:gd name="connsiteX41" fmla="*/ 1088707 w 1472564"/>
                <a:gd name="connsiteY41" fmla="*/ 616267 h 643889"/>
                <a:gd name="connsiteX42" fmla="*/ 1104900 w 1472564"/>
                <a:gd name="connsiteY42" fmla="*/ 616267 h 643889"/>
                <a:gd name="connsiteX43" fmla="*/ 1115377 w 1472564"/>
                <a:gd name="connsiteY43" fmla="*/ 626745 h 643889"/>
                <a:gd name="connsiteX44" fmla="*/ 1122998 w 1472564"/>
                <a:gd name="connsiteY44" fmla="*/ 607695 h 643889"/>
                <a:gd name="connsiteX45" fmla="*/ 1128713 w 1472564"/>
                <a:gd name="connsiteY45" fmla="*/ 560070 h 643889"/>
                <a:gd name="connsiteX46" fmla="*/ 1144905 w 1472564"/>
                <a:gd name="connsiteY46" fmla="*/ 522922 h 643889"/>
                <a:gd name="connsiteX47" fmla="*/ 1196340 w 1472564"/>
                <a:gd name="connsiteY47" fmla="*/ 464820 h 643889"/>
                <a:gd name="connsiteX48" fmla="*/ 1235393 w 1472564"/>
                <a:gd name="connsiteY48" fmla="*/ 431482 h 643889"/>
                <a:gd name="connsiteX49" fmla="*/ 1286827 w 1472564"/>
                <a:gd name="connsiteY49" fmla="*/ 409575 h 643889"/>
                <a:gd name="connsiteX50" fmla="*/ 1310640 w 1472564"/>
                <a:gd name="connsiteY50" fmla="*/ 405765 h 643889"/>
                <a:gd name="connsiteX51" fmla="*/ 1323023 w 1472564"/>
                <a:gd name="connsiteY51" fmla="*/ 409575 h 643889"/>
                <a:gd name="connsiteX52" fmla="*/ 1329690 w 1472564"/>
                <a:gd name="connsiteY52" fmla="*/ 420052 h 643889"/>
                <a:gd name="connsiteX53" fmla="*/ 1361123 w 1472564"/>
                <a:gd name="connsiteY53" fmla="*/ 357188 h 643889"/>
                <a:gd name="connsiteX54" fmla="*/ 1392555 w 1472564"/>
                <a:gd name="connsiteY54" fmla="*/ 306705 h 643889"/>
                <a:gd name="connsiteX55" fmla="*/ 1385888 w 1472564"/>
                <a:gd name="connsiteY55" fmla="*/ 303847 h 643889"/>
                <a:gd name="connsiteX56" fmla="*/ 1343977 w 1472564"/>
                <a:gd name="connsiteY56" fmla="*/ 368617 h 643889"/>
                <a:gd name="connsiteX57" fmla="*/ 1339215 w 1472564"/>
                <a:gd name="connsiteY57" fmla="*/ 360997 h 643889"/>
                <a:gd name="connsiteX58" fmla="*/ 1358265 w 1472564"/>
                <a:gd name="connsiteY58" fmla="*/ 340042 h 643889"/>
                <a:gd name="connsiteX59" fmla="*/ 1354455 w 1472564"/>
                <a:gd name="connsiteY59" fmla="*/ 325755 h 643889"/>
                <a:gd name="connsiteX60" fmla="*/ 1335405 w 1472564"/>
                <a:gd name="connsiteY60" fmla="*/ 320992 h 643889"/>
                <a:gd name="connsiteX61" fmla="*/ 1344930 w 1472564"/>
                <a:gd name="connsiteY61" fmla="*/ 333375 h 643889"/>
                <a:gd name="connsiteX62" fmla="*/ 1333500 w 1472564"/>
                <a:gd name="connsiteY62" fmla="*/ 334327 h 643889"/>
                <a:gd name="connsiteX63" fmla="*/ 1322070 w 1472564"/>
                <a:gd name="connsiteY63" fmla="*/ 317182 h 643889"/>
                <a:gd name="connsiteX64" fmla="*/ 1310640 w 1472564"/>
                <a:gd name="connsiteY64" fmla="*/ 336232 h 643889"/>
                <a:gd name="connsiteX65" fmla="*/ 1295400 w 1472564"/>
                <a:gd name="connsiteY65" fmla="*/ 338138 h 643889"/>
                <a:gd name="connsiteX66" fmla="*/ 1304925 w 1472564"/>
                <a:gd name="connsiteY66" fmla="*/ 312420 h 643889"/>
                <a:gd name="connsiteX67" fmla="*/ 1311593 w 1472564"/>
                <a:gd name="connsiteY67" fmla="*/ 296227 h 643889"/>
                <a:gd name="connsiteX68" fmla="*/ 1309688 w 1472564"/>
                <a:gd name="connsiteY68" fmla="*/ 268605 h 643889"/>
                <a:gd name="connsiteX69" fmla="*/ 1288732 w 1472564"/>
                <a:gd name="connsiteY69" fmla="*/ 267652 h 643889"/>
                <a:gd name="connsiteX70" fmla="*/ 1297305 w 1472564"/>
                <a:gd name="connsiteY70" fmla="*/ 259080 h 643889"/>
                <a:gd name="connsiteX71" fmla="*/ 1307782 w 1472564"/>
                <a:gd name="connsiteY71" fmla="*/ 261938 h 643889"/>
                <a:gd name="connsiteX72" fmla="*/ 1333500 w 1472564"/>
                <a:gd name="connsiteY72" fmla="*/ 262890 h 643889"/>
                <a:gd name="connsiteX73" fmla="*/ 1341120 w 1472564"/>
                <a:gd name="connsiteY73" fmla="*/ 258127 h 643889"/>
                <a:gd name="connsiteX74" fmla="*/ 1363027 w 1472564"/>
                <a:gd name="connsiteY74" fmla="*/ 258127 h 643889"/>
                <a:gd name="connsiteX75" fmla="*/ 1382077 w 1472564"/>
                <a:gd name="connsiteY75" fmla="*/ 240030 h 643889"/>
                <a:gd name="connsiteX76" fmla="*/ 1383982 w 1472564"/>
                <a:gd name="connsiteY76" fmla="*/ 209550 h 643889"/>
                <a:gd name="connsiteX77" fmla="*/ 1396365 w 1472564"/>
                <a:gd name="connsiteY77" fmla="*/ 196215 h 643889"/>
                <a:gd name="connsiteX78" fmla="*/ 1407795 w 1472564"/>
                <a:gd name="connsiteY78" fmla="*/ 194310 h 643889"/>
                <a:gd name="connsiteX79" fmla="*/ 1420177 w 1472564"/>
                <a:gd name="connsiteY79" fmla="*/ 184785 h 643889"/>
                <a:gd name="connsiteX80" fmla="*/ 1415415 w 1472564"/>
                <a:gd name="connsiteY80" fmla="*/ 149542 h 643889"/>
                <a:gd name="connsiteX81" fmla="*/ 1394460 w 1472564"/>
                <a:gd name="connsiteY81" fmla="*/ 113347 h 643889"/>
                <a:gd name="connsiteX82" fmla="*/ 1368743 w 1472564"/>
                <a:gd name="connsiteY82" fmla="*/ 111442 h 643889"/>
                <a:gd name="connsiteX83" fmla="*/ 1360170 w 1472564"/>
                <a:gd name="connsiteY83" fmla="*/ 126682 h 643889"/>
                <a:gd name="connsiteX84" fmla="*/ 1355407 w 1472564"/>
                <a:gd name="connsiteY84" fmla="*/ 117157 h 643889"/>
                <a:gd name="connsiteX85" fmla="*/ 1329690 w 1472564"/>
                <a:gd name="connsiteY85" fmla="*/ 119063 h 643889"/>
                <a:gd name="connsiteX86" fmla="*/ 1318260 w 1472564"/>
                <a:gd name="connsiteY86" fmla="*/ 122872 h 643889"/>
                <a:gd name="connsiteX87" fmla="*/ 1300163 w 1472564"/>
                <a:gd name="connsiteY87" fmla="*/ 134302 h 643889"/>
                <a:gd name="connsiteX88" fmla="*/ 1297305 w 1472564"/>
                <a:gd name="connsiteY88" fmla="*/ 130492 h 643889"/>
                <a:gd name="connsiteX89" fmla="*/ 1288732 w 1472564"/>
                <a:gd name="connsiteY89" fmla="*/ 130492 h 643889"/>
                <a:gd name="connsiteX90" fmla="*/ 1271588 w 1472564"/>
                <a:gd name="connsiteY90" fmla="*/ 141922 h 643889"/>
                <a:gd name="connsiteX91" fmla="*/ 1246823 w 1472564"/>
                <a:gd name="connsiteY91" fmla="*/ 146685 h 643889"/>
                <a:gd name="connsiteX92" fmla="*/ 1246823 w 1472564"/>
                <a:gd name="connsiteY92" fmla="*/ 134302 h 643889"/>
                <a:gd name="connsiteX93" fmla="*/ 1254443 w 1472564"/>
                <a:gd name="connsiteY93" fmla="*/ 124777 h 643889"/>
                <a:gd name="connsiteX94" fmla="*/ 1263968 w 1472564"/>
                <a:gd name="connsiteY94" fmla="*/ 131445 h 643889"/>
                <a:gd name="connsiteX95" fmla="*/ 1273493 w 1472564"/>
                <a:gd name="connsiteY95" fmla="*/ 131445 h 643889"/>
                <a:gd name="connsiteX96" fmla="*/ 1289685 w 1472564"/>
                <a:gd name="connsiteY96" fmla="*/ 111442 h 643889"/>
                <a:gd name="connsiteX97" fmla="*/ 1324927 w 1472564"/>
                <a:gd name="connsiteY97" fmla="*/ 95250 h 643889"/>
                <a:gd name="connsiteX98" fmla="*/ 1343977 w 1472564"/>
                <a:gd name="connsiteY98" fmla="*/ 74295 h 643889"/>
                <a:gd name="connsiteX99" fmla="*/ 1366838 w 1472564"/>
                <a:gd name="connsiteY99" fmla="*/ 74295 h 643889"/>
                <a:gd name="connsiteX100" fmla="*/ 1374457 w 1472564"/>
                <a:gd name="connsiteY100" fmla="*/ 86677 h 643889"/>
                <a:gd name="connsiteX101" fmla="*/ 1390650 w 1472564"/>
                <a:gd name="connsiteY101" fmla="*/ 94297 h 643889"/>
                <a:gd name="connsiteX102" fmla="*/ 1385888 w 1472564"/>
                <a:gd name="connsiteY102" fmla="*/ 80010 h 643889"/>
                <a:gd name="connsiteX103" fmla="*/ 1383030 w 1472564"/>
                <a:gd name="connsiteY103" fmla="*/ 64770 h 643889"/>
                <a:gd name="connsiteX104" fmla="*/ 1356360 w 1472564"/>
                <a:gd name="connsiteY104" fmla="*/ 35242 h 643889"/>
                <a:gd name="connsiteX105" fmla="*/ 1353502 w 1472564"/>
                <a:gd name="connsiteY105" fmla="*/ 21907 h 643889"/>
                <a:gd name="connsiteX106" fmla="*/ 1349693 w 1472564"/>
                <a:gd name="connsiteY106" fmla="*/ 31432 h 643889"/>
                <a:gd name="connsiteX107" fmla="*/ 1341120 w 1472564"/>
                <a:gd name="connsiteY107" fmla="*/ 19050 h 643889"/>
                <a:gd name="connsiteX108" fmla="*/ 1395413 w 1472564"/>
                <a:gd name="connsiteY108" fmla="*/ 299085 h 643889"/>
                <a:gd name="connsiteX109" fmla="*/ 1421130 w 1472564"/>
                <a:gd name="connsiteY109" fmla="*/ 275272 h 643889"/>
                <a:gd name="connsiteX110" fmla="*/ 1464945 w 1472564"/>
                <a:gd name="connsiteY110" fmla="*/ 243840 h 643889"/>
                <a:gd name="connsiteX111" fmla="*/ 1464945 w 1472564"/>
                <a:gd name="connsiteY111" fmla="*/ 208597 h 643889"/>
                <a:gd name="connsiteX112" fmla="*/ 1461135 w 1472564"/>
                <a:gd name="connsiteY112" fmla="*/ 179070 h 643889"/>
                <a:gd name="connsiteX113" fmla="*/ 1444943 w 1472564"/>
                <a:gd name="connsiteY113" fmla="*/ 139065 h 643889"/>
                <a:gd name="connsiteX114" fmla="*/ 1459230 w 1472564"/>
                <a:gd name="connsiteY114" fmla="*/ 152400 h 643889"/>
                <a:gd name="connsiteX115" fmla="*/ 1468755 w 1472564"/>
                <a:gd name="connsiteY115" fmla="*/ 182880 h 643889"/>
                <a:gd name="connsiteX116" fmla="*/ 1472565 w 1472564"/>
                <a:gd name="connsiteY116" fmla="*/ 255270 h 643889"/>
                <a:gd name="connsiteX117" fmla="*/ 1456373 w 1472564"/>
                <a:gd name="connsiteY117" fmla="*/ 259080 h 643889"/>
                <a:gd name="connsiteX118" fmla="*/ 1426845 w 1472564"/>
                <a:gd name="connsiteY118" fmla="*/ 281940 h 643889"/>
                <a:gd name="connsiteX119" fmla="*/ 1396365 w 1472564"/>
                <a:gd name="connsiteY119" fmla="*/ 312420 h 643889"/>
                <a:gd name="connsiteX120" fmla="*/ 1413510 w 1472564"/>
                <a:gd name="connsiteY120" fmla="*/ 115252 h 643889"/>
                <a:gd name="connsiteX121" fmla="*/ 1404938 w 1472564"/>
                <a:gd name="connsiteY121" fmla="*/ 113347 h 643889"/>
                <a:gd name="connsiteX122" fmla="*/ 1404938 w 1472564"/>
                <a:gd name="connsiteY122" fmla="*/ 122872 h 643889"/>
                <a:gd name="connsiteX123" fmla="*/ 1428750 w 1472564"/>
                <a:gd name="connsiteY123" fmla="*/ 143827 h 643889"/>
                <a:gd name="connsiteX124" fmla="*/ 1426845 w 1472564"/>
                <a:gd name="connsiteY124" fmla="*/ 130492 h 643889"/>
                <a:gd name="connsiteX125" fmla="*/ 1441132 w 1472564"/>
                <a:gd name="connsiteY125" fmla="*/ 135255 h 643889"/>
                <a:gd name="connsiteX126" fmla="*/ 1427798 w 1472564"/>
                <a:gd name="connsiteY126" fmla="*/ 108585 h 643889"/>
                <a:gd name="connsiteX127" fmla="*/ 1406843 w 1472564"/>
                <a:gd name="connsiteY127" fmla="*/ 76200 h 643889"/>
                <a:gd name="connsiteX128" fmla="*/ 1383982 w 1472564"/>
                <a:gd name="connsiteY128" fmla="*/ 47625 h 643889"/>
                <a:gd name="connsiteX129" fmla="*/ 1363027 w 1472564"/>
                <a:gd name="connsiteY129" fmla="*/ 6667 h 643889"/>
                <a:gd name="connsiteX130" fmla="*/ 1355407 w 1472564"/>
                <a:gd name="connsiteY130" fmla="*/ 0 h 643889"/>
                <a:gd name="connsiteX131" fmla="*/ 1376363 w 1472564"/>
                <a:gd name="connsiteY131" fmla="*/ 40957 h 643889"/>
                <a:gd name="connsiteX132" fmla="*/ 1379220 w 1472564"/>
                <a:gd name="connsiteY132" fmla="*/ 53340 h 643889"/>
                <a:gd name="connsiteX133" fmla="*/ 1411605 w 1472564"/>
                <a:gd name="connsiteY133" fmla="*/ 105727 h 643889"/>
                <a:gd name="connsiteX134" fmla="*/ 1428750 w 1472564"/>
                <a:gd name="connsiteY134" fmla="*/ 125730 h 6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1472564" h="643889">
                  <a:moveTo>
                    <a:pt x="1328738" y="3810"/>
                  </a:moveTo>
                  <a:lnTo>
                    <a:pt x="1051560" y="61913"/>
                  </a:lnTo>
                  <a:lnTo>
                    <a:pt x="676275" y="131445"/>
                  </a:lnTo>
                  <a:lnTo>
                    <a:pt x="396240" y="164782"/>
                  </a:lnTo>
                  <a:lnTo>
                    <a:pt x="396240" y="214313"/>
                  </a:lnTo>
                  <a:lnTo>
                    <a:pt x="381952" y="213360"/>
                  </a:lnTo>
                  <a:lnTo>
                    <a:pt x="368618" y="224790"/>
                  </a:lnTo>
                  <a:lnTo>
                    <a:pt x="345757" y="274320"/>
                  </a:lnTo>
                  <a:lnTo>
                    <a:pt x="320993" y="263842"/>
                  </a:lnTo>
                  <a:lnTo>
                    <a:pt x="287655" y="287655"/>
                  </a:lnTo>
                  <a:lnTo>
                    <a:pt x="280988" y="307657"/>
                  </a:lnTo>
                  <a:lnTo>
                    <a:pt x="266700" y="319088"/>
                  </a:lnTo>
                  <a:lnTo>
                    <a:pt x="259080" y="311467"/>
                  </a:lnTo>
                  <a:lnTo>
                    <a:pt x="258127" y="297180"/>
                  </a:lnTo>
                  <a:lnTo>
                    <a:pt x="250507" y="295275"/>
                  </a:lnTo>
                  <a:lnTo>
                    <a:pt x="212407" y="326707"/>
                  </a:lnTo>
                  <a:lnTo>
                    <a:pt x="206693" y="359092"/>
                  </a:lnTo>
                  <a:lnTo>
                    <a:pt x="161925" y="381952"/>
                  </a:lnTo>
                  <a:lnTo>
                    <a:pt x="157163" y="393382"/>
                  </a:lnTo>
                  <a:lnTo>
                    <a:pt x="126682" y="418147"/>
                  </a:lnTo>
                  <a:lnTo>
                    <a:pt x="92393" y="422910"/>
                  </a:lnTo>
                  <a:lnTo>
                    <a:pt x="48577" y="451485"/>
                  </a:lnTo>
                  <a:lnTo>
                    <a:pt x="40957" y="490538"/>
                  </a:lnTo>
                  <a:lnTo>
                    <a:pt x="28575" y="499110"/>
                  </a:lnTo>
                  <a:lnTo>
                    <a:pt x="14288" y="498157"/>
                  </a:lnTo>
                  <a:lnTo>
                    <a:pt x="952" y="510540"/>
                  </a:lnTo>
                  <a:lnTo>
                    <a:pt x="0" y="557213"/>
                  </a:lnTo>
                  <a:lnTo>
                    <a:pt x="203835" y="528638"/>
                  </a:lnTo>
                  <a:lnTo>
                    <a:pt x="245745" y="510540"/>
                  </a:lnTo>
                  <a:lnTo>
                    <a:pt x="258127" y="509588"/>
                  </a:lnTo>
                  <a:lnTo>
                    <a:pt x="327660" y="468630"/>
                  </a:lnTo>
                  <a:lnTo>
                    <a:pt x="548640" y="447675"/>
                  </a:lnTo>
                  <a:lnTo>
                    <a:pt x="552450" y="452438"/>
                  </a:lnTo>
                  <a:lnTo>
                    <a:pt x="550545" y="465772"/>
                  </a:lnTo>
                  <a:lnTo>
                    <a:pt x="557213" y="468630"/>
                  </a:lnTo>
                  <a:lnTo>
                    <a:pt x="568643" y="454342"/>
                  </a:lnTo>
                  <a:lnTo>
                    <a:pt x="600075" y="482917"/>
                  </a:lnTo>
                  <a:lnTo>
                    <a:pt x="601027" y="507682"/>
                  </a:lnTo>
                  <a:lnTo>
                    <a:pt x="788670" y="481013"/>
                  </a:lnTo>
                  <a:lnTo>
                    <a:pt x="1022032" y="643890"/>
                  </a:lnTo>
                  <a:lnTo>
                    <a:pt x="1060132" y="622935"/>
                  </a:lnTo>
                  <a:lnTo>
                    <a:pt x="1088707" y="616267"/>
                  </a:lnTo>
                  <a:lnTo>
                    <a:pt x="1104900" y="616267"/>
                  </a:lnTo>
                  <a:lnTo>
                    <a:pt x="1115377" y="626745"/>
                  </a:lnTo>
                  <a:lnTo>
                    <a:pt x="1122998" y="607695"/>
                  </a:lnTo>
                  <a:lnTo>
                    <a:pt x="1128713" y="560070"/>
                  </a:lnTo>
                  <a:lnTo>
                    <a:pt x="1144905" y="522922"/>
                  </a:lnTo>
                  <a:lnTo>
                    <a:pt x="1196340" y="464820"/>
                  </a:lnTo>
                  <a:lnTo>
                    <a:pt x="1235393" y="431482"/>
                  </a:lnTo>
                  <a:lnTo>
                    <a:pt x="1286827" y="409575"/>
                  </a:lnTo>
                  <a:lnTo>
                    <a:pt x="1310640" y="405765"/>
                  </a:lnTo>
                  <a:lnTo>
                    <a:pt x="1323023" y="409575"/>
                  </a:lnTo>
                  <a:lnTo>
                    <a:pt x="1329690" y="420052"/>
                  </a:lnTo>
                  <a:lnTo>
                    <a:pt x="1361123" y="357188"/>
                  </a:lnTo>
                  <a:lnTo>
                    <a:pt x="1392555" y="306705"/>
                  </a:lnTo>
                  <a:lnTo>
                    <a:pt x="1385888" y="303847"/>
                  </a:lnTo>
                  <a:lnTo>
                    <a:pt x="1343977" y="368617"/>
                  </a:lnTo>
                  <a:lnTo>
                    <a:pt x="1339215" y="360997"/>
                  </a:lnTo>
                  <a:lnTo>
                    <a:pt x="1358265" y="340042"/>
                  </a:lnTo>
                  <a:lnTo>
                    <a:pt x="1354455" y="325755"/>
                  </a:lnTo>
                  <a:lnTo>
                    <a:pt x="1335405" y="320992"/>
                  </a:lnTo>
                  <a:lnTo>
                    <a:pt x="1344930" y="333375"/>
                  </a:lnTo>
                  <a:lnTo>
                    <a:pt x="1333500" y="334327"/>
                  </a:lnTo>
                  <a:lnTo>
                    <a:pt x="1322070" y="317182"/>
                  </a:lnTo>
                  <a:lnTo>
                    <a:pt x="1310640" y="336232"/>
                  </a:lnTo>
                  <a:lnTo>
                    <a:pt x="1295400" y="338138"/>
                  </a:lnTo>
                  <a:lnTo>
                    <a:pt x="1304925" y="312420"/>
                  </a:lnTo>
                  <a:lnTo>
                    <a:pt x="1311593" y="296227"/>
                  </a:lnTo>
                  <a:lnTo>
                    <a:pt x="1309688" y="268605"/>
                  </a:lnTo>
                  <a:lnTo>
                    <a:pt x="1288732" y="267652"/>
                  </a:lnTo>
                  <a:lnTo>
                    <a:pt x="1297305" y="259080"/>
                  </a:lnTo>
                  <a:lnTo>
                    <a:pt x="1307782" y="261938"/>
                  </a:lnTo>
                  <a:lnTo>
                    <a:pt x="1333500" y="262890"/>
                  </a:lnTo>
                  <a:lnTo>
                    <a:pt x="1341120" y="258127"/>
                  </a:lnTo>
                  <a:lnTo>
                    <a:pt x="1363027" y="258127"/>
                  </a:lnTo>
                  <a:lnTo>
                    <a:pt x="1382077" y="240030"/>
                  </a:lnTo>
                  <a:lnTo>
                    <a:pt x="1383982" y="209550"/>
                  </a:lnTo>
                  <a:lnTo>
                    <a:pt x="1396365" y="196215"/>
                  </a:lnTo>
                  <a:lnTo>
                    <a:pt x="1407795" y="194310"/>
                  </a:lnTo>
                  <a:lnTo>
                    <a:pt x="1420177" y="184785"/>
                  </a:lnTo>
                  <a:lnTo>
                    <a:pt x="1415415" y="149542"/>
                  </a:lnTo>
                  <a:lnTo>
                    <a:pt x="1394460" y="113347"/>
                  </a:lnTo>
                  <a:lnTo>
                    <a:pt x="1368743" y="111442"/>
                  </a:lnTo>
                  <a:lnTo>
                    <a:pt x="1360170" y="126682"/>
                  </a:lnTo>
                  <a:lnTo>
                    <a:pt x="1355407" y="117157"/>
                  </a:lnTo>
                  <a:lnTo>
                    <a:pt x="1329690" y="119063"/>
                  </a:lnTo>
                  <a:lnTo>
                    <a:pt x="1318260" y="122872"/>
                  </a:lnTo>
                  <a:lnTo>
                    <a:pt x="1300163" y="134302"/>
                  </a:lnTo>
                  <a:lnTo>
                    <a:pt x="1297305" y="130492"/>
                  </a:lnTo>
                  <a:lnTo>
                    <a:pt x="1288732" y="130492"/>
                  </a:lnTo>
                  <a:lnTo>
                    <a:pt x="1271588" y="141922"/>
                  </a:lnTo>
                  <a:lnTo>
                    <a:pt x="1246823" y="146685"/>
                  </a:lnTo>
                  <a:lnTo>
                    <a:pt x="1246823" y="134302"/>
                  </a:lnTo>
                  <a:lnTo>
                    <a:pt x="1254443" y="124777"/>
                  </a:lnTo>
                  <a:lnTo>
                    <a:pt x="1263968" y="131445"/>
                  </a:lnTo>
                  <a:lnTo>
                    <a:pt x="1273493" y="131445"/>
                  </a:lnTo>
                  <a:lnTo>
                    <a:pt x="1289685" y="111442"/>
                  </a:lnTo>
                  <a:lnTo>
                    <a:pt x="1324927" y="95250"/>
                  </a:lnTo>
                  <a:lnTo>
                    <a:pt x="1343977" y="74295"/>
                  </a:lnTo>
                  <a:lnTo>
                    <a:pt x="1366838" y="74295"/>
                  </a:lnTo>
                  <a:lnTo>
                    <a:pt x="1374457" y="86677"/>
                  </a:lnTo>
                  <a:lnTo>
                    <a:pt x="1390650" y="94297"/>
                  </a:lnTo>
                  <a:lnTo>
                    <a:pt x="1385888" y="80010"/>
                  </a:lnTo>
                  <a:lnTo>
                    <a:pt x="1383030" y="64770"/>
                  </a:lnTo>
                  <a:lnTo>
                    <a:pt x="1356360" y="35242"/>
                  </a:lnTo>
                  <a:lnTo>
                    <a:pt x="1353502" y="21907"/>
                  </a:lnTo>
                  <a:lnTo>
                    <a:pt x="1349693" y="31432"/>
                  </a:lnTo>
                  <a:lnTo>
                    <a:pt x="1341120" y="19050"/>
                  </a:lnTo>
                  <a:close/>
                  <a:moveTo>
                    <a:pt x="1395413" y="299085"/>
                  </a:moveTo>
                  <a:lnTo>
                    <a:pt x="1421130" y="275272"/>
                  </a:lnTo>
                  <a:lnTo>
                    <a:pt x="1464945" y="243840"/>
                  </a:lnTo>
                  <a:lnTo>
                    <a:pt x="1464945" y="208597"/>
                  </a:lnTo>
                  <a:lnTo>
                    <a:pt x="1461135" y="179070"/>
                  </a:lnTo>
                  <a:lnTo>
                    <a:pt x="1444943" y="139065"/>
                  </a:lnTo>
                  <a:lnTo>
                    <a:pt x="1459230" y="152400"/>
                  </a:lnTo>
                  <a:lnTo>
                    <a:pt x="1468755" y="182880"/>
                  </a:lnTo>
                  <a:lnTo>
                    <a:pt x="1472565" y="255270"/>
                  </a:lnTo>
                  <a:lnTo>
                    <a:pt x="1456373" y="259080"/>
                  </a:lnTo>
                  <a:lnTo>
                    <a:pt x="1426845" y="281940"/>
                  </a:lnTo>
                  <a:lnTo>
                    <a:pt x="1396365" y="312420"/>
                  </a:lnTo>
                  <a:close/>
                  <a:moveTo>
                    <a:pt x="1413510" y="115252"/>
                  </a:moveTo>
                  <a:lnTo>
                    <a:pt x="1404938" y="113347"/>
                  </a:lnTo>
                  <a:lnTo>
                    <a:pt x="1404938" y="122872"/>
                  </a:lnTo>
                  <a:lnTo>
                    <a:pt x="1428750" y="143827"/>
                  </a:lnTo>
                  <a:lnTo>
                    <a:pt x="1426845" y="130492"/>
                  </a:lnTo>
                  <a:close/>
                  <a:moveTo>
                    <a:pt x="1441132" y="135255"/>
                  </a:moveTo>
                  <a:lnTo>
                    <a:pt x="1427798" y="108585"/>
                  </a:lnTo>
                  <a:lnTo>
                    <a:pt x="1406843" y="76200"/>
                  </a:lnTo>
                  <a:lnTo>
                    <a:pt x="1383982" y="47625"/>
                  </a:lnTo>
                  <a:lnTo>
                    <a:pt x="1363027" y="6667"/>
                  </a:lnTo>
                  <a:lnTo>
                    <a:pt x="1355407" y="0"/>
                  </a:lnTo>
                  <a:lnTo>
                    <a:pt x="1376363" y="40957"/>
                  </a:lnTo>
                  <a:lnTo>
                    <a:pt x="1379220" y="53340"/>
                  </a:lnTo>
                  <a:lnTo>
                    <a:pt x="1411605" y="105727"/>
                  </a:lnTo>
                  <a:lnTo>
                    <a:pt x="1428750" y="125730"/>
                  </a:lnTo>
                  <a:close/>
                </a:path>
              </a:pathLst>
            </a:custGeom>
            <a:solidFill>
              <a:srgbClr val="D0D0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4E0F8056-7CD4-5BC8-079E-6BAB6245B08A}"/>
                </a:ext>
              </a:extLst>
            </p:cNvPr>
            <p:cNvSpPr/>
            <p:nvPr/>
          </p:nvSpPr>
          <p:spPr>
            <a:xfrm>
              <a:off x="4932044" y="1288732"/>
              <a:ext cx="1093470" cy="686752"/>
            </a:xfrm>
            <a:custGeom>
              <a:avLst/>
              <a:gdLst>
                <a:gd name="connsiteX0" fmla="*/ 1022985 w 1093470"/>
                <a:gd name="connsiteY0" fmla="*/ 117157 h 686752"/>
                <a:gd name="connsiteX1" fmla="*/ 1012508 w 1093470"/>
                <a:gd name="connsiteY1" fmla="*/ 143828 h 686752"/>
                <a:gd name="connsiteX2" fmla="*/ 1020128 w 1093470"/>
                <a:gd name="connsiteY2" fmla="*/ 157163 h 686752"/>
                <a:gd name="connsiteX3" fmla="*/ 1017270 w 1093470"/>
                <a:gd name="connsiteY3" fmla="*/ 205740 h 686752"/>
                <a:gd name="connsiteX4" fmla="*/ 1012508 w 1093470"/>
                <a:gd name="connsiteY4" fmla="*/ 216218 h 686752"/>
                <a:gd name="connsiteX5" fmla="*/ 1038225 w 1093470"/>
                <a:gd name="connsiteY5" fmla="*/ 302895 h 686752"/>
                <a:gd name="connsiteX6" fmla="*/ 1050608 w 1093470"/>
                <a:gd name="connsiteY6" fmla="*/ 326708 h 686752"/>
                <a:gd name="connsiteX7" fmla="*/ 1057275 w 1093470"/>
                <a:gd name="connsiteY7" fmla="*/ 460058 h 686752"/>
                <a:gd name="connsiteX8" fmla="*/ 1066800 w 1093470"/>
                <a:gd name="connsiteY8" fmla="*/ 485775 h 686752"/>
                <a:gd name="connsiteX9" fmla="*/ 1062990 w 1093470"/>
                <a:gd name="connsiteY9" fmla="*/ 541020 h 686752"/>
                <a:gd name="connsiteX10" fmla="*/ 1090613 w 1093470"/>
                <a:gd name="connsiteY10" fmla="*/ 611505 h 686752"/>
                <a:gd name="connsiteX11" fmla="*/ 1093470 w 1093470"/>
                <a:gd name="connsiteY11" fmla="*/ 666750 h 686752"/>
                <a:gd name="connsiteX12" fmla="*/ 1092518 w 1093470"/>
                <a:gd name="connsiteY12" fmla="*/ 686752 h 686752"/>
                <a:gd name="connsiteX13" fmla="*/ 811530 w 1093470"/>
                <a:gd name="connsiteY13" fmla="*/ 682943 h 686752"/>
                <a:gd name="connsiteX14" fmla="*/ 373380 w 1093470"/>
                <a:gd name="connsiteY14" fmla="*/ 662940 h 686752"/>
                <a:gd name="connsiteX15" fmla="*/ 0 w 1093470"/>
                <a:gd name="connsiteY15" fmla="*/ 635318 h 686752"/>
                <a:gd name="connsiteX16" fmla="*/ 49530 w 1093470"/>
                <a:gd name="connsiteY16" fmla="*/ 0 h 686752"/>
                <a:gd name="connsiteX17" fmla="*/ 473393 w 1093470"/>
                <a:gd name="connsiteY17" fmla="*/ 32385 h 686752"/>
                <a:gd name="connsiteX18" fmla="*/ 1000125 w 1093470"/>
                <a:gd name="connsiteY18" fmla="*/ 47625 h 686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093470" h="686752">
                  <a:moveTo>
                    <a:pt x="1022985" y="117157"/>
                  </a:moveTo>
                  <a:lnTo>
                    <a:pt x="1012508" y="143828"/>
                  </a:lnTo>
                  <a:lnTo>
                    <a:pt x="1020128" y="157163"/>
                  </a:lnTo>
                  <a:lnTo>
                    <a:pt x="1017270" y="205740"/>
                  </a:lnTo>
                  <a:lnTo>
                    <a:pt x="1012508" y="216218"/>
                  </a:lnTo>
                  <a:lnTo>
                    <a:pt x="1038225" y="302895"/>
                  </a:lnTo>
                  <a:lnTo>
                    <a:pt x="1050608" y="326708"/>
                  </a:lnTo>
                  <a:lnTo>
                    <a:pt x="1057275" y="460058"/>
                  </a:lnTo>
                  <a:lnTo>
                    <a:pt x="1066800" y="485775"/>
                  </a:lnTo>
                  <a:lnTo>
                    <a:pt x="1062990" y="541020"/>
                  </a:lnTo>
                  <a:lnTo>
                    <a:pt x="1090613" y="611505"/>
                  </a:lnTo>
                  <a:lnTo>
                    <a:pt x="1093470" y="666750"/>
                  </a:lnTo>
                  <a:lnTo>
                    <a:pt x="1092518" y="686752"/>
                  </a:lnTo>
                  <a:lnTo>
                    <a:pt x="811530" y="682943"/>
                  </a:lnTo>
                  <a:lnTo>
                    <a:pt x="373380" y="662940"/>
                  </a:lnTo>
                  <a:lnTo>
                    <a:pt x="0" y="635318"/>
                  </a:lnTo>
                  <a:lnTo>
                    <a:pt x="49530" y="0"/>
                  </a:lnTo>
                  <a:lnTo>
                    <a:pt x="473393" y="32385"/>
                  </a:lnTo>
                  <a:lnTo>
                    <a:pt x="1000125" y="47625"/>
                  </a:lnTo>
                  <a:close/>
                </a:path>
              </a:pathLst>
            </a:custGeom>
            <a:solidFill>
              <a:srgbClr val="D0D0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1CDC8F8-12EF-349F-DF08-070E6C0216CF}"/>
                </a:ext>
              </a:extLst>
            </p:cNvPr>
            <p:cNvSpPr/>
            <p:nvPr/>
          </p:nvSpPr>
          <p:spPr>
            <a:xfrm>
              <a:off x="7847647" y="2611754"/>
              <a:ext cx="699134" cy="802004"/>
            </a:xfrm>
            <a:custGeom>
              <a:avLst/>
              <a:gdLst>
                <a:gd name="connsiteX0" fmla="*/ 212407 w 699134"/>
                <a:gd name="connsiteY0" fmla="*/ 129540 h 802004"/>
                <a:gd name="connsiteX1" fmla="*/ 230505 w 699134"/>
                <a:gd name="connsiteY1" fmla="*/ 125730 h 802004"/>
                <a:gd name="connsiteX2" fmla="*/ 259080 w 699134"/>
                <a:gd name="connsiteY2" fmla="*/ 138113 h 802004"/>
                <a:gd name="connsiteX3" fmla="*/ 279082 w 699134"/>
                <a:gd name="connsiteY3" fmla="*/ 143828 h 802004"/>
                <a:gd name="connsiteX4" fmla="*/ 285750 w 699134"/>
                <a:gd name="connsiteY4" fmla="*/ 152400 h 802004"/>
                <a:gd name="connsiteX5" fmla="*/ 295275 w 699134"/>
                <a:gd name="connsiteY5" fmla="*/ 152400 h 802004"/>
                <a:gd name="connsiteX6" fmla="*/ 304800 w 699134"/>
                <a:gd name="connsiteY6" fmla="*/ 138113 h 802004"/>
                <a:gd name="connsiteX7" fmla="*/ 317182 w 699134"/>
                <a:gd name="connsiteY7" fmla="*/ 145733 h 802004"/>
                <a:gd name="connsiteX8" fmla="*/ 331470 w 699134"/>
                <a:gd name="connsiteY8" fmla="*/ 145733 h 802004"/>
                <a:gd name="connsiteX9" fmla="*/ 330517 w 699134"/>
                <a:gd name="connsiteY9" fmla="*/ 155258 h 802004"/>
                <a:gd name="connsiteX10" fmla="*/ 300990 w 699134"/>
                <a:gd name="connsiteY10" fmla="*/ 160020 h 802004"/>
                <a:gd name="connsiteX11" fmla="*/ 281940 w 699134"/>
                <a:gd name="connsiteY11" fmla="*/ 170498 h 802004"/>
                <a:gd name="connsiteX12" fmla="*/ 300038 w 699134"/>
                <a:gd name="connsiteY12" fmla="*/ 178117 h 802004"/>
                <a:gd name="connsiteX13" fmla="*/ 315277 w 699134"/>
                <a:gd name="connsiteY13" fmla="*/ 163830 h 802004"/>
                <a:gd name="connsiteX14" fmla="*/ 338138 w 699134"/>
                <a:gd name="connsiteY14" fmla="*/ 160020 h 802004"/>
                <a:gd name="connsiteX15" fmla="*/ 359092 w 699134"/>
                <a:gd name="connsiteY15" fmla="*/ 174308 h 802004"/>
                <a:gd name="connsiteX16" fmla="*/ 373380 w 699134"/>
                <a:gd name="connsiteY16" fmla="*/ 173355 h 802004"/>
                <a:gd name="connsiteX17" fmla="*/ 397192 w 699134"/>
                <a:gd name="connsiteY17" fmla="*/ 157163 h 802004"/>
                <a:gd name="connsiteX18" fmla="*/ 431482 w 699134"/>
                <a:gd name="connsiteY18" fmla="*/ 137160 h 802004"/>
                <a:gd name="connsiteX19" fmla="*/ 481013 w 699134"/>
                <a:gd name="connsiteY19" fmla="*/ 134303 h 802004"/>
                <a:gd name="connsiteX20" fmla="*/ 527685 w 699134"/>
                <a:gd name="connsiteY20" fmla="*/ 78105 h 802004"/>
                <a:gd name="connsiteX21" fmla="*/ 563880 w 699134"/>
                <a:gd name="connsiteY21" fmla="*/ 48578 h 802004"/>
                <a:gd name="connsiteX22" fmla="*/ 652463 w 699134"/>
                <a:gd name="connsiteY22" fmla="*/ 0 h 802004"/>
                <a:gd name="connsiteX23" fmla="*/ 699135 w 699134"/>
                <a:gd name="connsiteY23" fmla="*/ 284798 h 802004"/>
                <a:gd name="connsiteX24" fmla="*/ 678180 w 699134"/>
                <a:gd name="connsiteY24" fmla="*/ 296228 h 802004"/>
                <a:gd name="connsiteX25" fmla="*/ 691515 w 699134"/>
                <a:gd name="connsiteY25" fmla="*/ 316230 h 802004"/>
                <a:gd name="connsiteX26" fmla="*/ 690563 w 699134"/>
                <a:gd name="connsiteY26" fmla="*/ 337185 h 802004"/>
                <a:gd name="connsiteX27" fmla="*/ 696277 w 699134"/>
                <a:gd name="connsiteY27" fmla="*/ 356235 h 802004"/>
                <a:gd name="connsiteX28" fmla="*/ 685800 w 699134"/>
                <a:gd name="connsiteY28" fmla="*/ 388620 h 802004"/>
                <a:gd name="connsiteX29" fmla="*/ 684847 w 699134"/>
                <a:gd name="connsiteY29" fmla="*/ 440055 h 802004"/>
                <a:gd name="connsiteX30" fmla="*/ 675322 w 699134"/>
                <a:gd name="connsiteY30" fmla="*/ 474345 h 802004"/>
                <a:gd name="connsiteX31" fmla="*/ 680085 w 699134"/>
                <a:gd name="connsiteY31" fmla="*/ 484823 h 802004"/>
                <a:gd name="connsiteX32" fmla="*/ 676275 w 699134"/>
                <a:gd name="connsiteY32" fmla="*/ 505778 h 802004"/>
                <a:gd name="connsiteX33" fmla="*/ 665797 w 699134"/>
                <a:gd name="connsiteY33" fmla="*/ 510540 h 802004"/>
                <a:gd name="connsiteX34" fmla="*/ 646747 w 699134"/>
                <a:gd name="connsiteY34" fmla="*/ 541973 h 802004"/>
                <a:gd name="connsiteX35" fmla="*/ 629602 w 699134"/>
                <a:gd name="connsiteY35" fmla="*/ 561023 h 802004"/>
                <a:gd name="connsiteX36" fmla="*/ 623888 w 699134"/>
                <a:gd name="connsiteY36" fmla="*/ 561023 h 802004"/>
                <a:gd name="connsiteX37" fmla="*/ 606742 w 699134"/>
                <a:gd name="connsiteY37" fmla="*/ 577215 h 802004"/>
                <a:gd name="connsiteX38" fmla="*/ 594360 w 699134"/>
                <a:gd name="connsiteY38" fmla="*/ 565785 h 802004"/>
                <a:gd name="connsiteX39" fmla="*/ 580072 w 699134"/>
                <a:gd name="connsiteY39" fmla="*/ 582930 h 802004"/>
                <a:gd name="connsiteX40" fmla="*/ 577215 w 699134"/>
                <a:gd name="connsiteY40" fmla="*/ 594360 h 802004"/>
                <a:gd name="connsiteX41" fmla="*/ 564832 w 699134"/>
                <a:gd name="connsiteY41" fmla="*/ 594360 h 802004"/>
                <a:gd name="connsiteX42" fmla="*/ 552450 w 699134"/>
                <a:gd name="connsiteY42" fmla="*/ 615315 h 802004"/>
                <a:gd name="connsiteX43" fmla="*/ 553402 w 699134"/>
                <a:gd name="connsiteY43" fmla="*/ 635318 h 802004"/>
                <a:gd name="connsiteX44" fmla="*/ 543877 w 699134"/>
                <a:gd name="connsiteY44" fmla="*/ 640080 h 802004"/>
                <a:gd name="connsiteX45" fmla="*/ 557213 w 699134"/>
                <a:gd name="connsiteY45" fmla="*/ 650558 h 802004"/>
                <a:gd name="connsiteX46" fmla="*/ 557213 w 699134"/>
                <a:gd name="connsiteY46" fmla="*/ 668655 h 802004"/>
                <a:gd name="connsiteX47" fmla="*/ 547688 w 699134"/>
                <a:gd name="connsiteY47" fmla="*/ 670560 h 802004"/>
                <a:gd name="connsiteX48" fmla="*/ 541020 w 699134"/>
                <a:gd name="connsiteY48" fmla="*/ 678180 h 802004"/>
                <a:gd name="connsiteX49" fmla="*/ 531495 w 699134"/>
                <a:gd name="connsiteY49" fmla="*/ 682943 h 802004"/>
                <a:gd name="connsiteX50" fmla="*/ 525780 w 699134"/>
                <a:gd name="connsiteY50" fmla="*/ 662940 h 802004"/>
                <a:gd name="connsiteX51" fmla="*/ 510540 w 699134"/>
                <a:gd name="connsiteY51" fmla="*/ 658177 h 802004"/>
                <a:gd name="connsiteX52" fmla="*/ 501015 w 699134"/>
                <a:gd name="connsiteY52" fmla="*/ 680085 h 802004"/>
                <a:gd name="connsiteX53" fmla="*/ 498157 w 699134"/>
                <a:gd name="connsiteY53" fmla="*/ 701040 h 802004"/>
                <a:gd name="connsiteX54" fmla="*/ 487680 w 699134"/>
                <a:gd name="connsiteY54" fmla="*/ 713423 h 802004"/>
                <a:gd name="connsiteX55" fmla="*/ 500063 w 699134"/>
                <a:gd name="connsiteY55" fmla="*/ 747713 h 802004"/>
                <a:gd name="connsiteX56" fmla="*/ 485775 w 699134"/>
                <a:gd name="connsiteY56" fmla="*/ 755333 h 802004"/>
                <a:gd name="connsiteX57" fmla="*/ 481965 w 699134"/>
                <a:gd name="connsiteY57" fmla="*/ 788670 h 802004"/>
                <a:gd name="connsiteX58" fmla="*/ 467677 w 699134"/>
                <a:gd name="connsiteY58" fmla="*/ 788670 h 802004"/>
                <a:gd name="connsiteX59" fmla="*/ 437197 w 699134"/>
                <a:gd name="connsiteY59" fmla="*/ 802005 h 802004"/>
                <a:gd name="connsiteX60" fmla="*/ 425767 w 699134"/>
                <a:gd name="connsiteY60" fmla="*/ 782002 h 802004"/>
                <a:gd name="connsiteX61" fmla="*/ 392430 w 699134"/>
                <a:gd name="connsiteY61" fmla="*/ 768668 h 802004"/>
                <a:gd name="connsiteX62" fmla="*/ 384810 w 699134"/>
                <a:gd name="connsiteY62" fmla="*/ 741045 h 802004"/>
                <a:gd name="connsiteX63" fmla="*/ 380047 w 699134"/>
                <a:gd name="connsiteY63" fmla="*/ 733425 h 802004"/>
                <a:gd name="connsiteX64" fmla="*/ 347663 w 699134"/>
                <a:gd name="connsiteY64" fmla="*/ 750570 h 802004"/>
                <a:gd name="connsiteX65" fmla="*/ 341947 w 699134"/>
                <a:gd name="connsiteY65" fmla="*/ 766763 h 802004"/>
                <a:gd name="connsiteX66" fmla="*/ 333375 w 699134"/>
                <a:gd name="connsiteY66" fmla="*/ 766763 h 802004"/>
                <a:gd name="connsiteX67" fmla="*/ 320992 w 699134"/>
                <a:gd name="connsiteY67" fmla="*/ 773430 h 802004"/>
                <a:gd name="connsiteX68" fmla="*/ 309563 w 699134"/>
                <a:gd name="connsiteY68" fmla="*/ 765810 h 802004"/>
                <a:gd name="connsiteX69" fmla="*/ 280988 w 699134"/>
                <a:gd name="connsiteY69" fmla="*/ 758190 h 802004"/>
                <a:gd name="connsiteX70" fmla="*/ 262890 w 699134"/>
                <a:gd name="connsiteY70" fmla="*/ 765810 h 802004"/>
                <a:gd name="connsiteX71" fmla="*/ 262890 w 699134"/>
                <a:gd name="connsiteY71" fmla="*/ 775335 h 802004"/>
                <a:gd name="connsiteX72" fmla="*/ 241935 w 699134"/>
                <a:gd name="connsiteY72" fmla="*/ 773430 h 802004"/>
                <a:gd name="connsiteX73" fmla="*/ 223838 w 699134"/>
                <a:gd name="connsiteY73" fmla="*/ 753427 h 802004"/>
                <a:gd name="connsiteX74" fmla="*/ 201930 w 699134"/>
                <a:gd name="connsiteY74" fmla="*/ 755333 h 802004"/>
                <a:gd name="connsiteX75" fmla="*/ 162877 w 699134"/>
                <a:gd name="connsiteY75" fmla="*/ 748665 h 802004"/>
                <a:gd name="connsiteX76" fmla="*/ 162877 w 699134"/>
                <a:gd name="connsiteY76" fmla="*/ 739140 h 802004"/>
                <a:gd name="connsiteX77" fmla="*/ 141922 w 699134"/>
                <a:gd name="connsiteY77" fmla="*/ 706755 h 802004"/>
                <a:gd name="connsiteX78" fmla="*/ 114300 w 699134"/>
                <a:gd name="connsiteY78" fmla="*/ 695325 h 802004"/>
                <a:gd name="connsiteX79" fmla="*/ 96202 w 699134"/>
                <a:gd name="connsiteY79" fmla="*/ 702945 h 802004"/>
                <a:gd name="connsiteX80" fmla="*/ 75247 w 699134"/>
                <a:gd name="connsiteY80" fmla="*/ 701993 h 802004"/>
                <a:gd name="connsiteX81" fmla="*/ 62865 w 699134"/>
                <a:gd name="connsiteY81" fmla="*/ 697230 h 802004"/>
                <a:gd name="connsiteX82" fmla="*/ 0 w 699134"/>
                <a:gd name="connsiteY82" fmla="*/ 152400 h 802004"/>
                <a:gd name="connsiteX83" fmla="*/ 203835 w 699134"/>
                <a:gd name="connsiteY83" fmla="*/ 119063 h 802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699134" h="802004">
                  <a:moveTo>
                    <a:pt x="212407" y="129540"/>
                  </a:moveTo>
                  <a:lnTo>
                    <a:pt x="230505" y="125730"/>
                  </a:lnTo>
                  <a:lnTo>
                    <a:pt x="259080" y="138113"/>
                  </a:lnTo>
                  <a:lnTo>
                    <a:pt x="279082" y="143828"/>
                  </a:lnTo>
                  <a:lnTo>
                    <a:pt x="285750" y="152400"/>
                  </a:lnTo>
                  <a:lnTo>
                    <a:pt x="295275" y="152400"/>
                  </a:lnTo>
                  <a:lnTo>
                    <a:pt x="304800" y="138113"/>
                  </a:lnTo>
                  <a:lnTo>
                    <a:pt x="317182" y="145733"/>
                  </a:lnTo>
                  <a:lnTo>
                    <a:pt x="331470" y="145733"/>
                  </a:lnTo>
                  <a:lnTo>
                    <a:pt x="330517" y="155258"/>
                  </a:lnTo>
                  <a:lnTo>
                    <a:pt x="300990" y="160020"/>
                  </a:lnTo>
                  <a:lnTo>
                    <a:pt x="281940" y="170498"/>
                  </a:lnTo>
                  <a:lnTo>
                    <a:pt x="300038" y="178117"/>
                  </a:lnTo>
                  <a:lnTo>
                    <a:pt x="315277" y="163830"/>
                  </a:lnTo>
                  <a:lnTo>
                    <a:pt x="338138" y="160020"/>
                  </a:lnTo>
                  <a:lnTo>
                    <a:pt x="359092" y="174308"/>
                  </a:lnTo>
                  <a:lnTo>
                    <a:pt x="373380" y="173355"/>
                  </a:lnTo>
                  <a:lnTo>
                    <a:pt x="397192" y="157163"/>
                  </a:lnTo>
                  <a:lnTo>
                    <a:pt x="431482" y="137160"/>
                  </a:lnTo>
                  <a:lnTo>
                    <a:pt x="481013" y="134303"/>
                  </a:lnTo>
                  <a:lnTo>
                    <a:pt x="527685" y="78105"/>
                  </a:lnTo>
                  <a:lnTo>
                    <a:pt x="563880" y="48578"/>
                  </a:lnTo>
                  <a:lnTo>
                    <a:pt x="652463" y="0"/>
                  </a:lnTo>
                  <a:lnTo>
                    <a:pt x="699135" y="284798"/>
                  </a:lnTo>
                  <a:lnTo>
                    <a:pt x="678180" y="296228"/>
                  </a:lnTo>
                  <a:lnTo>
                    <a:pt x="691515" y="316230"/>
                  </a:lnTo>
                  <a:lnTo>
                    <a:pt x="690563" y="337185"/>
                  </a:lnTo>
                  <a:lnTo>
                    <a:pt x="696277" y="356235"/>
                  </a:lnTo>
                  <a:lnTo>
                    <a:pt x="685800" y="388620"/>
                  </a:lnTo>
                  <a:lnTo>
                    <a:pt x="684847" y="440055"/>
                  </a:lnTo>
                  <a:lnTo>
                    <a:pt x="675322" y="474345"/>
                  </a:lnTo>
                  <a:lnTo>
                    <a:pt x="680085" y="484823"/>
                  </a:lnTo>
                  <a:lnTo>
                    <a:pt x="676275" y="505778"/>
                  </a:lnTo>
                  <a:lnTo>
                    <a:pt x="665797" y="510540"/>
                  </a:lnTo>
                  <a:lnTo>
                    <a:pt x="646747" y="541973"/>
                  </a:lnTo>
                  <a:lnTo>
                    <a:pt x="629602" y="561023"/>
                  </a:lnTo>
                  <a:lnTo>
                    <a:pt x="623888" y="561023"/>
                  </a:lnTo>
                  <a:lnTo>
                    <a:pt x="606742" y="577215"/>
                  </a:lnTo>
                  <a:lnTo>
                    <a:pt x="594360" y="565785"/>
                  </a:lnTo>
                  <a:lnTo>
                    <a:pt x="580072" y="582930"/>
                  </a:lnTo>
                  <a:lnTo>
                    <a:pt x="577215" y="594360"/>
                  </a:lnTo>
                  <a:lnTo>
                    <a:pt x="564832" y="594360"/>
                  </a:lnTo>
                  <a:lnTo>
                    <a:pt x="552450" y="615315"/>
                  </a:lnTo>
                  <a:lnTo>
                    <a:pt x="553402" y="635318"/>
                  </a:lnTo>
                  <a:lnTo>
                    <a:pt x="543877" y="640080"/>
                  </a:lnTo>
                  <a:lnTo>
                    <a:pt x="557213" y="650558"/>
                  </a:lnTo>
                  <a:lnTo>
                    <a:pt x="557213" y="668655"/>
                  </a:lnTo>
                  <a:lnTo>
                    <a:pt x="547688" y="670560"/>
                  </a:lnTo>
                  <a:lnTo>
                    <a:pt x="541020" y="678180"/>
                  </a:lnTo>
                  <a:lnTo>
                    <a:pt x="531495" y="682943"/>
                  </a:lnTo>
                  <a:lnTo>
                    <a:pt x="525780" y="662940"/>
                  </a:lnTo>
                  <a:lnTo>
                    <a:pt x="510540" y="658177"/>
                  </a:lnTo>
                  <a:lnTo>
                    <a:pt x="501015" y="680085"/>
                  </a:lnTo>
                  <a:lnTo>
                    <a:pt x="498157" y="701040"/>
                  </a:lnTo>
                  <a:lnTo>
                    <a:pt x="487680" y="713423"/>
                  </a:lnTo>
                  <a:lnTo>
                    <a:pt x="500063" y="747713"/>
                  </a:lnTo>
                  <a:lnTo>
                    <a:pt x="485775" y="755333"/>
                  </a:lnTo>
                  <a:lnTo>
                    <a:pt x="481965" y="788670"/>
                  </a:lnTo>
                  <a:lnTo>
                    <a:pt x="467677" y="788670"/>
                  </a:lnTo>
                  <a:lnTo>
                    <a:pt x="437197" y="802005"/>
                  </a:lnTo>
                  <a:lnTo>
                    <a:pt x="425767" y="782002"/>
                  </a:lnTo>
                  <a:lnTo>
                    <a:pt x="392430" y="768668"/>
                  </a:lnTo>
                  <a:lnTo>
                    <a:pt x="384810" y="741045"/>
                  </a:lnTo>
                  <a:lnTo>
                    <a:pt x="380047" y="733425"/>
                  </a:lnTo>
                  <a:lnTo>
                    <a:pt x="347663" y="750570"/>
                  </a:lnTo>
                  <a:lnTo>
                    <a:pt x="341947" y="766763"/>
                  </a:lnTo>
                  <a:lnTo>
                    <a:pt x="333375" y="766763"/>
                  </a:lnTo>
                  <a:lnTo>
                    <a:pt x="320992" y="773430"/>
                  </a:lnTo>
                  <a:lnTo>
                    <a:pt x="309563" y="765810"/>
                  </a:lnTo>
                  <a:lnTo>
                    <a:pt x="280988" y="758190"/>
                  </a:lnTo>
                  <a:lnTo>
                    <a:pt x="262890" y="765810"/>
                  </a:lnTo>
                  <a:lnTo>
                    <a:pt x="262890" y="775335"/>
                  </a:lnTo>
                  <a:lnTo>
                    <a:pt x="241935" y="773430"/>
                  </a:lnTo>
                  <a:lnTo>
                    <a:pt x="223838" y="753427"/>
                  </a:lnTo>
                  <a:lnTo>
                    <a:pt x="201930" y="755333"/>
                  </a:lnTo>
                  <a:lnTo>
                    <a:pt x="162877" y="748665"/>
                  </a:lnTo>
                  <a:lnTo>
                    <a:pt x="162877" y="739140"/>
                  </a:lnTo>
                  <a:lnTo>
                    <a:pt x="141922" y="706755"/>
                  </a:lnTo>
                  <a:lnTo>
                    <a:pt x="114300" y="695325"/>
                  </a:lnTo>
                  <a:lnTo>
                    <a:pt x="96202" y="702945"/>
                  </a:lnTo>
                  <a:lnTo>
                    <a:pt x="75247" y="701993"/>
                  </a:lnTo>
                  <a:lnTo>
                    <a:pt x="62865" y="697230"/>
                  </a:lnTo>
                  <a:lnTo>
                    <a:pt x="0" y="152400"/>
                  </a:lnTo>
                  <a:lnTo>
                    <a:pt x="203835" y="119063"/>
                  </a:lnTo>
                  <a:close/>
                </a:path>
              </a:pathLst>
            </a:custGeom>
            <a:solidFill>
              <a:srgbClr val="D0D0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D7CDB0BD-4B41-281F-D2D4-E960F79B8D43}"/>
                </a:ext>
              </a:extLst>
            </p:cNvPr>
            <p:cNvSpPr/>
            <p:nvPr/>
          </p:nvSpPr>
          <p:spPr>
            <a:xfrm>
              <a:off x="4933949" y="3822382"/>
              <a:ext cx="1439227" cy="744855"/>
            </a:xfrm>
            <a:custGeom>
              <a:avLst/>
              <a:gdLst>
                <a:gd name="connsiteX0" fmla="*/ 1371600 w 1439227"/>
                <a:gd name="connsiteY0" fmla="*/ 726758 h 744855"/>
                <a:gd name="connsiteX1" fmla="*/ 1327785 w 1439227"/>
                <a:gd name="connsiteY1" fmla="*/ 690563 h 744855"/>
                <a:gd name="connsiteX2" fmla="*/ 1306830 w 1439227"/>
                <a:gd name="connsiteY2" fmla="*/ 681990 h 744855"/>
                <a:gd name="connsiteX3" fmla="*/ 1302068 w 1439227"/>
                <a:gd name="connsiteY3" fmla="*/ 697230 h 744855"/>
                <a:gd name="connsiteX4" fmla="*/ 1253490 w 1439227"/>
                <a:gd name="connsiteY4" fmla="*/ 700088 h 744855"/>
                <a:gd name="connsiteX5" fmla="*/ 1247775 w 1439227"/>
                <a:gd name="connsiteY5" fmla="*/ 685800 h 744855"/>
                <a:gd name="connsiteX6" fmla="*/ 1200150 w 1439227"/>
                <a:gd name="connsiteY6" fmla="*/ 709613 h 744855"/>
                <a:gd name="connsiteX7" fmla="*/ 1184910 w 1439227"/>
                <a:gd name="connsiteY7" fmla="*/ 702945 h 744855"/>
                <a:gd name="connsiteX8" fmla="*/ 1149668 w 1439227"/>
                <a:gd name="connsiteY8" fmla="*/ 705803 h 744855"/>
                <a:gd name="connsiteX9" fmla="*/ 1143953 w 1439227"/>
                <a:gd name="connsiteY9" fmla="*/ 721995 h 744855"/>
                <a:gd name="connsiteX10" fmla="*/ 1109663 w 1439227"/>
                <a:gd name="connsiteY10" fmla="*/ 730568 h 744855"/>
                <a:gd name="connsiteX11" fmla="*/ 1097280 w 1439227"/>
                <a:gd name="connsiteY11" fmla="*/ 719138 h 744855"/>
                <a:gd name="connsiteX12" fmla="*/ 1085850 w 1439227"/>
                <a:gd name="connsiteY12" fmla="*/ 720090 h 744855"/>
                <a:gd name="connsiteX13" fmla="*/ 1066800 w 1439227"/>
                <a:gd name="connsiteY13" fmla="*/ 702945 h 744855"/>
                <a:gd name="connsiteX14" fmla="*/ 1046797 w 1439227"/>
                <a:gd name="connsiteY14" fmla="*/ 709613 h 744855"/>
                <a:gd name="connsiteX15" fmla="*/ 1027747 w 1439227"/>
                <a:gd name="connsiteY15" fmla="*/ 704850 h 744855"/>
                <a:gd name="connsiteX16" fmla="*/ 1010603 w 1439227"/>
                <a:gd name="connsiteY16" fmla="*/ 685800 h 744855"/>
                <a:gd name="connsiteX17" fmla="*/ 986790 w 1439227"/>
                <a:gd name="connsiteY17" fmla="*/ 725805 h 744855"/>
                <a:gd name="connsiteX18" fmla="*/ 975360 w 1439227"/>
                <a:gd name="connsiteY18" fmla="*/ 733425 h 744855"/>
                <a:gd name="connsiteX19" fmla="*/ 965835 w 1439227"/>
                <a:gd name="connsiteY19" fmla="*/ 716280 h 744855"/>
                <a:gd name="connsiteX20" fmla="*/ 968693 w 1439227"/>
                <a:gd name="connsiteY20" fmla="*/ 697230 h 744855"/>
                <a:gd name="connsiteX21" fmla="*/ 957263 w 1439227"/>
                <a:gd name="connsiteY21" fmla="*/ 690563 h 744855"/>
                <a:gd name="connsiteX22" fmla="*/ 935355 w 1439227"/>
                <a:gd name="connsiteY22" fmla="*/ 714375 h 744855"/>
                <a:gd name="connsiteX23" fmla="*/ 919163 w 1439227"/>
                <a:gd name="connsiteY23" fmla="*/ 702945 h 744855"/>
                <a:gd name="connsiteX24" fmla="*/ 918210 w 1439227"/>
                <a:gd name="connsiteY24" fmla="*/ 688658 h 744855"/>
                <a:gd name="connsiteX25" fmla="*/ 905828 w 1439227"/>
                <a:gd name="connsiteY25" fmla="*/ 693420 h 744855"/>
                <a:gd name="connsiteX26" fmla="*/ 881063 w 1439227"/>
                <a:gd name="connsiteY26" fmla="*/ 677228 h 744855"/>
                <a:gd name="connsiteX27" fmla="*/ 852488 w 1439227"/>
                <a:gd name="connsiteY27" fmla="*/ 701993 h 744855"/>
                <a:gd name="connsiteX28" fmla="*/ 830580 w 1439227"/>
                <a:gd name="connsiteY28" fmla="*/ 691515 h 744855"/>
                <a:gd name="connsiteX29" fmla="*/ 837247 w 1439227"/>
                <a:gd name="connsiteY29" fmla="*/ 671513 h 744855"/>
                <a:gd name="connsiteX30" fmla="*/ 815340 w 1439227"/>
                <a:gd name="connsiteY30" fmla="*/ 672465 h 744855"/>
                <a:gd name="connsiteX31" fmla="*/ 797243 w 1439227"/>
                <a:gd name="connsiteY31" fmla="*/ 643890 h 744855"/>
                <a:gd name="connsiteX32" fmla="*/ 763905 w 1439227"/>
                <a:gd name="connsiteY32" fmla="*/ 633413 h 744855"/>
                <a:gd name="connsiteX33" fmla="*/ 744855 w 1439227"/>
                <a:gd name="connsiteY33" fmla="*/ 655320 h 744855"/>
                <a:gd name="connsiteX34" fmla="*/ 722947 w 1439227"/>
                <a:gd name="connsiteY34" fmla="*/ 634365 h 744855"/>
                <a:gd name="connsiteX35" fmla="*/ 709613 w 1439227"/>
                <a:gd name="connsiteY35" fmla="*/ 638175 h 744855"/>
                <a:gd name="connsiteX36" fmla="*/ 690563 w 1439227"/>
                <a:gd name="connsiteY36" fmla="*/ 639128 h 744855"/>
                <a:gd name="connsiteX37" fmla="*/ 657225 w 1439227"/>
                <a:gd name="connsiteY37" fmla="*/ 621030 h 744855"/>
                <a:gd name="connsiteX38" fmla="*/ 635318 w 1439227"/>
                <a:gd name="connsiteY38" fmla="*/ 621983 h 744855"/>
                <a:gd name="connsiteX39" fmla="*/ 623888 w 1439227"/>
                <a:gd name="connsiteY39" fmla="*/ 615315 h 744855"/>
                <a:gd name="connsiteX40" fmla="*/ 619125 w 1439227"/>
                <a:gd name="connsiteY40" fmla="*/ 587693 h 744855"/>
                <a:gd name="connsiteX41" fmla="*/ 597218 w 1439227"/>
                <a:gd name="connsiteY41" fmla="*/ 571500 h 744855"/>
                <a:gd name="connsiteX42" fmla="*/ 586740 w 1439227"/>
                <a:gd name="connsiteY42" fmla="*/ 585788 h 744855"/>
                <a:gd name="connsiteX43" fmla="*/ 573405 w 1439227"/>
                <a:gd name="connsiteY43" fmla="*/ 576263 h 744855"/>
                <a:gd name="connsiteX44" fmla="*/ 561975 w 1439227"/>
                <a:gd name="connsiteY44" fmla="*/ 572453 h 744855"/>
                <a:gd name="connsiteX45" fmla="*/ 551497 w 1439227"/>
                <a:gd name="connsiteY45" fmla="*/ 581978 h 744855"/>
                <a:gd name="connsiteX46" fmla="*/ 537210 w 1439227"/>
                <a:gd name="connsiteY46" fmla="*/ 579120 h 744855"/>
                <a:gd name="connsiteX47" fmla="*/ 513397 w 1439227"/>
                <a:gd name="connsiteY47" fmla="*/ 550545 h 744855"/>
                <a:gd name="connsiteX48" fmla="*/ 487680 w 1439227"/>
                <a:gd name="connsiteY48" fmla="*/ 538163 h 744855"/>
                <a:gd name="connsiteX49" fmla="*/ 501015 w 1439227"/>
                <a:gd name="connsiteY49" fmla="*/ 131445 h 744855"/>
                <a:gd name="connsiteX50" fmla="*/ 0 w 1439227"/>
                <a:gd name="connsiteY50" fmla="*/ 100965 h 744855"/>
                <a:gd name="connsiteX51" fmla="*/ 5715 w 1439227"/>
                <a:gd name="connsiteY51" fmla="*/ 0 h 744855"/>
                <a:gd name="connsiteX52" fmla="*/ 162878 w 1439227"/>
                <a:gd name="connsiteY52" fmla="*/ 9525 h 744855"/>
                <a:gd name="connsiteX53" fmla="*/ 807720 w 1439227"/>
                <a:gd name="connsiteY53" fmla="*/ 37148 h 744855"/>
                <a:gd name="connsiteX54" fmla="*/ 1398270 w 1439227"/>
                <a:gd name="connsiteY54" fmla="*/ 38100 h 744855"/>
                <a:gd name="connsiteX55" fmla="*/ 1400175 w 1439227"/>
                <a:gd name="connsiteY55" fmla="*/ 140970 h 744855"/>
                <a:gd name="connsiteX56" fmla="*/ 1439228 w 1439227"/>
                <a:gd name="connsiteY56" fmla="*/ 373380 h 744855"/>
                <a:gd name="connsiteX57" fmla="*/ 1432560 w 1439227"/>
                <a:gd name="connsiteY57" fmla="*/ 744855 h 744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439227" h="744855">
                  <a:moveTo>
                    <a:pt x="1371600" y="726758"/>
                  </a:moveTo>
                  <a:lnTo>
                    <a:pt x="1327785" y="690563"/>
                  </a:lnTo>
                  <a:lnTo>
                    <a:pt x="1306830" y="681990"/>
                  </a:lnTo>
                  <a:lnTo>
                    <a:pt x="1302068" y="697230"/>
                  </a:lnTo>
                  <a:lnTo>
                    <a:pt x="1253490" y="700088"/>
                  </a:lnTo>
                  <a:lnTo>
                    <a:pt x="1247775" y="685800"/>
                  </a:lnTo>
                  <a:lnTo>
                    <a:pt x="1200150" y="709613"/>
                  </a:lnTo>
                  <a:lnTo>
                    <a:pt x="1184910" y="702945"/>
                  </a:lnTo>
                  <a:lnTo>
                    <a:pt x="1149668" y="705803"/>
                  </a:lnTo>
                  <a:lnTo>
                    <a:pt x="1143953" y="721995"/>
                  </a:lnTo>
                  <a:lnTo>
                    <a:pt x="1109663" y="730568"/>
                  </a:lnTo>
                  <a:lnTo>
                    <a:pt x="1097280" y="719138"/>
                  </a:lnTo>
                  <a:lnTo>
                    <a:pt x="1085850" y="720090"/>
                  </a:lnTo>
                  <a:lnTo>
                    <a:pt x="1066800" y="702945"/>
                  </a:lnTo>
                  <a:lnTo>
                    <a:pt x="1046797" y="709613"/>
                  </a:lnTo>
                  <a:lnTo>
                    <a:pt x="1027747" y="704850"/>
                  </a:lnTo>
                  <a:lnTo>
                    <a:pt x="1010603" y="685800"/>
                  </a:lnTo>
                  <a:lnTo>
                    <a:pt x="986790" y="725805"/>
                  </a:lnTo>
                  <a:lnTo>
                    <a:pt x="975360" y="733425"/>
                  </a:lnTo>
                  <a:lnTo>
                    <a:pt x="965835" y="716280"/>
                  </a:lnTo>
                  <a:lnTo>
                    <a:pt x="968693" y="697230"/>
                  </a:lnTo>
                  <a:lnTo>
                    <a:pt x="957263" y="690563"/>
                  </a:lnTo>
                  <a:lnTo>
                    <a:pt x="935355" y="714375"/>
                  </a:lnTo>
                  <a:lnTo>
                    <a:pt x="919163" y="702945"/>
                  </a:lnTo>
                  <a:lnTo>
                    <a:pt x="918210" y="688658"/>
                  </a:lnTo>
                  <a:lnTo>
                    <a:pt x="905828" y="693420"/>
                  </a:lnTo>
                  <a:lnTo>
                    <a:pt x="881063" y="677228"/>
                  </a:lnTo>
                  <a:lnTo>
                    <a:pt x="852488" y="701993"/>
                  </a:lnTo>
                  <a:lnTo>
                    <a:pt x="830580" y="691515"/>
                  </a:lnTo>
                  <a:lnTo>
                    <a:pt x="837247" y="671513"/>
                  </a:lnTo>
                  <a:lnTo>
                    <a:pt x="815340" y="672465"/>
                  </a:lnTo>
                  <a:lnTo>
                    <a:pt x="797243" y="643890"/>
                  </a:lnTo>
                  <a:lnTo>
                    <a:pt x="763905" y="633413"/>
                  </a:lnTo>
                  <a:lnTo>
                    <a:pt x="744855" y="655320"/>
                  </a:lnTo>
                  <a:lnTo>
                    <a:pt x="722947" y="634365"/>
                  </a:lnTo>
                  <a:lnTo>
                    <a:pt x="709613" y="638175"/>
                  </a:lnTo>
                  <a:lnTo>
                    <a:pt x="690563" y="639128"/>
                  </a:lnTo>
                  <a:lnTo>
                    <a:pt x="657225" y="621030"/>
                  </a:lnTo>
                  <a:lnTo>
                    <a:pt x="635318" y="621983"/>
                  </a:lnTo>
                  <a:lnTo>
                    <a:pt x="623888" y="615315"/>
                  </a:lnTo>
                  <a:lnTo>
                    <a:pt x="619125" y="587693"/>
                  </a:lnTo>
                  <a:lnTo>
                    <a:pt x="597218" y="571500"/>
                  </a:lnTo>
                  <a:lnTo>
                    <a:pt x="586740" y="585788"/>
                  </a:lnTo>
                  <a:lnTo>
                    <a:pt x="573405" y="576263"/>
                  </a:lnTo>
                  <a:lnTo>
                    <a:pt x="561975" y="572453"/>
                  </a:lnTo>
                  <a:lnTo>
                    <a:pt x="551497" y="581978"/>
                  </a:lnTo>
                  <a:lnTo>
                    <a:pt x="537210" y="579120"/>
                  </a:lnTo>
                  <a:lnTo>
                    <a:pt x="513397" y="550545"/>
                  </a:lnTo>
                  <a:lnTo>
                    <a:pt x="487680" y="538163"/>
                  </a:lnTo>
                  <a:lnTo>
                    <a:pt x="501015" y="131445"/>
                  </a:lnTo>
                  <a:lnTo>
                    <a:pt x="0" y="100965"/>
                  </a:lnTo>
                  <a:lnTo>
                    <a:pt x="5715" y="0"/>
                  </a:lnTo>
                  <a:lnTo>
                    <a:pt x="162878" y="9525"/>
                  </a:lnTo>
                  <a:lnTo>
                    <a:pt x="807720" y="37148"/>
                  </a:lnTo>
                  <a:lnTo>
                    <a:pt x="1398270" y="38100"/>
                  </a:lnTo>
                  <a:lnTo>
                    <a:pt x="1400175" y="140970"/>
                  </a:lnTo>
                  <a:lnTo>
                    <a:pt x="1439228" y="373380"/>
                  </a:lnTo>
                  <a:lnTo>
                    <a:pt x="1432560" y="744855"/>
                  </a:lnTo>
                  <a:close/>
                </a:path>
              </a:pathLst>
            </a:custGeom>
            <a:solidFill>
              <a:srgbClr val="D0D0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E67C8B85-4294-399B-D9A0-47E5BAA0FABE}"/>
                </a:ext>
              </a:extLst>
            </p:cNvPr>
            <p:cNvSpPr/>
            <p:nvPr/>
          </p:nvSpPr>
          <p:spPr>
            <a:xfrm>
              <a:off x="1781174" y="1319212"/>
              <a:ext cx="1339215" cy="1125854"/>
            </a:xfrm>
            <a:custGeom>
              <a:avLst/>
              <a:gdLst>
                <a:gd name="connsiteX0" fmla="*/ 641985 w 1339215"/>
                <a:gd name="connsiteY0" fmla="*/ 1019175 h 1125854"/>
                <a:gd name="connsiteX1" fmla="*/ 1089660 w 1339215"/>
                <a:gd name="connsiteY1" fmla="*/ 1125855 h 1125854"/>
                <a:gd name="connsiteX2" fmla="*/ 1170623 w 1339215"/>
                <a:gd name="connsiteY2" fmla="*/ 770572 h 1125854"/>
                <a:gd name="connsiteX3" fmla="*/ 1198245 w 1339215"/>
                <a:gd name="connsiteY3" fmla="*/ 715328 h 1125854"/>
                <a:gd name="connsiteX4" fmla="*/ 1202055 w 1339215"/>
                <a:gd name="connsiteY4" fmla="*/ 695325 h 1125854"/>
                <a:gd name="connsiteX5" fmla="*/ 1209675 w 1339215"/>
                <a:gd name="connsiteY5" fmla="*/ 686753 h 1125854"/>
                <a:gd name="connsiteX6" fmla="*/ 1201103 w 1339215"/>
                <a:gd name="connsiteY6" fmla="*/ 667703 h 1125854"/>
                <a:gd name="connsiteX7" fmla="*/ 1173480 w 1339215"/>
                <a:gd name="connsiteY7" fmla="*/ 656272 h 1125854"/>
                <a:gd name="connsiteX8" fmla="*/ 1175385 w 1339215"/>
                <a:gd name="connsiteY8" fmla="*/ 616268 h 1125854"/>
                <a:gd name="connsiteX9" fmla="*/ 1213485 w 1339215"/>
                <a:gd name="connsiteY9" fmla="*/ 561023 h 1125854"/>
                <a:gd name="connsiteX10" fmla="*/ 1237298 w 1339215"/>
                <a:gd name="connsiteY10" fmla="*/ 553403 h 1125854"/>
                <a:gd name="connsiteX11" fmla="*/ 1252538 w 1339215"/>
                <a:gd name="connsiteY11" fmla="*/ 531495 h 1125854"/>
                <a:gd name="connsiteX12" fmla="*/ 1251585 w 1339215"/>
                <a:gd name="connsiteY12" fmla="*/ 516255 h 1125854"/>
                <a:gd name="connsiteX13" fmla="*/ 1268730 w 1339215"/>
                <a:gd name="connsiteY13" fmla="*/ 501015 h 1125854"/>
                <a:gd name="connsiteX14" fmla="*/ 1299210 w 1339215"/>
                <a:gd name="connsiteY14" fmla="*/ 448628 h 1125854"/>
                <a:gd name="connsiteX15" fmla="*/ 1339215 w 1339215"/>
                <a:gd name="connsiteY15" fmla="*/ 402908 h 1125854"/>
                <a:gd name="connsiteX16" fmla="*/ 1334453 w 1339215"/>
                <a:gd name="connsiteY16" fmla="*/ 372428 h 1125854"/>
                <a:gd name="connsiteX17" fmla="*/ 1301115 w 1339215"/>
                <a:gd name="connsiteY17" fmla="*/ 342900 h 1125854"/>
                <a:gd name="connsiteX18" fmla="*/ 1285875 w 1339215"/>
                <a:gd name="connsiteY18" fmla="*/ 308610 h 1125854"/>
                <a:gd name="connsiteX19" fmla="*/ 997268 w 1339215"/>
                <a:gd name="connsiteY19" fmla="*/ 239077 h 1125854"/>
                <a:gd name="connsiteX20" fmla="*/ 970597 w 1339215"/>
                <a:gd name="connsiteY20" fmla="*/ 248602 h 1125854"/>
                <a:gd name="connsiteX21" fmla="*/ 919163 w 1339215"/>
                <a:gd name="connsiteY21" fmla="*/ 240030 h 1125854"/>
                <a:gd name="connsiteX22" fmla="*/ 902018 w 1339215"/>
                <a:gd name="connsiteY22" fmla="*/ 231458 h 1125854"/>
                <a:gd name="connsiteX23" fmla="*/ 887730 w 1339215"/>
                <a:gd name="connsiteY23" fmla="*/ 242888 h 1125854"/>
                <a:gd name="connsiteX24" fmla="*/ 856298 w 1339215"/>
                <a:gd name="connsiteY24" fmla="*/ 239077 h 1125854"/>
                <a:gd name="connsiteX25" fmla="*/ 813435 w 1339215"/>
                <a:gd name="connsiteY25" fmla="*/ 243840 h 1125854"/>
                <a:gd name="connsiteX26" fmla="*/ 804863 w 1339215"/>
                <a:gd name="connsiteY26" fmla="*/ 250508 h 1125854"/>
                <a:gd name="connsiteX27" fmla="*/ 764858 w 1339215"/>
                <a:gd name="connsiteY27" fmla="*/ 246698 h 1125854"/>
                <a:gd name="connsiteX28" fmla="*/ 757238 w 1339215"/>
                <a:gd name="connsiteY28" fmla="*/ 231458 h 1125854"/>
                <a:gd name="connsiteX29" fmla="*/ 745808 w 1339215"/>
                <a:gd name="connsiteY29" fmla="*/ 229552 h 1125854"/>
                <a:gd name="connsiteX30" fmla="*/ 703898 w 1339215"/>
                <a:gd name="connsiteY30" fmla="*/ 241935 h 1125854"/>
                <a:gd name="connsiteX31" fmla="*/ 688658 w 1339215"/>
                <a:gd name="connsiteY31" fmla="*/ 231458 h 1125854"/>
                <a:gd name="connsiteX32" fmla="*/ 667703 w 1339215"/>
                <a:gd name="connsiteY32" fmla="*/ 239077 h 1125854"/>
                <a:gd name="connsiteX33" fmla="*/ 665798 w 1339215"/>
                <a:gd name="connsiteY33" fmla="*/ 221933 h 1125854"/>
                <a:gd name="connsiteX34" fmla="*/ 643890 w 1339215"/>
                <a:gd name="connsiteY34" fmla="*/ 210502 h 1125854"/>
                <a:gd name="connsiteX35" fmla="*/ 629603 w 1339215"/>
                <a:gd name="connsiteY35" fmla="*/ 208598 h 1125854"/>
                <a:gd name="connsiteX36" fmla="*/ 620078 w 1339215"/>
                <a:gd name="connsiteY36" fmla="*/ 198120 h 1125854"/>
                <a:gd name="connsiteX37" fmla="*/ 591503 w 1339215"/>
                <a:gd name="connsiteY37" fmla="*/ 200977 h 1125854"/>
                <a:gd name="connsiteX38" fmla="*/ 580073 w 1339215"/>
                <a:gd name="connsiteY38" fmla="*/ 193358 h 1125854"/>
                <a:gd name="connsiteX39" fmla="*/ 568643 w 1339215"/>
                <a:gd name="connsiteY39" fmla="*/ 193358 h 1125854"/>
                <a:gd name="connsiteX40" fmla="*/ 557213 w 1339215"/>
                <a:gd name="connsiteY40" fmla="*/ 201930 h 1125854"/>
                <a:gd name="connsiteX41" fmla="*/ 504825 w 1339215"/>
                <a:gd name="connsiteY41" fmla="*/ 208598 h 1125854"/>
                <a:gd name="connsiteX42" fmla="*/ 441960 w 1339215"/>
                <a:gd name="connsiteY42" fmla="*/ 168592 h 1125854"/>
                <a:gd name="connsiteX43" fmla="*/ 452438 w 1339215"/>
                <a:gd name="connsiteY43" fmla="*/ 115252 h 1125854"/>
                <a:gd name="connsiteX44" fmla="*/ 448628 w 1339215"/>
                <a:gd name="connsiteY44" fmla="*/ 76200 h 1125854"/>
                <a:gd name="connsiteX45" fmla="*/ 418148 w 1339215"/>
                <a:gd name="connsiteY45" fmla="*/ 40957 h 1125854"/>
                <a:gd name="connsiteX46" fmla="*/ 382905 w 1339215"/>
                <a:gd name="connsiteY46" fmla="*/ 41910 h 1125854"/>
                <a:gd name="connsiteX47" fmla="*/ 379095 w 1339215"/>
                <a:gd name="connsiteY47" fmla="*/ 31432 h 1125854"/>
                <a:gd name="connsiteX48" fmla="*/ 382905 w 1339215"/>
                <a:gd name="connsiteY48" fmla="*/ 20002 h 1125854"/>
                <a:gd name="connsiteX49" fmla="*/ 376238 w 1339215"/>
                <a:gd name="connsiteY49" fmla="*/ 12382 h 1125854"/>
                <a:gd name="connsiteX50" fmla="*/ 366713 w 1339215"/>
                <a:gd name="connsiteY50" fmla="*/ 13335 h 1125854"/>
                <a:gd name="connsiteX51" fmla="*/ 356235 w 1339215"/>
                <a:gd name="connsiteY51" fmla="*/ 25718 h 1125854"/>
                <a:gd name="connsiteX52" fmla="*/ 341948 w 1339215"/>
                <a:gd name="connsiteY52" fmla="*/ 23813 h 1125854"/>
                <a:gd name="connsiteX53" fmla="*/ 337185 w 1339215"/>
                <a:gd name="connsiteY53" fmla="*/ 13335 h 1125854"/>
                <a:gd name="connsiteX54" fmla="*/ 327660 w 1339215"/>
                <a:gd name="connsiteY54" fmla="*/ 12382 h 1125854"/>
                <a:gd name="connsiteX55" fmla="*/ 320993 w 1339215"/>
                <a:gd name="connsiteY55" fmla="*/ 18098 h 1125854"/>
                <a:gd name="connsiteX56" fmla="*/ 301943 w 1339215"/>
                <a:gd name="connsiteY56" fmla="*/ 0 h 1125854"/>
                <a:gd name="connsiteX57" fmla="*/ 301943 w 1339215"/>
                <a:gd name="connsiteY57" fmla="*/ 40957 h 1125854"/>
                <a:gd name="connsiteX58" fmla="*/ 289560 w 1339215"/>
                <a:gd name="connsiteY58" fmla="*/ 53340 h 1125854"/>
                <a:gd name="connsiteX59" fmla="*/ 279083 w 1339215"/>
                <a:gd name="connsiteY59" fmla="*/ 86677 h 1125854"/>
                <a:gd name="connsiteX60" fmla="*/ 278130 w 1339215"/>
                <a:gd name="connsiteY60" fmla="*/ 108585 h 1125854"/>
                <a:gd name="connsiteX61" fmla="*/ 235268 w 1339215"/>
                <a:gd name="connsiteY61" fmla="*/ 225742 h 1125854"/>
                <a:gd name="connsiteX62" fmla="*/ 109538 w 1339215"/>
                <a:gd name="connsiteY62" fmla="*/ 523875 h 1125854"/>
                <a:gd name="connsiteX63" fmla="*/ 79057 w 1339215"/>
                <a:gd name="connsiteY63" fmla="*/ 567690 h 1125854"/>
                <a:gd name="connsiteX64" fmla="*/ 63818 w 1339215"/>
                <a:gd name="connsiteY64" fmla="*/ 566738 h 1125854"/>
                <a:gd name="connsiteX65" fmla="*/ 64770 w 1339215"/>
                <a:gd name="connsiteY65" fmla="*/ 586740 h 1125854"/>
                <a:gd name="connsiteX66" fmla="*/ 15240 w 1339215"/>
                <a:gd name="connsiteY66" fmla="*/ 654368 h 1125854"/>
                <a:gd name="connsiteX67" fmla="*/ 12382 w 1339215"/>
                <a:gd name="connsiteY67" fmla="*/ 685800 h 1125854"/>
                <a:gd name="connsiteX68" fmla="*/ 21907 w 1339215"/>
                <a:gd name="connsiteY68" fmla="*/ 698183 h 1125854"/>
                <a:gd name="connsiteX69" fmla="*/ 22860 w 1339215"/>
                <a:gd name="connsiteY69" fmla="*/ 721043 h 1125854"/>
                <a:gd name="connsiteX70" fmla="*/ 11430 w 1339215"/>
                <a:gd name="connsiteY70" fmla="*/ 731520 h 1125854"/>
                <a:gd name="connsiteX71" fmla="*/ 0 w 1339215"/>
                <a:gd name="connsiteY71" fmla="*/ 760095 h 1125854"/>
                <a:gd name="connsiteX72" fmla="*/ 953 w 1339215"/>
                <a:gd name="connsiteY72" fmla="*/ 814388 h 1125854"/>
                <a:gd name="connsiteX73" fmla="*/ 12382 w 1339215"/>
                <a:gd name="connsiteY73" fmla="*/ 842010 h 1125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1339215" h="1125854">
                  <a:moveTo>
                    <a:pt x="641985" y="1019175"/>
                  </a:moveTo>
                  <a:lnTo>
                    <a:pt x="1089660" y="1125855"/>
                  </a:lnTo>
                  <a:lnTo>
                    <a:pt x="1170623" y="770572"/>
                  </a:lnTo>
                  <a:lnTo>
                    <a:pt x="1198245" y="715328"/>
                  </a:lnTo>
                  <a:lnTo>
                    <a:pt x="1202055" y="695325"/>
                  </a:lnTo>
                  <a:lnTo>
                    <a:pt x="1209675" y="686753"/>
                  </a:lnTo>
                  <a:lnTo>
                    <a:pt x="1201103" y="667703"/>
                  </a:lnTo>
                  <a:lnTo>
                    <a:pt x="1173480" y="656272"/>
                  </a:lnTo>
                  <a:lnTo>
                    <a:pt x="1175385" y="616268"/>
                  </a:lnTo>
                  <a:lnTo>
                    <a:pt x="1213485" y="561023"/>
                  </a:lnTo>
                  <a:lnTo>
                    <a:pt x="1237298" y="553403"/>
                  </a:lnTo>
                  <a:lnTo>
                    <a:pt x="1252538" y="531495"/>
                  </a:lnTo>
                  <a:lnTo>
                    <a:pt x="1251585" y="516255"/>
                  </a:lnTo>
                  <a:lnTo>
                    <a:pt x="1268730" y="501015"/>
                  </a:lnTo>
                  <a:lnTo>
                    <a:pt x="1299210" y="448628"/>
                  </a:lnTo>
                  <a:lnTo>
                    <a:pt x="1339215" y="402908"/>
                  </a:lnTo>
                  <a:lnTo>
                    <a:pt x="1334453" y="372428"/>
                  </a:lnTo>
                  <a:lnTo>
                    <a:pt x="1301115" y="342900"/>
                  </a:lnTo>
                  <a:lnTo>
                    <a:pt x="1285875" y="308610"/>
                  </a:lnTo>
                  <a:lnTo>
                    <a:pt x="997268" y="239077"/>
                  </a:lnTo>
                  <a:lnTo>
                    <a:pt x="970597" y="248602"/>
                  </a:lnTo>
                  <a:lnTo>
                    <a:pt x="919163" y="240030"/>
                  </a:lnTo>
                  <a:lnTo>
                    <a:pt x="902018" y="231458"/>
                  </a:lnTo>
                  <a:lnTo>
                    <a:pt x="887730" y="242888"/>
                  </a:lnTo>
                  <a:lnTo>
                    <a:pt x="856298" y="239077"/>
                  </a:lnTo>
                  <a:lnTo>
                    <a:pt x="813435" y="243840"/>
                  </a:lnTo>
                  <a:lnTo>
                    <a:pt x="804863" y="250508"/>
                  </a:lnTo>
                  <a:lnTo>
                    <a:pt x="764858" y="246698"/>
                  </a:lnTo>
                  <a:lnTo>
                    <a:pt x="757238" y="231458"/>
                  </a:lnTo>
                  <a:lnTo>
                    <a:pt x="745808" y="229552"/>
                  </a:lnTo>
                  <a:lnTo>
                    <a:pt x="703898" y="241935"/>
                  </a:lnTo>
                  <a:lnTo>
                    <a:pt x="688658" y="231458"/>
                  </a:lnTo>
                  <a:lnTo>
                    <a:pt x="667703" y="239077"/>
                  </a:lnTo>
                  <a:lnTo>
                    <a:pt x="665798" y="221933"/>
                  </a:lnTo>
                  <a:lnTo>
                    <a:pt x="643890" y="210502"/>
                  </a:lnTo>
                  <a:lnTo>
                    <a:pt x="629603" y="208598"/>
                  </a:lnTo>
                  <a:lnTo>
                    <a:pt x="620078" y="198120"/>
                  </a:lnTo>
                  <a:lnTo>
                    <a:pt x="591503" y="200977"/>
                  </a:lnTo>
                  <a:lnTo>
                    <a:pt x="580073" y="193358"/>
                  </a:lnTo>
                  <a:lnTo>
                    <a:pt x="568643" y="193358"/>
                  </a:lnTo>
                  <a:lnTo>
                    <a:pt x="557213" y="201930"/>
                  </a:lnTo>
                  <a:lnTo>
                    <a:pt x="504825" y="208598"/>
                  </a:lnTo>
                  <a:lnTo>
                    <a:pt x="441960" y="168592"/>
                  </a:lnTo>
                  <a:lnTo>
                    <a:pt x="452438" y="115252"/>
                  </a:lnTo>
                  <a:lnTo>
                    <a:pt x="448628" y="76200"/>
                  </a:lnTo>
                  <a:lnTo>
                    <a:pt x="418148" y="40957"/>
                  </a:lnTo>
                  <a:lnTo>
                    <a:pt x="382905" y="41910"/>
                  </a:lnTo>
                  <a:lnTo>
                    <a:pt x="379095" y="31432"/>
                  </a:lnTo>
                  <a:lnTo>
                    <a:pt x="382905" y="20002"/>
                  </a:lnTo>
                  <a:lnTo>
                    <a:pt x="376238" y="12382"/>
                  </a:lnTo>
                  <a:lnTo>
                    <a:pt x="366713" y="13335"/>
                  </a:lnTo>
                  <a:lnTo>
                    <a:pt x="356235" y="25718"/>
                  </a:lnTo>
                  <a:lnTo>
                    <a:pt x="341948" y="23813"/>
                  </a:lnTo>
                  <a:lnTo>
                    <a:pt x="337185" y="13335"/>
                  </a:lnTo>
                  <a:lnTo>
                    <a:pt x="327660" y="12382"/>
                  </a:lnTo>
                  <a:lnTo>
                    <a:pt x="320993" y="18098"/>
                  </a:lnTo>
                  <a:lnTo>
                    <a:pt x="301943" y="0"/>
                  </a:lnTo>
                  <a:lnTo>
                    <a:pt x="301943" y="40957"/>
                  </a:lnTo>
                  <a:lnTo>
                    <a:pt x="289560" y="53340"/>
                  </a:lnTo>
                  <a:lnTo>
                    <a:pt x="279083" y="86677"/>
                  </a:lnTo>
                  <a:lnTo>
                    <a:pt x="278130" y="108585"/>
                  </a:lnTo>
                  <a:lnTo>
                    <a:pt x="235268" y="225742"/>
                  </a:lnTo>
                  <a:lnTo>
                    <a:pt x="109538" y="523875"/>
                  </a:lnTo>
                  <a:lnTo>
                    <a:pt x="79057" y="567690"/>
                  </a:lnTo>
                  <a:lnTo>
                    <a:pt x="63818" y="566738"/>
                  </a:lnTo>
                  <a:lnTo>
                    <a:pt x="64770" y="586740"/>
                  </a:lnTo>
                  <a:lnTo>
                    <a:pt x="15240" y="654368"/>
                  </a:lnTo>
                  <a:lnTo>
                    <a:pt x="12382" y="685800"/>
                  </a:lnTo>
                  <a:lnTo>
                    <a:pt x="21907" y="698183"/>
                  </a:lnTo>
                  <a:lnTo>
                    <a:pt x="22860" y="721043"/>
                  </a:lnTo>
                  <a:lnTo>
                    <a:pt x="11430" y="731520"/>
                  </a:lnTo>
                  <a:lnTo>
                    <a:pt x="0" y="760095"/>
                  </a:lnTo>
                  <a:lnTo>
                    <a:pt x="953" y="814388"/>
                  </a:lnTo>
                  <a:lnTo>
                    <a:pt x="12382" y="842010"/>
                  </a:lnTo>
                  <a:close/>
                </a:path>
              </a:pathLst>
            </a:custGeom>
            <a:solidFill>
              <a:srgbClr val="D0D0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5CD2B5D6-23F4-F05C-82A6-E3A39176B69F}"/>
                </a:ext>
              </a:extLst>
            </p:cNvPr>
            <p:cNvSpPr/>
            <p:nvPr/>
          </p:nvSpPr>
          <p:spPr>
            <a:xfrm>
              <a:off x="8500109" y="2458402"/>
              <a:ext cx="967739" cy="625792"/>
            </a:xfrm>
            <a:custGeom>
              <a:avLst/>
              <a:gdLst>
                <a:gd name="connsiteX0" fmla="*/ 899160 w 967739"/>
                <a:gd name="connsiteY0" fmla="*/ 98107 h 625792"/>
                <a:gd name="connsiteX1" fmla="*/ 881063 w 967739"/>
                <a:gd name="connsiteY1" fmla="*/ 100965 h 625792"/>
                <a:gd name="connsiteX2" fmla="*/ 852488 w 967739"/>
                <a:gd name="connsiteY2" fmla="*/ 80010 h 625792"/>
                <a:gd name="connsiteX3" fmla="*/ 823913 w 967739"/>
                <a:gd name="connsiteY3" fmla="*/ 24765 h 625792"/>
                <a:gd name="connsiteX4" fmla="*/ 804863 w 967739"/>
                <a:gd name="connsiteY4" fmla="*/ 24765 h 625792"/>
                <a:gd name="connsiteX5" fmla="*/ 801052 w 967739"/>
                <a:gd name="connsiteY5" fmla="*/ 10477 h 625792"/>
                <a:gd name="connsiteX6" fmla="*/ 784860 w 967739"/>
                <a:gd name="connsiteY6" fmla="*/ 0 h 625792"/>
                <a:gd name="connsiteX7" fmla="*/ 113347 w 967739"/>
                <a:gd name="connsiteY7" fmla="*/ 132397 h 625792"/>
                <a:gd name="connsiteX8" fmla="*/ 105727 w 967739"/>
                <a:gd name="connsiteY8" fmla="*/ 75247 h 625792"/>
                <a:gd name="connsiteX9" fmla="*/ 65722 w 967739"/>
                <a:gd name="connsiteY9" fmla="*/ 107632 h 625792"/>
                <a:gd name="connsiteX10" fmla="*/ 57150 w 967739"/>
                <a:gd name="connsiteY10" fmla="*/ 108585 h 625792"/>
                <a:gd name="connsiteX11" fmla="*/ 31432 w 967739"/>
                <a:gd name="connsiteY11" fmla="*/ 137160 h 625792"/>
                <a:gd name="connsiteX12" fmla="*/ 0 w 967739"/>
                <a:gd name="connsiteY12" fmla="*/ 153352 h 625792"/>
                <a:gd name="connsiteX13" fmla="*/ 46672 w 967739"/>
                <a:gd name="connsiteY13" fmla="*/ 438150 h 625792"/>
                <a:gd name="connsiteX14" fmla="*/ 77152 w 967739"/>
                <a:gd name="connsiteY14" fmla="*/ 625793 h 625792"/>
                <a:gd name="connsiteX15" fmla="*/ 242888 w 967739"/>
                <a:gd name="connsiteY15" fmla="*/ 598170 h 625792"/>
                <a:gd name="connsiteX16" fmla="*/ 819150 w 967739"/>
                <a:gd name="connsiteY16" fmla="*/ 485775 h 625792"/>
                <a:gd name="connsiteX17" fmla="*/ 830580 w 967739"/>
                <a:gd name="connsiteY17" fmla="*/ 465772 h 625792"/>
                <a:gd name="connsiteX18" fmla="*/ 844867 w 967739"/>
                <a:gd name="connsiteY18" fmla="*/ 455295 h 625792"/>
                <a:gd name="connsiteX19" fmla="*/ 860107 w 967739"/>
                <a:gd name="connsiteY19" fmla="*/ 452438 h 625792"/>
                <a:gd name="connsiteX20" fmla="*/ 875347 w 967739"/>
                <a:gd name="connsiteY20" fmla="*/ 458152 h 625792"/>
                <a:gd name="connsiteX21" fmla="*/ 888682 w 967739"/>
                <a:gd name="connsiteY21" fmla="*/ 441960 h 625792"/>
                <a:gd name="connsiteX22" fmla="*/ 903922 w 967739"/>
                <a:gd name="connsiteY22" fmla="*/ 436245 h 625792"/>
                <a:gd name="connsiteX23" fmla="*/ 921067 w 967739"/>
                <a:gd name="connsiteY23" fmla="*/ 407670 h 625792"/>
                <a:gd name="connsiteX24" fmla="*/ 936307 w 967739"/>
                <a:gd name="connsiteY24" fmla="*/ 385763 h 625792"/>
                <a:gd name="connsiteX25" fmla="*/ 967740 w 967739"/>
                <a:gd name="connsiteY25" fmla="*/ 360997 h 625792"/>
                <a:gd name="connsiteX26" fmla="*/ 927735 w 967739"/>
                <a:gd name="connsiteY26" fmla="*/ 330517 h 625792"/>
                <a:gd name="connsiteX27" fmla="*/ 907732 w 967739"/>
                <a:gd name="connsiteY27" fmla="*/ 320040 h 625792"/>
                <a:gd name="connsiteX28" fmla="*/ 898207 w 967739"/>
                <a:gd name="connsiteY28" fmla="*/ 293370 h 625792"/>
                <a:gd name="connsiteX29" fmla="*/ 872490 w 967739"/>
                <a:gd name="connsiteY29" fmla="*/ 284797 h 625792"/>
                <a:gd name="connsiteX30" fmla="*/ 867727 w 967739"/>
                <a:gd name="connsiteY30" fmla="*/ 250507 h 625792"/>
                <a:gd name="connsiteX31" fmla="*/ 877252 w 967739"/>
                <a:gd name="connsiteY31" fmla="*/ 240982 h 625792"/>
                <a:gd name="connsiteX32" fmla="*/ 883920 w 967739"/>
                <a:gd name="connsiteY32" fmla="*/ 221932 h 625792"/>
                <a:gd name="connsiteX33" fmla="*/ 869632 w 967739"/>
                <a:gd name="connsiteY33" fmla="*/ 204788 h 625792"/>
                <a:gd name="connsiteX34" fmla="*/ 898207 w 967739"/>
                <a:gd name="connsiteY34" fmla="*/ 153352 h 625792"/>
                <a:gd name="connsiteX35" fmla="*/ 897255 w 967739"/>
                <a:gd name="connsiteY35" fmla="*/ 132397 h 625792"/>
                <a:gd name="connsiteX36" fmla="*/ 914400 w 967739"/>
                <a:gd name="connsiteY36" fmla="*/ 108585 h 6257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967739" h="625792">
                  <a:moveTo>
                    <a:pt x="899160" y="98107"/>
                  </a:moveTo>
                  <a:lnTo>
                    <a:pt x="881063" y="100965"/>
                  </a:lnTo>
                  <a:lnTo>
                    <a:pt x="852488" y="80010"/>
                  </a:lnTo>
                  <a:lnTo>
                    <a:pt x="823913" y="24765"/>
                  </a:lnTo>
                  <a:lnTo>
                    <a:pt x="804863" y="24765"/>
                  </a:lnTo>
                  <a:lnTo>
                    <a:pt x="801052" y="10477"/>
                  </a:lnTo>
                  <a:lnTo>
                    <a:pt x="784860" y="0"/>
                  </a:lnTo>
                  <a:lnTo>
                    <a:pt x="113347" y="132397"/>
                  </a:lnTo>
                  <a:lnTo>
                    <a:pt x="105727" y="75247"/>
                  </a:lnTo>
                  <a:lnTo>
                    <a:pt x="65722" y="107632"/>
                  </a:lnTo>
                  <a:lnTo>
                    <a:pt x="57150" y="108585"/>
                  </a:lnTo>
                  <a:lnTo>
                    <a:pt x="31432" y="137160"/>
                  </a:lnTo>
                  <a:lnTo>
                    <a:pt x="0" y="153352"/>
                  </a:lnTo>
                  <a:lnTo>
                    <a:pt x="46672" y="438150"/>
                  </a:lnTo>
                  <a:lnTo>
                    <a:pt x="77152" y="625793"/>
                  </a:lnTo>
                  <a:lnTo>
                    <a:pt x="242888" y="598170"/>
                  </a:lnTo>
                  <a:lnTo>
                    <a:pt x="819150" y="485775"/>
                  </a:lnTo>
                  <a:lnTo>
                    <a:pt x="830580" y="465772"/>
                  </a:lnTo>
                  <a:lnTo>
                    <a:pt x="844867" y="455295"/>
                  </a:lnTo>
                  <a:lnTo>
                    <a:pt x="860107" y="452438"/>
                  </a:lnTo>
                  <a:lnTo>
                    <a:pt x="875347" y="458152"/>
                  </a:lnTo>
                  <a:lnTo>
                    <a:pt x="888682" y="441960"/>
                  </a:lnTo>
                  <a:lnTo>
                    <a:pt x="903922" y="436245"/>
                  </a:lnTo>
                  <a:lnTo>
                    <a:pt x="921067" y="407670"/>
                  </a:lnTo>
                  <a:lnTo>
                    <a:pt x="936307" y="385763"/>
                  </a:lnTo>
                  <a:lnTo>
                    <a:pt x="967740" y="360997"/>
                  </a:lnTo>
                  <a:lnTo>
                    <a:pt x="927735" y="330517"/>
                  </a:lnTo>
                  <a:lnTo>
                    <a:pt x="907732" y="320040"/>
                  </a:lnTo>
                  <a:lnTo>
                    <a:pt x="898207" y="293370"/>
                  </a:lnTo>
                  <a:lnTo>
                    <a:pt x="872490" y="284797"/>
                  </a:lnTo>
                  <a:lnTo>
                    <a:pt x="867727" y="250507"/>
                  </a:lnTo>
                  <a:lnTo>
                    <a:pt x="877252" y="240982"/>
                  </a:lnTo>
                  <a:lnTo>
                    <a:pt x="883920" y="221932"/>
                  </a:lnTo>
                  <a:lnTo>
                    <a:pt x="869632" y="204788"/>
                  </a:lnTo>
                  <a:lnTo>
                    <a:pt x="898207" y="153352"/>
                  </a:lnTo>
                  <a:lnTo>
                    <a:pt x="897255" y="132397"/>
                  </a:lnTo>
                  <a:lnTo>
                    <a:pt x="914400" y="108585"/>
                  </a:lnTo>
                  <a:close/>
                </a:path>
              </a:pathLst>
            </a:custGeom>
            <a:solidFill>
              <a:srgbClr val="D0D0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B01FC258-4D9A-E2D6-898A-500399F8D321}"/>
                </a:ext>
              </a:extLst>
            </p:cNvPr>
            <p:cNvSpPr/>
            <p:nvPr/>
          </p:nvSpPr>
          <p:spPr>
            <a:xfrm>
              <a:off x="9822179" y="2309812"/>
              <a:ext cx="132397" cy="184784"/>
            </a:xfrm>
            <a:custGeom>
              <a:avLst/>
              <a:gdLst>
                <a:gd name="connsiteX0" fmla="*/ 119063 w 132397"/>
                <a:gd name="connsiteY0" fmla="*/ 68580 h 184784"/>
                <a:gd name="connsiteX1" fmla="*/ 106680 w 132397"/>
                <a:gd name="connsiteY1" fmla="*/ 58103 h 184784"/>
                <a:gd name="connsiteX2" fmla="*/ 81915 w 132397"/>
                <a:gd name="connsiteY2" fmla="*/ 45720 h 184784"/>
                <a:gd name="connsiteX3" fmla="*/ 76200 w 132397"/>
                <a:gd name="connsiteY3" fmla="*/ 24765 h 184784"/>
                <a:gd name="connsiteX4" fmla="*/ 68580 w 132397"/>
                <a:gd name="connsiteY4" fmla="*/ 24765 h 184784"/>
                <a:gd name="connsiteX5" fmla="*/ 61913 w 132397"/>
                <a:gd name="connsiteY5" fmla="*/ 0 h 184784"/>
                <a:gd name="connsiteX6" fmla="*/ 0 w 132397"/>
                <a:gd name="connsiteY6" fmla="*/ 19050 h 184784"/>
                <a:gd name="connsiteX7" fmla="*/ 30480 w 132397"/>
                <a:gd name="connsiteY7" fmla="*/ 136208 h 184784"/>
                <a:gd name="connsiteX8" fmla="*/ 26670 w 132397"/>
                <a:gd name="connsiteY8" fmla="*/ 146685 h 184784"/>
                <a:gd name="connsiteX9" fmla="*/ 30480 w 132397"/>
                <a:gd name="connsiteY9" fmla="*/ 163830 h 184784"/>
                <a:gd name="connsiteX10" fmla="*/ 83820 w 132397"/>
                <a:gd name="connsiteY10" fmla="*/ 129540 h 184784"/>
                <a:gd name="connsiteX11" fmla="*/ 84772 w 132397"/>
                <a:gd name="connsiteY11" fmla="*/ 100965 h 184784"/>
                <a:gd name="connsiteX12" fmla="*/ 77152 w 132397"/>
                <a:gd name="connsiteY12" fmla="*/ 93345 h 184784"/>
                <a:gd name="connsiteX13" fmla="*/ 80963 w 132397"/>
                <a:gd name="connsiteY13" fmla="*/ 87630 h 184784"/>
                <a:gd name="connsiteX14" fmla="*/ 80010 w 132397"/>
                <a:gd name="connsiteY14" fmla="*/ 75247 h 184784"/>
                <a:gd name="connsiteX15" fmla="*/ 71438 w 132397"/>
                <a:gd name="connsiteY15" fmla="*/ 68580 h 184784"/>
                <a:gd name="connsiteX16" fmla="*/ 82868 w 132397"/>
                <a:gd name="connsiteY16" fmla="*/ 64770 h 184784"/>
                <a:gd name="connsiteX17" fmla="*/ 74295 w 132397"/>
                <a:gd name="connsiteY17" fmla="*/ 49530 h 184784"/>
                <a:gd name="connsiteX18" fmla="*/ 91440 w 132397"/>
                <a:gd name="connsiteY18" fmla="*/ 56197 h 184784"/>
                <a:gd name="connsiteX19" fmla="*/ 94297 w 132397"/>
                <a:gd name="connsiteY19" fmla="*/ 69533 h 184784"/>
                <a:gd name="connsiteX20" fmla="*/ 100965 w 132397"/>
                <a:gd name="connsiteY20" fmla="*/ 80963 h 184784"/>
                <a:gd name="connsiteX21" fmla="*/ 87630 w 132397"/>
                <a:gd name="connsiteY21" fmla="*/ 73342 h 184784"/>
                <a:gd name="connsiteX22" fmla="*/ 98107 w 132397"/>
                <a:gd name="connsiteY22" fmla="*/ 89535 h 184784"/>
                <a:gd name="connsiteX23" fmla="*/ 95250 w 132397"/>
                <a:gd name="connsiteY23" fmla="*/ 100965 h 184784"/>
                <a:gd name="connsiteX24" fmla="*/ 89535 w 132397"/>
                <a:gd name="connsiteY24" fmla="*/ 90488 h 184784"/>
                <a:gd name="connsiteX25" fmla="*/ 89535 w 132397"/>
                <a:gd name="connsiteY25" fmla="*/ 114300 h 184784"/>
                <a:gd name="connsiteX26" fmla="*/ 95250 w 132397"/>
                <a:gd name="connsiteY26" fmla="*/ 105728 h 184784"/>
                <a:gd name="connsiteX27" fmla="*/ 99060 w 132397"/>
                <a:gd name="connsiteY27" fmla="*/ 114300 h 184784"/>
                <a:gd name="connsiteX28" fmla="*/ 111443 w 132397"/>
                <a:gd name="connsiteY28" fmla="*/ 100013 h 184784"/>
                <a:gd name="connsiteX29" fmla="*/ 109538 w 132397"/>
                <a:gd name="connsiteY29" fmla="*/ 76200 h 184784"/>
                <a:gd name="connsiteX30" fmla="*/ 122872 w 132397"/>
                <a:gd name="connsiteY30" fmla="*/ 105728 h 184784"/>
                <a:gd name="connsiteX31" fmla="*/ 132397 w 132397"/>
                <a:gd name="connsiteY31" fmla="*/ 97155 h 184784"/>
                <a:gd name="connsiteX32" fmla="*/ 74295 w 132397"/>
                <a:gd name="connsiteY32" fmla="*/ 184785 h 184784"/>
                <a:gd name="connsiteX33" fmla="*/ 82868 w 132397"/>
                <a:gd name="connsiteY33" fmla="*/ 184785 h 184784"/>
                <a:gd name="connsiteX34" fmla="*/ 87630 w 132397"/>
                <a:gd name="connsiteY34" fmla="*/ 179070 h 184784"/>
                <a:gd name="connsiteX35" fmla="*/ 80010 w 132397"/>
                <a:gd name="connsiteY35" fmla="*/ 166688 h 184784"/>
                <a:gd name="connsiteX36" fmla="*/ 73343 w 132397"/>
                <a:gd name="connsiteY36" fmla="*/ 173355 h 184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132397" h="184784">
                  <a:moveTo>
                    <a:pt x="119063" y="68580"/>
                  </a:moveTo>
                  <a:lnTo>
                    <a:pt x="106680" y="58103"/>
                  </a:lnTo>
                  <a:lnTo>
                    <a:pt x="81915" y="45720"/>
                  </a:lnTo>
                  <a:lnTo>
                    <a:pt x="76200" y="24765"/>
                  </a:lnTo>
                  <a:lnTo>
                    <a:pt x="68580" y="24765"/>
                  </a:lnTo>
                  <a:lnTo>
                    <a:pt x="61913" y="0"/>
                  </a:lnTo>
                  <a:lnTo>
                    <a:pt x="0" y="19050"/>
                  </a:lnTo>
                  <a:lnTo>
                    <a:pt x="30480" y="136208"/>
                  </a:lnTo>
                  <a:lnTo>
                    <a:pt x="26670" y="146685"/>
                  </a:lnTo>
                  <a:lnTo>
                    <a:pt x="30480" y="163830"/>
                  </a:lnTo>
                  <a:lnTo>
                    <a:pt x="83820" y="129540"/>
                  </a:lnTo>
                  <a:lnTo>
                    <a:pt x="84772" y="100965"/>
                  </a:lnTo>
                  <a:lnTo>
                    <a:pt x="77152" y="93345"/>
                  </a:lnTo>
                  <a:lnTo>
                    <a:pt x="80963" y="87630"/>
                  </a:lnTo>
                  <a:lnTo>
                    <a:pt x="80010" y="75247"/>
                  </a:lnTo>
                  <a:lnTo>
                    <a:pt x="71438" y="68580"/>
                  </a:lnTo>
                  <a:lnTo>
                    <a:pt x="82868" y="64770"/>
                  </a:lnTo>
                  <a:lnTo>
                    <a:pt x="74295" y="49530"/>
                  </a:lnTo>
                  <a:lnTo>
                    <a:pt x="91440" y="56197"/>
                  </a:lnTo>
                  <a:lnTo>
                    <a:pt x="94297" y="69533"/>
                  </a:lnTo>
                  <a:lnTo>
                    <a:pt x="100965" y="80963"/>
                  </a:lnTo>
                  <a:lnTo>
                    <a:pt x="87630" y="73342"/>
                  </a:lnTo>
                  <a:lnTo>
                    <a:pt x="98107" y="89535"/>
                  </a:lnTo>
                  <a:lnTo>
                    <a:pt x="95250" y="100965"/>
                  </a:lnTo>
                  <a:lnTo>
                    <a:pt x="89535" y="90488"/>
                  </a:lnTo>
                  <a:lnTo>
                    <a:pt x="89535" y="114300"/>
                  </a:lnTo>
                  <a:lnTo>
                    <a:pt x="95250" y="105728"/>
                  </a:lnTo>
                  <a:lnTo>
                    <a:pt x="99060" y="114300"/>
                  </a:lnTo>
                  <a:lnTo>
                    <a:pt x="111443" y="100013"/>
                  </a:lnTo>
                  <a:lnTo>
                    <a:pt x="109538" y="76200"/>
                  </a:lnTo>
                  <a:lnTo>
                    <a:pt x="122872" y="105728"/>
                  </a:lnTo>
                  <a:lnTo>
                    <a:pt x="132397" y="97155"/>
                  </a:lnTo>
                  <a:close/>
                  <a:moveTo>
                    <a:pt x="74295" y="184785"/>
                  </a:moveTo>
                  <a:lnTo>
                    <a:pt x="82868" y="184785"/>
                  </a:lnTo>
                  <a:lnTo>
                    <a:pt x="87630" y="179070"/>
                  </a:lnTo>
                  <a:lnTo>
                    <a:pt x="80010" y="166688"/>
                  </a:lnTo>
                  <a:lnTo>
                    <a:pt x="73343" y="173355"/>
                  </a:lnTo>
                  <a:close/>
                </a:path>
              </a:pathLst>
            </a:custGeom>
            <a:solidFill>
              <a:srgbClr val="D0D0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9D362407-B2F7-2BF3-7E7A-4CA2FD2DFF76}"/>
                </a:ext>
              </a:extLst>
            </p:cNvPr>
            <p:cNvSpPr/>
            <p:nvPr/>
          </p:nvSpPr>
          <p:spPr>
            <a:xfrm>
              <a:off x="8267699" y="4054792"/>
              <a:ext cx="850582" cy="638175"/>
            </a:xfrm>
            <a:custGeom>
              <a:avLst/>
              <a:gdLst>
                <a:gd name="connsiteX0" fmla="*/ 617220 w 850582"/>
                <a:gd name="connsiteY0" fmla="*/ 33338 h 638175"/>
                <a:gd name="connsiteX1" fmla="*/ 429577 w 850582"/>
                <a:gd name="connsiteY1" fmla="*/ 60007 h 638175"/>
                <a:gd name="connsiteX2" fmla="*/ 428625 w 850582"/>
                <a:gd name="connsiteY2" fmla="*/ 35242 h 638175"/>
                <a:gd name="connsiteX3" fmla="*/ 397193 w 850582"/>
                <a:gd name="connsiteY3" fmla="*/ 6667 h 638175"/>
                <a:gd name="connsiteX4" fmla="*/ 385763 w 850582"/>
                <a:gd name="connsiteY4" fmla="*/ 20955 h 638175"/>
                <a:gd name="connsiteX5" fmla="*/ 379095 w 850582"/>
                <a:gd name="connsiteY5" fmla="*/ 18097 h 638175"/>
                <a:gd name="connsiteX6" fmla="*/ 381000 w 850582"/>
                <a:gd name="connsiteY6" fmla="*/ 4763 h 638175"/>
                <a:gd name="connsiteX7" fmla="*/ 377190 w 850582"/>
                <a:gd name="connsiteY7" fmla="*/ 0 h 638175"/>
                <a:gd name="connsiteX8" fmla="*/ 156210 w 850582"/>
                <a:gd name="connsiteY8" fmla="*/ 20955 h 638175"/>
                <a:gd name="connsiteX9" fmla="*/ 86677 w 850582"/>
                <a:gd name="connsiteY9" fmla="*/ 61913 h 638175"/>
                <a:gd name="connsiteX10" fmla="*/ 74295 w 850582"/>
                <a:gd name="connsiteY10" fmla="*/ 62865 h 638175"/>
                <a:gd name="connsiteX11" fmla="*/ 32385 w 850582"/>
                <a:gd name="connsiteY11" fmla="*/ 80963 h 638175"/>
                <a:gd name="connsiteX12" fmla="*/ 31432 w 850582"/>
                <a:gd name="connsiteY12" fmla="*/ 99060 h 638175"/>
                <a:gd name="connsiteX13" fmla="*/ 13335 w 850582"/>
                <a:gd name="connsiteY13" fmla="*/ 108585 h 638175"/>
                <a:gd name="connsiteX14" fmla="*/ 0 w 850582"/>
                <a:gd name="connsiteY14" fmla="*/ 139065 h 638175"/>
                <a:gd name="connsiteX15" fmla="*/ 1905 w 850582"/>
                <a:gd name="connsiteY15" fmla="*/ 151447 h 638175"/>
                <a:gd name="connsiteX16" fmla="*/ 60007 w 850582"/>
                <a:gd name="connsiteY16" fmla="*/ 187642 h 638175"/>
                <a:gd name="connsiteX17" fmla="*/ 84773 w 850582"/>
                <a:gd name="connsiteY17" fmla="*/ 184785 h 638175"/>
                <a:gd name="connsiteX18" fmla="*/ 114300 w 850582"/>
                <a:gd name="connsiteY18" fmla="*/ 222885 h 638175"/>
                <a:gd name="connsiteX19" fmla="*/ 118110 w 850582"/>
                <a:gd name="connsiteY19" fmla="*/ 239077 h 638175"/>
                <a:gd name="connsiteX20" fmla="*/ 158115 w 850582"/>
                <a:gd name="connsiteY20" fmla="*/ 287655 h 638175"/>
                <a:gd name="connsiteX21" fmla="*/ 182880 w 850582"/>
                <a:gd name="connsiteY21" fmla="*/ 303847 h 638175"/>
                <a:gd name="connsiteX22" fmla="*/ 196215 w 850582"/>
                <a:gd name="connsiteY22" fmla="*/ 305752 h 638175"/>
                <a:gd name="connsiteX23" fmla="*/ 217170 w 850582"/>
                <a:gd name="connsiteY23" fmla="*/ 320992 h 638175"/>
                <a:gd name="connsiteX24" fmla="*/ 227648 w 850582"/>
                <a:gd name="connsiteY24" fmla="*/ 341947 h 638175"/>
                <a:gd name="connsiteX25" fmla="*/ 246698 w 850582"/>
                <a:gd name="connsiteY25" fmla="*/ 357188 h 638175"/>
                <a:gd name="connsiteX26" fmla="*/ 263843 w 850582"/>
                <a:gd name="connsiteY26" fmla="*/ 361950 h 638175"/>
                <a:gd name="connsiteX27" fmla="*/ 289560 w 850582"/>
                <a:gd name="connsiteY27" fmla="*/ 387667 h 638175"/>
                <a:gd name="connsiteX28" fmla="*/ 290513 w 850582"/>
                <a:gd name="connsiteY28" fmla="*/ 401002 h 638175"/>
                <a:gd name="connsiteX29" fmla="*/ 315277 w 850582"/>
                <a:gd name="connsiteY29" fmla="*/ 427672 h 638175"/>
                <a:gd name="connsiteX30" fmla="*/ 362902 w 850582"/>
                <a:gd name="connsiteY30" fmla="*/ 449580 h 638175"/>
                <a:gd name="connsiteX31" fmla="*/ 397193 w 850582"/>
                <a:gd name="connsiteY31" fmla="*/ 513397 h 638175"/>
                <a:gd name="connsiteX32" fmla="*/ 400050 w 850582"/>
                <a:gd name="connsiteY32" fmla="*/ 539115 h 638175"/>
                <a:gd name="connsiteX33" fmla="*/ 437198 w 850582"/>
                <a:gd name="connsiteY33" fmla="*/ 559117 h 638175"/>
                <a:gd name="connsiteX34" fmla="*/ 461010 w 850582"/>
                <a:gd name="connsiteY34" fmla="*/ 604838 h 638175"/>
                <a:gd name="connsiteX35" fmla="*/ 468630 w 850582"/>
                <a:gd name="connsiteY35" fmla="*/ 634365 h 638175"/>
                <a:gd name="connsiteX36" fmla="*/ 508635 w 850582"/>
                <a:gd name="connsiteY36" fmla="*/ 638175 h 638175"/>
                <a:gd name="connsiteX37" fmla="*/ 516255 w 850582"/>
                <a:gd name="connsiteY37" fmla="*/ 623888 h 638175"/>
                <a:gd name="connsiteX38" fmla="*/ 521970 w 850582"/>
                <a:gd name="connsiteY38" fmla="*/ 623888 h 638175"/>
                <a:gd name="connsiteX39" fmla="*/ 539115 w 850582"/>
                <a:gd name="connsiteY39" fmla="*/ 609600 h 638175"/>
                <a:gd name="connsiteX40" fmla="*/ 543877 w 850582"/>
                <a:gd name="connsiteY40" fmla="*/ 590550 h 638175"/>
                <a:gd name="connsiteX41" fmla="*/ 574357 w 850582"/>
                <a:gd name="connsiteY41" fmla="*/ 570547 h 638175"/>
                <a:gd name="connsiteX42" fmla="*/ 577215 w 850582"/>
                <a:gd name="connsiteY42" fmla="*/ 547688 h 638175"/>
                <a:gd name="connsiteX43" fmla="*/ 565785 w 850582"/>
                <a:gd name="connsiteY43" fmla="*/ 539115 h 638175"/>
                <a:gd name="connsiteX44" fmla="*/ 573405 w 850582"/>
                <a:gd name="connsiteY44" fmla="*/ 532447 h 638175"/>
                <a:gd name="connsiteX45" fmla="*/ 581025 w 850582"/>
                <a:gd name="connsiteY45" fmla="*/ 536257 h 638175"/>
                <a:gd name="connsiteX46" fmla="*/ 593407 w 850582"/>
                <a:gd name="connsiteY46" fmla="*/ 532447 h 638175"/>
                <a:gd name="connsiteX47" fmla="*/ 610552 w 850582"/>
                <a:gd name="connsiteY47" fmla="*/ 512445 h 638175"/>
                <a:gd name="connsiteX48" fmla="*/ 646748 w 850582"/>
                <a:gd name="connsiteY48" fmla="*/ 495300 h 638175"/>
                <a:gd name="connsiteX49" fmla="*/ 661988 w 850582"/>
                <a:gd name="connsiteY49" fmla="*/ 472440 h 638175"/>
                <a:gd name="connsiteX50" fmla="*/ 662940 w 850582"/>
                <a:gd name="connsiteY50" fmla="*/ 465772 h 638175"/>
                <a:gd name="connsiteX51" fmla="*/ 708660 w 850582"/>
                <a:gd name="connsiteY51" fmla="*/ 423863 h 638175"/>
                <a:gd name="connsiteX52" fmla="*/ 707707 w 850582"/>
                <a:gd name="connsiteY52" fmla="*/ 419100 h 638175"/>
                <a:gd name="connsiteX53" fmla="*/ 699135 w 850582"/>
                <a:gd name="connsiteY53" fmla="*/ 411480 h 638175"/>
                <a:gd name="connsiteX54" fmla="*/ 709613 w 850582"/>
                <a:gd name="connsiteY54" fmla="*/ 397192 h 638175"/>
                <a:gd name="connsiteX55" fmla="*/ 717232 w 850582"/>
                <a:gd name="connsiteY55" fmla="*/ 397192 h 638175"/>
                <a:gd name="connsiteX56" fmla="*/ 721043 w 850582"/>
                <a:gd name="connsiteY56" fmla="*/ 401955 h 638175"/>
                <a:gd name="connsiteX57" fmla="*/ 727710 w 850582"/>
                <a:gd name="connsiteY57" fmla="*/ 394335 h 638175"/>
                <a:gd name="connsiteX58" fmla="*/ 740093 w 850582"/>
                <a:gd name="connsiteY58" fmla="*/ 394335 h 638175"/>
                <a:gd name="connsiteX59" fmla="*/ 745807 w 850582"/>
                <a:gd name="connsiteY59" fmla="*/ 380047 h 638175"/>
                <a:gd name="connsiteX60" fmla="*/ 767715 w 850582"/>
                <a:gd name="connsiteY60" fmla="*/ 360045 h 638175"/>
                <a:gd name="connsiteX61" fmla="*/ 764857 w 850582"/>
                <a:gd name="connsiteY61" fmla="*/ 308610 h 638175"/>
                <a:gd name="connsiteX62" fmla="*/ 772477 w 850582"/>
                <a:gd name="connsiteY62" fmla="*/ 286702 h 638175"/>
                <a:gd name="connsiteX63" fmla="*/ 806768 w 850582"/>
                <a:gd name="connsiteY63" fmla="*/ 227647 h 638175"/>
                <a:gd name="connsiteX64" fmla="*/ 829627 w 850582"/>
                <a:gd name="connsiteY64" fmla="*/ 206692 h 638175"/>
                <a:gd name="connsiteX65" fmla="*/ 850582 w 850582"/>
                <a:gd name="connsiteY65" fmla="*/ 196215 h 63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850582" h="638175">
                  <a:moveTo>
                    <a:pt x="617220" y="33338"/>
                  </a:moveTo>
                  <a:lnTo>
                    <a:pt x="429577" y="60007"/>
                  </a:lnTo>
                  <a:lnTo>
                    <a:pt x="428625" y="35242"/>
                  </a:lnTo>
                  <a:lnTo>
                    <a:pt x="397193" y="6667"/>
                  </a:lnTo>
                  <a:lnTo>
                    <a:pt x="385763" y="20955"/>
                  </a:lnTo>
                  <a:lnTo>
                    <a:pt x="379095" y="18097"/>
                  </a:lnTo>
                  <a:lnTo>
                    <a:pt x="381000" y="4763"/>
                  </a:lnTo>
                  <a:lnTo>
                    <a:pt x="377190" y="0"/>
                  </a:lnTo>
                  <a:lnTo>
                    <a:pt x="156210" y="20955"/>
                  </a:lnTo>
                  <a:lnTo>
                    <a:pt x="86677" y="61913"/>
                  </a:lnTo>
                  <a:lnTo>
                    <a:pt x="74295" y="62865"/>
                  </a:lnTo>
                  <a:lnTo>
                    <a:pt x="32385" y="80963"/>
                  </a:lnTo>
                  <a:lnTo>
                    <a:pt x="31432" y="99060"/>
                  </a:lnTo>
                  <a:lnTo>
                    <a:pt x="13335" y="108585"/>
                  </a:lnTo>
                  <a:lnTo>
                    <a:pt x="0" y="139065"/>
                  </a:lnTo>
                  <a:lnTo>
                    <a:pt x="1905" y="151447"/>
                  </a:lnTo>
                  <a:lnTo>
                    <a:pt x="60007" y="187642"/>
                  </a:lnTo>
                  <a:lnTo>
                    <a:pt x="84773" y="184785"/>
                  </a:lnTo>
                  <a:lnTo>
                    <a:pt x="114300" y="222885"/>
                  </a:lnTo>
                  <a:lnTo>
                    <a:pt x="118110" y="239077"/>
                  </a:lnTo>
                  <a:lnTo>
                    <a:pt x="158115" y="287655"/>
                  </a:lnTo>
                  <a:lnTo>
                    <a:pt x="182880" y="303847"/>
                  </a:lnTo>
                  <a:lnTo>
                    <a:pt x="196215" y="305752"/>
                  </a:lnTo>
                  <a:lnTo>
                    <a:pt x="217170" y="320992"/>
                  </a:lnTo>
                  <a:lnTo>
                    <a:pt x="227648" y="341947"/>
                  </a:lnTo>
                  <a:lnTo>
                    <a:pt x="246698" y="357188"/>
                  </a:lnTo>
                  <a:lnTo>
                    <a:pt x="263843" y="361950"/>
                  </a:lnTo>
                  <a:lnTo>
                    <a:pt x="289560" y="387667"/>
                  </a:lnTo>
                  <a:lnTo>
                    <a:pt x="290513" y="401002"/>
                  </a:lnTo>
                  <a:lnTo>
                    <a:pt x="315277" y="427672"/>
                  </a:lnTo>
                  <a:lnTo>
                    <a:pt x="362902" y="449580"/>
                  </a:lnTo>
                  <a:lnTo>
                    <a:pt x="397193" y="513397"/>
                  </a:lnTo>
                  <a:lnTo>
                    <a:pt x="400050" y="539115"/>
                  </a:lnTo>
                  <a:lnTo>
                    <a:pt x="437198" y="559117"/>
                  </a:lnTo>
                  <a:lnTo>
                    <a:pt x="461010" y="604838"/>
                  </a:lnTo>
                  <a:lnTo>
                    <a:pt x="468630" y="634365"/>
                  </a:lnTo>
                  <a:lnTo>
                    <a:pt x="508635" y="638175"/>
                  </a:lnTo>
                  <a:lnTo>
                    <a:pt x="516255" y="623888"/>
                  </a:lnTo>
                  <a:lnTo>
                    <a:pt x="521970" y="623888"/>
                  </a:lnTo>
                  <a:lnTo>
                    <a:pt x="539115" y="609600"/>
                  </a:lnTo>
                  <a:lnTo>
                    <a:pt x="543877" y="590550"/>
                  </a:lnTo>
                  <a:lnTo>
                    <a:pt x="574357" y="570547"/>
                  </a:lnTo>
                  <a:lnTo>
                    <a:pt x="577215" y="547688"/>
                  </a:lnTo>
                  <a:lnTo>
                    <a:pt x="565785" y="539115"/>
                  </a:lnTo>
                  <a:lnTo>
                    <a:pt x="573405" y="532447"/>
                  </a:lnTo>
                  <a:lnTo>
                    <a:pt x="581025" y="536257"/>
                  </a:lnTo>
                  <a:lnTo>
                    <a:pt x="593407" y="532447"/>
                  </a:lnTo>
                  <a:lnTo>
                    <a:pt x="610552" y="512445"/>
                  </a:lnTo>
                  <a:lnTo>
                    <a:pt x="646748" y="495300"/>
                  </a:lnTo>
                  <a:lnTo>
                    <a:pt x="661988" y="472440"/>
                  </a:lnTo>
                  <a:lnTo>
                    <a:pt x="662940" y="465772"/>
                  </a:lnTo>
                  <a:lnTo>
                    <a:pt x="708660" y="423863"/>
                  </a:lnTo>
                  <a:lnTo>
                    <a:pt x="707707" y="419100"/>
                  </a:lnTo>
                  <a:lnTo>
                    <a:pt x="699135" y="411480"/>
                  </a:lnTo>
                  <a:lnTo>
                    <a:pt x="709613" y="397192"/>
                  </a:lnTo>
                  <a:lnTo>
                    <a:pt x="717232" y="397192"/>
                  </a:lnTo>
                  <a:lnTo>
                    <a:pt x="721043" y="401955"/>
                  </a:lnTo>
                  <a:lnTo>
                    <a:pt x="727710" y="394335"/>
                  </a:lnTo>
                  <a:lnTo>
                    <a:pt x="740093" y="394335"/>
                  </a:lnTo>
                  <a:lnTo>
                    <a:pt x="745807" y="380047"/>
                  </a:lnTo>
                  <a:lnTo>
                    <a:pt x="767715" y="360045"/>
                  </a:lnTo>
                  <a:lnTo>
                    <a:pt x="764857" y="308610"/>
                  </a:lnTo>
                  <a:lnTo>
                    <a:pt x="772477" y="286702"/>
                  </a:lnTo>
                  <a:lnTo>
                    <a:pt x="806768" y="227647"/>
                  </a:lnTo>
                  <a:lnTo>
                    <a:pt x="829627" y="206692"/>
                  </a:lnTo>
                  <a:lnTo>
                    <a:pt x="850582" y="196215"/>
                  </a:lnTo>
                  <a:close/>
                </a:path>
              </a:pathLst>
            </a:custGeom>
            <a:solidFill>
              <a:srgbClr val="D0D0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6AB200E0-39EF-CCBE-D61F-91157576E240}"/>
                </a:ext>
              </a:extLst>
            </p:cNvPr>
            <p:cNvSpPr/>
            <p:nvPr/>
          </p:nvSpPr>
          <p:spPr>
            <a:xfrm>
              <a:off x="4875846" y="1924050"/>
              <a:ext cx="1166812" cy="775334"/>
            </a:xfrm>
            <a:custGeom>
              <a:avLst/>
              <a:gdLst>
                <a:gd name="connsiteX0" fmla="*/ 429578 w 1166812"/>
                <a:gd name="connsiteY0" fmla="*/ 27623 h 775334"/>
                <a:gd name="connsiteX1" fmla="*/ 867728 w 1166812"/>
                <a:gd name="connsiteY1" fmla="*/ 47625 h 775334"/>
                <a:gd name="connsiteX2" fmla="*/ 1148715 w 1166812"/>
                <a:gd name="connsiteY2" fmla="*/ 51435 h 775334"/>
                <a:gd name="connsiteX3" fmla="*/ 1147763 w 1166812"/>
                <a:gd name="connsiteY3" fmla="*/ 72390 h 775334"/>
                <a:gd name="connsiteX4" fmla="*/ 1139190 w 1166812"/>
                <a:gd name="connsiteY4" fmla="*/ 91440 h 775334"/>
                <a:gd name="connsiteX5" fmla="*/ 1109663 w 1166812"/>
                <a:gd name="connsiteY5" fmla="*/ 109538 h 775334"/>
                <a:gd name="connsiteX6" fmla="*/ 1106805 w 1166812"/>
                <a:gd name="connsiteY6" fmla="*/ 120967 h 775334"/>
                <a:gd name="connsiteX7" fmla="*/ 1122998 w 1166812"/>
                <a:gd name="connsiteY7" fmla="*/ 144780 h 775334"/>
                <a:gd name="connsiteX8" fmla="*/ 1126808 w 1166812"/>
                <a:gd name="connsiteY8" fmla="*/ 161925 h 775334"/>
                <a:gd name="connsiteX9" fmla="*/ 1151573 w 1166812"/>
                <a:gd name="connsiteY9" fmla="*/ 167640 h 775334"/>
                <a:gd name="connsiteX10" fmla="*/ 1165860 w 1166812"/>
                <a:gd name="connsiteY10" fmla="*/ 185738 h 775334"/>
                <a:gd name="connsiteX11" fmla="*/ 1163955 w 1166812"/>
                <a:gd name="connsiteY11" fmla="*/ 561975 h 775334"/>
                <a:gd name="connsiteX12" fmla="*/ 1143000 w 1166812"/>
                <a:gd name="connsiteY12" fmla="*/ 561022 h 775334"/>
                <a:gd name="connsiteX13" fmla="*/ 1142048 w 1166812"/>
                <a:gd name="connsiteY13" fmla="*/ 576263 h 775334"/>
                <a:gd name="connsiteX14" fmla="*/ 1154430 w 1166812"/>
                <a:gd name="connsiteY14" fmla="*/ 590550 h 775334"/>
                <a:gd name="connsiteX15" fmla="*/ 1153478 w 1166812"/>
                <a:gd name="connsiteY15" fmla="*/ 601028 h 775334"/>
                <a:gd name="connsiteX16" fmla="*/ 1143953 w 1166812"/>
                <a:gd name="connsiteY16" fmla="*/ 605790 h 775334"/>
                <a:gd name="connsiteX17" fmla="*/ 1147763 w 1166812"/>
                <a:gd name="connsiteY17" fmla="*/ 621030 h 775334"/>
                <a:gd name="connsiteX18" fmla="*/ 1160145 w 1166812"/>
                <a:gd name="connsiteY18" fmla="*/ 624840 h 775334"/>
                <a:gd name="connsiteX19" fmla="*/ 1166813 w 1166812"/>
                <a:gd name="connsiteY19" fmla="*/ 643890 h 775334"/>
                <a:gd name="connsiteX20" fmla="*/ 1150620 w 1166812"/>
                <a:gd name="connsiteY20" fmla="*/ 692468 h 775334"/>
                <a:gd name="connsiteX21" fmla="*/ 1141095 w 1166812"/>
                <a:gd name="connsiteY21" fmla="*/ 733425 h 775334"/>
                <a:gd name="connsiteX22" fmla="*/ 1153478 w 1166812"/>
                <a:gd name="connsiteY22" fmla="*/ 744855 h 775334"/>
                <a:gd name="connsiteX23" fmla="*/ 1156335 w 1166812"/>
                <a:gd name="connsiteY23" fmla="*/ 757238 h 775334"/>
                <a:gd name="connsiteX24" fmla="*/ 1163003 w 1166812"/>
                <a:gd name="connsiteY24" fmla="*/ 773430 h 775334"/>
                <a:gd name="connsiteX25" fmla="*/ 1148715 w 1166812"/>
                <a:gd name="connsiteY25" fmla="*/ 775335 h 775334"/>
                <a:gd name="connsiteX26" fmla="*/ 1131570 w 1166812"/>
                <a:gd name="connsiteY26" fmla="*/ 768668 h 775334"/>
                <a:gd name="connsiteX27" fmla="*/ 1122998 w 1166812"/>
                <a:gd name="connsiteY27" fmla="*/ 743903 h 775334"/>
                <a:gd name="connsiteX28" fmla="*/ 1111568 w 1166812"/>
                <a:gd name="connsiteY28" fmla="*/ 731520 h 775334"/>
                <a:gd name="connsiteX29" fmla="*/ 1053465 w 1166812"/>
                <a:gd name="connsiteY29" fmla="*/ 710565 h 775334"/>
                <a:gd name="connsiteX30" fmla="*/ 1047750 w 1166812"/>
                <a:gd name="connsiteY30" fmla="*/ 700088 h 775334"/>
                <a:gd name="connsiteX31" fmla="*/ 1028700 w 1166812"/>
                <a:gd name="connsiteY31" fmla="*/ 694372 h 775334"/>
                <a:gd name="connsiteX32" fmla="*/ 1015365 w 1166812"/>
                <a:gd name="connsiteY32" fmla="*/ 700088 h 775334"/>
                <a:gd name="connsiteX33" fmla="*/ 1005840 w 1166812"/>
                <a:gd name="connsiteY33" fmla="*/ 695325 h 775334"/>
                <a:gd name="connsiteX34" fmla="*/ 997268 w 1166812"/>
                <a:gd name="connsiteY34" fmla="*/ 699135 h 775334"/>
                <a:gd name="connsiteX35" fmla="*/ 990600 w 1166812"/>
                <a:gd name="connsiteY35" fmla="*/ 695325 h 775334"/>
                <a:gd name="connsiteX36" fmla="*/ 982028 w 1166812"/>
                <a:gd name="connsiteY36" fmla="*/ 699135 h 775334"/>
                <a:gd name="connsiteX37" fmla="*/ 975360 w 1166812"/>
                <a:gd name="connsiteY37" fmla="*/ 694372 h 775334"/>
                <a:gd name="connsiteX38" fmla="*/ 965835 w 1166812"/>
                <a:gd name="connsiteY38" fmla="*/ 701040 h 775334"/>
                <a:gd name="connsiteX39" fmla="*/ 951547 w 1166812"/>
                <a:gd name="connsiteY39" fmla="*/ 695325 h 775334"/>
                <a:gd name="connsiteX40" fmla="*/ 934403 w 1166812"/>
                <a:gd name="connsiteY40" fmla="*/ 714375 h 775334"/>
                <a:gd name="connsiteX41" fmla="*/ 917258 w 1166812"/>
                <a:gd name="connsiteY41" fmla="*/ 715328 h 775334"/>
                <a:gd name="connsiteX42" fmla="*/ 897255 w 1166812"/>
                <a:gd name="connsiteY42" fmla="*/ 696278 h 775334"/>
                <a:gd name="connsiteX43" fmla="*/ 881063 w 1166812"/>
                <a:gd name="connsiteY43" fmla="*/ 694372 h 775334"/>
                <a:gd name="connsiteX44" fmla="*/ 848678 w 1166812"/>
                <a:gd name="connsiteY44" fmla="*/ 663893 h 775334"/>
                <a:gd name="connsiteX45" fmla="*/ 486728 w 1166812"/>
                <a:gd name="connsiteY45" fmla="*/ 648653 h 775334"/>
                <a:gd name="connsiteX46" fmla="*/ 0 w 1166812"/>
                <a:gd name="connsiteY46" fmla="*/ 615315 h 775334"/>
                <a:gd name="connsiteX47" fmla="*/ 37147 w 1166812"/>
                <a:gd name="connsiteY47" fmla="*/ 197167 h 775334"/>
                <a:gd name="connsiteX48" fmla="*/ 56197 w 1166812"/>
                <a:gd name="connsiteY48" fmla="*/ 0 h 775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166812" h="775334">
                  <a:moveTo>
                    <a:pt x="429578" y="27623"/>
                  </a:moveTo>
                  <a:lnTo>
                    <a:pt x="867728" y="47625"/>
                  </a:lnTo>
                  <a:lnTo>
                    <a:pt x="1148715" y="51435"/>
                  </a:lnTo>
                  <a:lnTo>
                    <a:pt x="1147763" y="72390"/>
                  </a:lnTo>
                  <a:lnTo>
                    <a:pt x="1139190" y="91440"/>
                  </a:lnTo>
                  <a:lnTo>
                    <a:pt x="1109663" y="109538"/>
                  </a:lnTo>
                  <a:lnTo>
                    <a:pt x="1106805" y="120967"/>
                  </a:lnTo>
                  <a:lnTo>
                    <a:pt x="1122998" y="144780"/>
                  </a:lnTo>
                  <a:lnTo>
                    <a:pt x="1126808" y="161925"/>
                  </a:lnTo>
                  <a:lnTo>
                    <a:pt x="1151573" y="167640"/>
                  </a:lnTo>
                  <a:lnTo>
                    <a:pt x="1165860" y="185738"/>
                  </a:lnTo>
                  <a:lnTo>
                    <a:pt x="1163955" y="561975"/>
                  </a:lnTo>
                  <a:lnTo>
                    <a:pt x="1143000" y="561022"/>
                  </a:lnTo>
                  <a:lnTo>
                    <a:pt x="1142048" y="576263"/>
                  </a:lnTo>
                  <a:lnTo>
                    <a:pt x="1154430" y="590550"/>
                  </a:lnTo>
                  <a:lnTo>
                    <a:pt x="1153478" y="601028"/>
                  </a:lnTo>
                  <a:lnTo>
                    <a:pt x="1143953" y="605790"/>
                  </a:lnTo>
                  <a:lnTo>
                    <a:pt x="1147763" y="621030"/>
                  </a:lnTo>
                  <a:lnTo>
                    <a:pt x="1160145" y="624840"/>
                  </a:lnTo>
                  <a:lnTo>
                    <a:pt x="1166813" y="643890"/>
                  </a:lnTo>
                  <a:lnTo>
                    <a:pt x="1150620" y="692468"/>
                  </a:lnTo>
                  <a:lnTo>
                    <a:pt x="1141095" y="733425"/>
                  </a:lnTo>
                  <a:lnTo>
                    <a:pt x="1153478" y="744855"/>
                  </a:lnTo>
                  <a:lnTo>
                    <a:pt x="1156335" y="757238"/>
                  </a:lnTo>
                  <a:lnTo>
                    <a:pt x="1163003" y="773430"/>
                  </a:lnTo>
                  <a:lnTo>
                    <a:pt x="1148715" y="775335"/>
                  </a:lnTo>
                  <a:lnTo>
                    <a:pt x="1131570" y="768668"/>
                  </a:lnTo>
                  <a:lnTo>
                    <a:pt x="1122998" y="743903"/>
                  </a:lnTo>
                  <a:lnTo>
                    <a:pt x="1111568" y="731520"/>
                  </a:lnTo>
                  <a:lnTo>
                    <a:pt x="1053465" y="710565"/>
                  </a:lnTo>
                  <a:lnTo>
                    <a:pt x="1047750" y="700088"/>
                  </a:lnTo>
                  <a:lnTo>
                    <a:pt x="1028700" y="694372"/>
                  </a:lnTo>
                  <a:lnTo>
                    <a:pt x="1015365" y="700088"/>
                  </a:lnTo>
                  <a:lnTo>
                    <a:pt x="1005840" y="695325"/>
                  </a:lnTo>
                  <a:lnTo>
                    <a:pt x="997268" y="699135"/>
                  </a:lnTo>
                  <a:lnTo>
                    <a:pt x="990600" y="695325"/>
                  </a:lnTo>
                  <a:lnTo>
                    <a:pt x="982028" y="699135"/>
                  </a:lnTo>
                  <a:lnTo>
                    <a:pt x="975360" y="694372"/>
                  </a:lnTo>
                  <a:lnTo>
                    <a:pt x="965835" y="701040"/>
                  </a:lnTo>
                  <a:lnTo>
                    <a:pt x="951547" y="695325"/>
                  </a:lnTo>
                  <a:lnTo>
                    <a:pt x="934403" y="714375"/>
                  </a:lnTo>
                  <a:lnTo>
                    <a:pt x="917258" y="715328"/>
                  </a:lnTo>
                  <a:lnTo>
                    <a:pt x="897255" y="696278"/>
                  </a:lnTo>
                  <a:lnTo>
                    <a:pt x="881063" y="694372"/>
                  </a:lnTo>
                  <a:lnTo>
                    <a:pt x="848678" y="663893"/>
                  </a:lnTo>
                  <a:lnTo>
                    <a:pt x="486728" y="648653"/>
                  </a:lnTo>
                  <a:lnTo>
                    <a:pt x="0" y="615315"/>
                  </a:lnTo>
                  <a:lnTo>
                    <a:pt x="37147" y="197167"/>
                  </a:lnTo>
                  <a:lnTo>
                    <a:pt x="56197" y="0"/>
                  </a:lnTo>
                  <a:close/>
                </a:path>
              </a:pathLst>
            </a:custGeom>
            <a:solidFill>
              <a:srgbClr val="D0D0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348B347A-3A04-C1E4-D500-19CEC2547227}"/>
                </a:ext>
              </a:extLst>
            </p:cNvPr>
            <p:cNvSpPr/>
            <p:nvPr/>
          </p:nvSpPr>
          <p:spPr>
            <a:xfrm>
              <a:off x="7078026" y="3765232"/>
              <a:ext cx="1417320" cy="489585"/>
            </a:xfrm>
            <a:custGeom>
              <a:avLst/>
              <a:gdLst>
                <a:gd name="connsiteX0" fmla="*/ 364808 w 1417320"/>
                <a:gd name="connsiteY0" fmla="*/ 464820 h 489585"/>
                <a:gd name="connsiteX1" fmla="*/ 800100 w 1417320"/>
                <a:gd name="connsiteY1" fmla="*/ 426720 h 489585"/>
                <a:gd name="connsiteX2" fmla="*/ 1018223 w 1417320"/>
                <a:gd name="connsiteY2" fmla="*/ 399098 h 489585"/>
                <a:gd name="connsiteX3" fmla="*/ 1019175 w 1417320"/>
                <a:gd name="connsiteY3" fmla="*/ 352425 h 489585"/>
                <a:gd name="connsiteX4" fmla="*/ 1032510 w 1417320"/>
                <a:gd name="connsiteY4" fmla="*/ 340043 h 489585"/>
                <a:gd name="connsiteX5" fmla="*/ 1046798 w 1417320"/>
                <a:gd name="connsiteY5" fmla="*/ 340995 h 489585"/>
                <a:gd name="connsiteX6" fmla="*/ 1059180 w 1417320"/>
                <a:gd name="connsiteY6" fmla="*/ 332423 h 489585"/>
                <a:gd name="connsiteX7" fmla="*/ 1066800 w 1417320"/>
                <a:gd name="connsiteY7" fmla="*/ 293370 h 489585"/>
                <a:gd name="connsiteX8" fmla="*/ 1110615 w 1417320"/>
                <a:gd name="connsiteY8" fmla="*/ 264795 h 489585"/>
                <a:gd name="connsiteX9" fmla="*/ 1144905 w 1417320"/>
                <a:gd name="connsiteY9" fmla="*/ 260033 h 489585"/>
                <a:gd name="connsiteX10" fmla="*/ 1175385 w 1417320"/>
                <a:gd name="connsiteY10" fmla="*/ 235268 h 489585"/>
                <a:gd name="connsiteX11" fmla="*/ 1180148 w 1417320"/>
                <a:gd name="connsiteY11" fmla="*/ 223838 h 489585"/>
                <a:gd name="connsiteX12" fmla="*/ 1224915 w 1417320"/>
                <a:gd name="connsiteY12" fmla="*/ 200978 h 489585"/>
                <a:gd name="connsiteX13" fmla="*/ 1230630 w 1417320"/>
                <a:gd name="connsiteY13" fmla="*/ 168593 h 489585"/>
                <a:gd name="connsiteX14" fmla="*/ 1268730 w 1417320"/>
                <a:gd name="connsiteY14" fmla="*/ 137160 h 489585"/>
                <a:gd name="connsiteX15" fmla="*/ 1276350 w 1417320"/>
                <a:gd name="connsiteY15" fmla="*/ 139065 h 489585"/>
                <a:gd name="connsiteX16" fmla="*/ 1277303 w 1417320"/>
                <a:gd name="connsiteY16" fmla="*/ 153353 h 489585"/>
                <a:gd name="connsiteX17" fmla="*/ 1284923 w 1417320"/>
                <a:gd name="connsiteY17" fmla="*/ 160973 h 489585"/>
                <a:gd name="connsiteX18" fmla="*/ 1299210 w 1417320"/>
                <a:gd name="connsiteY18" fmla="*/ 149543 h 489585"/>
                <a:gd name="connsiteX19" fmla="*/ 1305878 w 1417320"/>
                <a:gd name="connsiteY19" fmla="*/ 129540 h 489585"/>
                <a:gd name="connsiteX20" fmla="*/ 1339215 w 1417320"/>
                <a:gd name="connsiteY20" fmla="*/ 105728 h 489585"/>
                <a:gd name="connsiteX21" fmla="*/ 1363980 w 1417320"/>
                <a:gd name="connsiteY21" fmla="*/ 116205 h 489585"/>
                <a:gd name="connsiteX22" fmla="*/ 1386840 w 1417320"/>
                <a:gd name="connsiteY22" fmla="*/ 66675 h 489585"/>
                <a:gd name="connsiteX23" fmla="*/ 1400175 w 1417320"/>
                <a:gd name="connsiteY23" fmla="*/ 55245 h 489585"/>
                <a:gd name="connsiteX24" fmla="*/ 1414463 w 1417320"/>
                <a:gd name="connsiteY24" fmla="*/ 56198 h 489585"/>
                <a:gd name="connsiteX25" fmla="*/ 1414463 w 1417320"/>
                <a:gd name="connsiteY25" fmla="*/ 6668 h 489585"/>
                <a:gd name="connsiteX26" fmla="*/ 1417321 w 1417320"/>
                <a:gd name="connsiteY26" fmla="*/ 0 h 489585"/>
                <a:gd name="connsiteX27" fmla="*/ 1373505 w 1417320"/>
                <a:gd name="connsiteY27" fmla="*/ 4763 h 489585"/>
                <a:gd name="connsiteX28" fmla="*/ 1371600 w 1417320"/>
                <a:gd name="connsiteY28" fmla="*/ 14288 h 489585"/>
                <a:gd name="connsiteX29" fmla="*/ 1096328 w 1417320"/>
                <a:gd name="connsiteY29" fmla="*/ 45720 h 489585"/>
                <a:gd name="connsiteX30" fmla="*/ 1042988 w 1417320"/>
                <a:gd name="connsiteY30" fmla="*/ 59055 h 489585"/>
                <a:gd name="connsiteX31" fmla="*/ 847725 w 1417320"/>
                <a:gd name="connsiteY31" fmla="*/ 72390 h 489585"/>
                <a:gd name="connsiteX32" fmla="*/ 798195 w 1417320"/>
                <a:gd name="connsiteY32" fmla="*/ 80010 h 489585"/>
                <a:gd name="connsiteX33" fmla="*/ 632460 w 1417320"/>
                <a:gd name="connsiteY33" fmla="*/ 89535 h 489585"/>
                <a:gd name="connsiteX34" fmla="*/ 607695 w 1417320"/>
                <a:gd name="connsiteY34" fmla="*/ 97155 h 489585"/>
                <a:gd name="connsiteX35" fmla="*/ 392430 w 1417320"/>
                <a:gd name="connsiteY35" fmla="*/ 116205 h 489585"/>
                <a:gd name="connsiteX36" fmla="*/ 385763 w 1417320"/>
                <a:gd name="connsiteY36" fmla="*/ 110490 h 489585"/>
                <a:gd name="connsiteX37" fmla="*/ 350520 w 1417320"/>
                <a:gd name="connsiteY37" fmla="*/ 110490 h 489585"/>
                <a:gd name="connsiteX38" fmla="*/ 361950 w 1417320"/>
                <a:gd name="connsiteY38" fmla="*/ 140970 h 489585"/>
                <a:gd name="connsiteX39" fmla="*/ 356235 w 1417320"/>
                <a:gd name="connsiteY39" fmla="*/ 149543 h 489585"/>
                <a:gd name="connsiteX40" fmla="*/ 134303 w 1417320"/>
                <a:gd name="connsiteY40" fmla="*/ 163830 h 489585"/>
                <a:gd name="connsiteX41" fmla="*/ 126683 w 1417320"/>
                <a:gd name="connsiteY41" fmla="*/ 173355 h 489585"/>
                <a:gd name="connsiteX42" fmla="*/ 119063 w 1417320"/>
                <a:gd name="connsiteY42" fmla="*/ 166688 h 489585"/>
                <a:gd name="connsiteX43" fmla="*/ 109538 w 1417320"/>
                <a:gd name="connsiteY43" fmla="*/ 166688 h 489585"/>
                <a:gd name="connsiteX44" fmla="*/ 109538 w 1417320"/>
                <a:gd name="connsiteY44" fmla="*/ 179070 h 489585"/>
                <a:gd name="connsiteX45" fmla="*/ 115253 w 1417320"/>
                <a:gd name="connsiteY45" fmla="*/ 188595 h 489585"/>
                <a:gd name="connsiteX46" fmla="*/ 114300 w 1417320"/>
                <a:gd name="connsiteY46" fmla="*/ 198120 h 489585"/>
                <a:gd name="connsiteX47" fmla="*/ 100965 w 1417320"/>
                <a:gd name="connsiteY47" fmla="*/ 202883 h 489585"/>
                <a:gd name="connsiteX48" fmla="*/ 114300 w 1417320"/>
                <a:gd name="connsiteY48" fmla="*/ 217170 h 489585"/>
                <a:gd name="connsiteX49" fmla="*/ 106680 w 1417320"/>
                <a:gd name="connsiteY49" fmla="*/ 223838 h 489585"/>
                <a:gd name="connsiteX50" fmla="*/ 90488 w 1417320"/>
                <a:gd name="connsiteY50" fmla="*/ 221933 h 489585"/>
                <a:gd name="connsiteX51" fmla="*/ 96203 w 1417320"/>
                <a:gd name="connsiteY51" fmla="*/ 231458 h 489585"/>
                <a:gd name="connsiteX52" fmla="*/ 107633 w 1417320"/>
                <a:gd name="connsiteY52" fmla="*/ 241935 h 489585"/>
                <a:gd name="connsiteX53" fmla="*/ 107633 w 1417320"/>
                <a:gd name="connsiteY53" fmla="*/ 248603 h 489585"/>
                <a:gd name="connsiteX54" fmla="*/ 96203 w 1417320"/>
                <a:gd name="connsiteY54" fmla="*/ 253365 h 489585"/>
                <a:gd name="connsiteX55" fmla="*/ 86678 w 1417320"/>
                <a:gd name="connsiteY55" fmla="*/ 272415 h 489585"/>
                <a:gd name="connsiteX56" fmla="*/ 87630 w 1417320"/>
                <a:gd name="connsiteY56" fmla="*/ 278130 h 489585"/>
                <a:gd name="connsiteX57" fmla="*/ 100965 w 1417320"/>
                <a:gd name="connsiteY57" fmla="*/ 287655 h 489585"/>
                <a:gd name="connsiteX58" fmla="*/ 97155 w 1417320"/>
                <a:gd name="connsiteY58" fmla="*/ 294323 h 489585"/>
                <a:gd name="connsiteX59" fmla="*/ 82868 w 1417320"/>
                <a:gd name="connsiteY59" fmla="*/ 294323 h 489585"/>
                <a:gd name="connsiteX60" fmla="*/ 82868 w 1417320"/>
                <a:gd name="connsiteY60" fmla="*/ 299085 h 489585"/>
                <a:gd name="connsiteX61" fmla="*/ 91440 w 1417320"/>
                <a:gd name="connsiteY61" fmla="*/ 307658 h 489585"/>
                <a:gd name="connsiteX62" fmla="*/ 92393 w 1417320"/>
                <a:gd name="connsiteY62" fmla="*/ 315278 h 489585"/>
                <a:gd name="connsiteX63" fmla="*/ 79058 w 1417320"/>
                <a:gd name="connsiteY63" fmla="*/ 317183 h 489585"/>
                <a:gd name="connsiteX64" fmla="*/ 74295 w 1417320"/>
                <a:gd name="connsiteY64" fmla="*/ 324803 h 489585"/>
                <a:gd name="connsiteX65" fmla="*/ 59055 w 1417320"/>
                <a:gd name="connsiteY65" fmla="*/ 326708 h 489585"/>
                <a:gd name="connsiteX66" fmla="*/ 50483 w 1417320"/>
                <a:gd name="connsiteY66" fmla="*/ 335280 h 489585"/>
                <a:gd name="connsiteX67" fmla="*/ 56198 w 1417320"/>
                <a:gd name="connsiteY67" fmla="*/ 343853 h 489585"/>
                <a:gd name="connsiteX68" fmla="*/ 66675 w 1417320"/>
                <a:gd name="connsiteY68" fmla="*/ 342900 h 489585"/>
                <a:gd name="connsiteX69" fmla="*/ 71438 w 1417320"/>
                <a:gd name="connsiteY69" fmla="*/ 351473 h 489585"/>
                <a:gd name="connsiteX70" fmla="*/ 56198 w 1417320"/>
                <a:gd name="connsiteY70" fmla="*/ 363855 h 489585"/>
                <a:gd name="connsiteX71" fmla="*/ 60008 w 1417320"/>
                <a:gd name="connsiteY71" fmla="*/ 378143 h 489585"/>
                <a:gd name="connsiteX72" fmla="*/ 40958 w 1417320"/>
                <a:gd name="connsiteY72" fmla="*/ 372428 h 489585"/>
                <a:gd name="connsiteX73" fmla="*/ 40005 w 1417320"/>
                <a:gd name="connsiteY73" fmla="*/ 379095 h 489585"/>
                <a:gd name="connsiteX74" fmla="*/ 43815 w 1417320"/>
                <a:gd name="connsiteY74" fmla="*/ 389573 h 489585"/>
                <a:gd name="connsiteX75" fmla="*/ 40958 w 1417320"/>
                <a:gd name="connsiteY75" fmla="*/ 402908 h 489585"/>
                <a:gd name="connsiteX76" fmla="*/ 28575 w 1417320"/>
                <a:gd name="connsiteY76" fmla="*/ 395288 h 489585"/>
                <a:gd name="connsiteX77" fmla="*/ 20955 w 1417320"/>
                <a:gd name="connsiteY77" fmla="*/ 402908 h 489585"/>
                <a:gd name="connsiteX78" fmla="*/ 31433 w 1417320"/>
                <a:gd name="connsiteY78" fmla="*/ 403860 h 489585"/>
                <a:gd name="connsiteX79" fmla="*/ 32385 w 1417320"/>
                <a:gd name="connsiteY79" fmla="*/ 418148 h 489585"/>
                <a:gd name="connsiteX80" fmla="*/ 26670 w 1417320"/>
                <a:gd name="connsiteY80" fmla="*/ 427673 h 489585"/>
                <a:gd name="connsiteX81" fmla="*/ 37148 w 1417320"/>
                <a:gd name="connsiteY81" fmla="*/ 436245 h 489585"/>
                <a:gd name="connsiteX82" fmla="*/ 34290 w 1417320"/>
                <a:gd name="connsiteY82" fmla="*/ 450533 h 489585"/>
                <a:gd name="connsiteX83" fmla="*/ 41910 w 1417320"/>
                <a:gd name="connsiteY83" fmla="*/ 457200 h 489585"/>
                <a:gd name="connsiteX84" fmla="*/ 35243 w 1417320"/>
                <a:gd name="connsiteY84" fmla="*/ 466725 h 489585"/>
                <a:gd name="connsiteX85" fmla="*/ 23813 w 1417320"/>
                <a:gd name="connsiteY85" fmla="*/ 461963 h 489585"/>
                <a:gd name="connsiteX86" fmla="*/ 15240 w 1417320"/>
                <a:gd name="connsiteY86" fmla="*/ 482918 h 489585"/>
                <a:gd name="connsiteX87" fmla="*/ 0 w 1417320"/>
                <a:gd name="connsiteY87" fmla="*/ 489585 h 4895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</a:cxnLst>
              <a:rect l="l" t="t" r="r" b="b"/>
              <a:pathLst>
                <a:path w="1417320" h="489585">
                  <a:moveTo>
                    <a:pt x="364808" y="464820"/>
                  </a:moveTo>
                  <a:lnTo>
                    <a:pt x="800100" y="426720"/>
                  </a:lnTo>
                  <a:lnTo>
                    <a:pt x="1018223" y="399098"/>
                  </a:lnTo>
                  <a:lnTo>
                    <a:pt x="1019175" y="352425"/>
                  </a:lnTo>
                  <a:lnTo>
                    <a:pt x="1032510" y="340043"/>
                  </a:lnTo>
                  <a:lnTo>
                    <a:pt x="1046798" y="340995"/>
                  </a:lnTo>
                  <a:lnTo>
                    <a:pt x="1059180" y="332423"/>
                  </a:lnTo>
                  <a:lnTo>
                    <a:pt x="1066800" y="293370"/>
                  </a:lnTo>
                  <a:lnTo>
                    <a:pt x="1110615" y="264795"/>
                  </a:lnTo>
                  <a:lnTo>
                    <a:pt x="1144905" y="260033"/>
                  </a:lnTo>
                  <a:lnTo>
                    <a:pt x="1175385" y="235268"/>
                  </a:lnTo>
                  <a:lnTo>
                    <a:pt x="1180148" y="223838"/>
                  </a:lnTo>
                  <a:lnTo>
                    <a:pt x="1224915" y="200978"/>
                  </a:lnTo>
                  <a:lnTo>
                    <a:pt x="1230630" y="168593"/>
                  </a:lnTo>
                  <a:lnTo>
                    <a:pt x="1268730" y="137160"/>
                  </a:lnTo>
                  <a:lnTo>
                    <a:pt x="1276350" y="139065"/>
                  </a:lnTo>
                  <a:lnTo>
                    <a:pt x="1277303" y="153353"/>
                  </a:lnTo>
                  <a:lnTo>
                    <a:pt x="1284923" y="160973"/>
                  </a:lnTo>
                  <a:lnTo>
                    <a:pt x="1299210" y="149543"/>
                  </a:lnTo>
                  <a:lnTo>
                    <a:pt x="1305878" y="129540"/>
                  </a:lnTo>
                  <a:lnTo>
                    <a:pt x="1339215" y="105728"/>
                  </a:lnTo>
                  <a:lnTo>
                    <a:pt x="1363980" y="116205"/>
                  </a:lnTo>
                  <a:lnTo>
                    <a:pt x="1386840" y="66675"/>
                  </a:lnTo>
                  <a:lnTo>
                    <a:pt x="1400175" y="55245"/>
                  </a:lnTo>
                  <a:lnTo>
                    <a:pt x="1414463" y="56198"/>
                  </a:lnTo>
                  <a:lnTo>
                    <a:pt x="1414463" y="6668"/>
                  </a:lnTo>
                  <a:lnTo>
                    <a:pt x="1417321" y="0"/>
                  </a:lnTo>
                  <a:lnTo>
                    <a:pt x="1373505" y="4763"/>
                  </a:lnTo>
                  <a:lnTo>
                    <a:pt x="1371600" y="14288"/>
                  </a:lnTo>
                  <a:lnTo>
                    <a:pt x="1096328" y="45720"/>
                  </a:lnTo>
                  <a:lnTo>
                    <a:pt x="1042988" y="59055"/>
                  </a:lnTo>
                  <a:lnTo>
                    <a:pt x="847725" y="72390"/>
                  </a:lnTo>
                  <a:lnTo>
                    <a:pt x="798195" y="80010"/>
                  </a:lnTo>
                  <a:lnTo>
                    <a:pt x="632460" y="89535"/>
                  </a:lnTo>
                  <a:lnTo>
                    <a:pt x="607695" y="97155"/>
                  </a:lnTo>
                  <a:lnTo>
                    <a:pt x="392430" y="116205"/>
                  </a:lnTo>
                  <a:lnTo>
                    <a:pt x="385763" y="110490"/>
                  </a:lnTo>
                  <a:lnTo>
                    <a:pt x="350520" y="110490"/>
                  </a:lnTo>
                  <a:lnTo>
                    <a:pt x="361950" y="140970"/>
                  </a:lnTo>
                  <a:lnTo>
                    <a:pt x="356235" y="149543"/>
                  </a:lnTo>
                  <a:lnTo>
                    <a:pt x="134303" y="163830"/>
                  </a:lnTo>
                  <a:lnTo>
                    <a:pt x="126683" y="173355"/>
                  </a:lnTo>
                  <a:lnTo>
                    <a:pt x="119063" y="166688"/>
                  </a:lnTo>
                  <a:lnTo>
                    <a:pt x="109538" y="166688"/>
                  </a:lnTo>
                  <a:lnTo>
                    <a:pt x="109538" y="179070"/>
                  </a:lnTo>
                  <a:lnTo>
                    <a:pt x="115253" y="188595"/>
                  </a:lnTo>
                  <a:lnTo>
                    <a:pt x="114300" y="198120"/>
                  </a:lnTo>
                  <a:lnTo>
                    <a:pt x="100965" y="202883"/>
                  </a:lnTo>
                  <a:lnTo>
                    <a:pt x="114300" y="217170"/>
                  </a:lnTo>
                  <a:lnTo>
                    <a:pt x="106680" y="223838"/>
                  </a:lnTo>
                  <a:lnTo>
                    <a:pt x="90488" y="221933"/>
                  </a:lnTo>
                  <a:lnTo>
                    <a:pt x="96203" y="231458"/>
                  </a:lnTo>
                  <a:lnTo>
                    <a:pt x="107633" y="241935"/>
                  </a:lnTo>
                  <a:lnTo>
                    <a:pt x="107633" y="248603"/>
                  </a:lnTo>
                  <a:lnTo>
                    <a:pt x="96203" y="253365"/>
                  </a:lnTo>
                  <a:lnTo>
                    <a:pt x="86678" y="272415"/>
                  </a:lnTo>
                  <a:lnTo>
                    <a:pt x="87630" y="278130"/>
                  </a:lnTo>
                  <a:lnTo>
                    <a:pt x="100965" y="287655"/>
                  </a:lnTo>
                  <a:lnTo>
                    <a:pt x="97155" y="294323"/>
                  </a:lnTo>
                  <a:lnTo>
                    <a:pt x="82868" y="294323"/>
                  </a:lnTo>
                  <a:lnTo>
                    <a:pt x="82868" y="299085"/>
                  </a:lnTo>
                  <a:lnTo>
                    <a:pt x="91440" y="307658"/>
                  </a:lnTo>
                  <a:lnTo>
                    <a:pt x="92393" y="315278"/>
                  </a:lnTo>
                  <a:lnTo>
                    <a:pt x="79058" y="317183"/>
                  </a:lnTo>
                  <a:lnTo>
                    <a:pt x="74295" y="324803"/>
                  </a:lnTo>
                  <a:lnTo>
                    <a:pt x="59055" y="326708"/>
                  </a:lnTo>
                  <a:lnTo>
                    <a:pt x="50483" y="335280"/>
                  </a:lnTo>
                  <a:lnTo>
                    <a:pt x="56198" y="343853"/>
                  </a:lnTo>
                  <a:lnTo>
                    <a:pt x="66675" y="342900"/>
                  </a:lnTo>
                  <a:lnTo>
                    <a:pt x="71438" y="351473"/>
                  </a:lnTo>
                  <a:lnTo>
                    <a:pt x="56198" y="363855"/>
                  </a:lnTo>
                  <a:lnTo>
                    <a:pt x="60008" y="378143"/>
                  </a:lnTo>
                  <a:lnTo>
                    <a:pt x="40958" y="372428"/>
                  </a:lnTo>
                  <a:lnTo>
                    <a:pt x="40005" y="379095"/>
                  </a:lnTo>
                  <a:lnTo>
                    <a:pt x="43815" y="389573"/>
                  </a:lnTo>
                  <a:lnTo>
                    <a:pt x="40958" y="402908"/>
                  </a:lnTo>
                  <a:lnTo>
                    <a:pt x="28575" y="395288"/>
                  </a:lnTo>
                  <a:lnTo>
                    <a:pt x="20955" y="402908"/>
                  </a:lnTo>
                  <a:lnTo>
                    <a:pt x="31433" y="403860"/>
                  </a:lnTo>
                  <a:lnTo>
                    <a:pt x="32385" y="418148"/>
                  </a:lnTo>
                  <a:lnTo>
                    <a:pt x="26670" y="427673"/>
                  </a:lnTo>
                  <a:lnTo>
                    <a:pt x="37148" y="436245"/>
                  </a:lnTo>
                  <a:lnTo>
                    <a:pt x="34290" y="450533"/>
                  </a:lnTo>
                  <a:lnTo>
                    <a:pt x="41910" y="457200"/>
                  </a:lnTo>
                  <a:lnTo>
                    <a:pt x="35243" y="466725"/>
                  </a:lnTo>
                  <a:lnTo>
                    <a:pt x="23813" y="461963"/>
                  </a:lnTo>
                  <a:lnTo>
                    <a:pt x="15240" y="482918"/>
                  </a:lnTo>
                  <a:lnTo>
                    <a:pt x="0" y="489585"/>
                  </a:lnTo>
                  <a:close/>
                </a:path>
              </a:pathLst>
            </a:custGeom>
            <a:solidFill>
              <a:srgbClr val="D0D0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4E28DCC3-D2EE-C3AF-F8A9-BE1D838ADB8F}"/>
                </a:ext>
              </a:extLst>
            </p:cNvPr>
            <p:cNvSpPr/>
            <p:nvPr/>
          </p:nvSpPr>
          <p:spPr>
            <a:xfrm>
              <a:off x="4217669" y="3923347"/>
              <a:ext cx="2328862" cy="2278379"/>
            </a:xfrm>
            <a:custGeom>
              <a:avLst/>
              <a:gdLst>
                <a:gd name="connsiteX0" fmla="*/ 0 w 2328862"/>
                <a:gd name="connsiteY0" fmla="*/ 915353 h 2278379"/>
                <a:gd name="connsiteX1" fmla="*/ 2858 w 2328862"/>
                <a:gd name="connsiteY1" fmla="*/ 886778 h 2278379"/>
                <a:gd name="connsiteX2" fmla="*/ 330518 w 2328862"/>
                <a:gd name="connsiteY2" fmla="*/ 921068 h 2278379"/>
                <a:gd name="connsiteX3" fmla="*/ 633413 w 2328862"/>
                <a:gd name="connsiteY3" fmla="*/ 945833 h 2278379"/>
                <a:gd name="connsiteX4" fmla="*/ 708660 w 2328862"/>
                <a:gd name="connsiteY4" fmla="*/ 0 h 2278379"/>
                <a:gd name="connsiteX5" fmla="*/ 716280 w 2328862"/>
                <a:gd name="connsiteY5" fmla="*/ 0 h 2278379"/>
                <a:gd name="connsiteX6" fmla="*/ 1217295 w 2328862"/>
                <a:gd name="connsiteY6" fmla="*/ 30480 h 2278379"/>
                <a:gd name="connsiteX7" fmla="*/ 1203960 w 2328862"/>
                <a:gd name="connsiteY7" fmla="*/ 437197 h 2278379"/>
                <a:gd name="connsiteX8" fmla="*/ 1229678 w 2328862"/>
                <a:gd name="connsiteY8" fmla="*/ 449580 h 2278379"/>
                <a:gd name="connsiteX9" fmla="*/ 1253490 w 2328862"/>
                <a:gd name="connsiteY9" fmla="*/ 478155 h 2278379"/>
                <a:gd name="connsiteX10" fmla="*/ 1267778 w 2328862"/>
                <a:gd name="connsiteY10" fmla="*/ 481013 h 2278379"/>
                <a:gd name="connsiteX11" fmla="*/ 1278255 w 2328862"/>
                <a:gd name="connsiteY11" fmla="*/ 471488 h 2278379"/>
                <a:gd name="connsiteX12" fmla="*/ 1289685 w 2328862"/>
                <a:gd name="connsiteY12" fmla="*/ 475297 h 2278379"/>
                <a:gd name="connsiteX13" fmla="*/ 1303020 w 2328862"/>
                <a:gd name="connsiteY13" fmla="*/ 484822 h 2278379"/>
                <a:gd name="connsiteX14" fmla="*/ 1313498 w 2328862"/>
                <a:gd name="connsiteY14" fmla="*/ 470535 h 2278379"/>
                <a:gd name="connsiteX15" fmla="*/ 1335405 w 2328862"/>
                <a:gd name="connsiteY15" fmla="*/ 486728 h 2278379"/>
                <a:gd name="connsiteX16" fmla="*/ 1340168 w 2328862"/>
                <a:gd name="connsiteY16" fmla="*/ 514350 h 2278379"/>
                <a:gd name="connsiteX17" fmla="*/ 1351598 w 2328862"/>
                <a:gd name="connsiteY17" fmla="*/ 521018 h 2278379"/>
                <a:gd name="connsiteX18" fmla="*/ 1373505 w 2328862"/>
                <a:gd name="connsiteY18" fmla="*/ 520065 h 2278379"/>
                <a:gd name="connsiteX19" fmla="*/ 1406843 w 2328862"/>
                <a:gd name="connsiteY19" fmla="*/ 538163 h 2278379"/>
                <a:gd name="connsiteX20" fmla="*/ 1425893 w 2328862"/>
                <a:gd name="connsiteY20" fmla="*/ 537210 h 2278379"/>
                <a:gd name="connsiteX21" fmla="*/ 1439228 w 2328862"/>
                <a:gd name="connsiteY21" fmla="*/ 533400 h 2278379"/>
                <a:gd name="connsiteX22" fmla="*/ 1461135 w 2328862"/>
                <a:gd name="connsiteY22" fmla="*/ 554355 h 2278379"/>
                <a:gd name="connsiteX23" fmla="*/ 1480185 w 2328862"/>
                <a:gd name="connsiteY23" fmla="*/ 532447 h 2278379"/>
                <a:gd name="connsiteX24" fmla="*/ 1513523 w 2328862"/>
                <a:gd name="connsiteY24" fmla="*/ 542925 h 2278379"/>
                <a:gd name="connsiteX25" fmla="*/ 1531620 w 2328862"/>
                <a:gd name="connsiteY25" fmla="*/ 571500 h 2278379"/>
                <a:gd name="connsiteX26" fmla="*/ 1553528 w 2328862"/>
                <a:gd name="connsiteY26" fmla="*/ 570547 h 2278379"/>
                <a:gd name="connsiteX27" fmla="*/ 1546860 w 2328862"/>
                <a:gd name="connsiteY27" fmla="*/ 590550 h 2278379"/>
                <a:gd name="connsiteX28" fmla="*/ 1568768 w 2328862"/>
                <a:gd name="connsiteY28" fmla="*/ 601028 h 2278379"/>
                <a:gd name="connsiteX29" fmla="*/ 1597343 w 2328862"/>
                <a:gd name="connsiteY29" fmla="*/ 576263 h 2278379"/>
                <a:gd name="connsiteX30" fmla="*/ 1622108 w 2328862"/>
                <a:gd name="connsiteY30" fmla="*/ 592455 h 2278379"/>
                <a:gd name="connsiteX31" fmla="*/ 1634490 w 2328862"/>
                <a:gd name="connsiteY31" fmla="*/ 587693 h 2278379"/>
                <a:gd name="connsiteX32" fmla="*/ 1635443 w 2328862"/>
                <a:gd name="connsiteY32" fmla="*/ 601980 h 2278379"/>
                <a:gd name="connsiteX33" fmla="*/ 1651635 w 2328862"/>
                <a:gd name="connsiteY33" fmla="*/ 613410 h 2278379"/>
                <a:gd name="connsiteX34" fmla="*/ 1673543 w 2328862"/>
                <a:gd name="connsiteY34" fmla="*/ 589597 h 2278379"/>
                <a:gd name="connsiteX35" fmla="*/ 1684973 w 2328862"/>
                <a:gd name="connsiteY35" fmla="*/ 596265 h 2278379"/>
                <a:gd name="connsiteX36" fmla="*/ 1682115 w 2328862"/>
                <a:gd name="connsiteY36" fmla="*/ 615315 h 2278379"/>
                <a:gd name="connsiteX37" fmla="*/ 1691640 w 2328862"/>
                <a:gd name="connsiteY37" fmla="*/ 632460 h 2278379"/>
                <a:gd name="connsiteX38" fmla="*/ 1703070 w 2328862"/>
                <a:gd name="connsiteY38" fmla="*/ 624840 h 2278379"/>
                <a:gd name="connsiteX39" fmla="*/ 1726883 w 2328862"/>
                <a:gd name="connsiteY39" fmla="*/ 584835 h 2278379"/>
                <a:gd name="connsiteX40" fmla="*/ 1744028 w 2328862"/>
                <a:gd name="connsiteY40" fmla="*/ 603885 h 2278379"/>
                <a:gd name="connsiteX41" fmla="*/ 1763078 w 2328862"/>
                <a:gd name="connsiteY41" fmla="*/ 608647 h 2278379"/>
                <a:gd name="connsiteX42" fmla="*/ 1783080 w 2328862"/>
                <a:gd name="connsiteY42" fmla="*/ 601980 h 2278379"/>
                <a:gd name="connsiteX43" fmla="*/ 1802130 w 2328862"/>
                <a:gd name="connsiteY43" fmla="*/ 619125 h 2278379"/>
                <a:gd name="connsiteX44" fmla="*/ 1813560 w 2328862"/>
                <a:gd name="connsiteY44" fmla="*/ 618172 h 2278379"/>
                <a:gd name="connsiteX45" fmla="*/ 1825943 w 2328862"/>
                <a:gd name="connsiteY45" fmla="*/ 629603 h 2278379"/>
                <a:gd name="connsiteX46" fmla="*/ 1860233 w 2328862"/>
                <a:gd name="connsiteY46" fmla="*/ 621030 h 2278379"/>
                <a:gd name="connsiteX47" fmla="*/ 1865948 w 2328862"/>
                <a:gd name="connsiteY47" fmla="*/ 604838 h 2278379"/>
                <a:gd name="connsiteX48" fmla="*/ 1901190 w 2328862"/>
                <a:gd name="connsiteY48" fmla="*/ 601980 h 2278379"/>
                <a:gd name="connsiteX49" fmla="*/ 1916430 w 2328862"/>
                <a:gd name="connsiteY49" fmla="*/ 608647 h 2278379"/>
                <a:gd name="connsiteX50" fmla="*/ 1964055 w 2328862"/>
                <a:gd name="connsiteY50" fmla="*/ 584835 h 2278379"/>
                <a:gd name="connsiteX51" fmla="*/ 1969770 w 2328862"/>
                <a:gd name="connsiteY51" fmla="*/ 599122 h 2278379"/>
                <a:gd name="connsiteX52" fmla="*/ 2018348 w 2328862"/>
                <a:gd name="connsiteY52" fmla="*/ 596265 h 2278379"/>
                <a:gd name="connsiteX53" fmla="*/ 2023110 w 2328862"/>
                <a:gd name="connsiteY53" fmla="*/ 581025 h 2278379"/>
                <a:gd name="connsiteX54" fmla="*/ 2044065 w 2328862"/>
                <a:gd name="connsiteY54" fmla="*/ 589597 h 2278379"/>
                <a:gd name="connsiteX55" fmla="*/ 2087880 w 2328862"/>
                <a:gd name="connsiteY55" fmla="*/ 625793 h 2278379"/>
                <a:gd name="connsiteX56" fmla="*/ 2148840 w 2328862"/>
                <a:gd name="connsiteY56" fmla="*/ 643890 h 2278379"/>
                <a:gd name="connsiteX57" fmla="*/ 2173605 w 2328862"/>
                <a:gd name="connsiteY57" fmla="*/ 665797 h 2278379"/>
                <a:gd name="connsiteX58" fmla="*/ 2200275 w 2328862"/>
                <a:gd name="connsiteY58" fmla="*/ 653415 h 2278379"/>
                <a:gd name="connsiteX59" fmla="*/ 2230755 w 2328862"/>
                <a:gd name="connsiteY59" fmla="*/ 661035 h 2278379"/>
                <a:gd name="connsiteX60" fmla="*/ 2232660 w 2328862"/>
                <a:gd name="connsiteY60" fmla="*/ 774383 h 2278379"/>
                <a:gd name="connsiteX61" fmla="*/ 2237423 w 2328862"/>
                <a:gd name="connsiteY61" fmla="*/ 963930 h 2278379"/>
                <a:gd name="connsiteX62" fmla="*/ 2244090 w 2328862"/>
                <a:gd name="connsiteY62" fmla="*/ 996315 h 2278379"/>
                <a:gd name="connsiteX63" fmla="*/ 2268855 w 2328862"/>
                <a:gd name="connsiteY63" fmla="*/ 1022985 h 2278379"/>
                <a:gd name="connsiteX64" fmla="*/ 2275523 w 2328862"/>
                <a:gd name="connsiteY64" fmla="*/ 1074420 h 2278379"/>
                <a:gd name="connsiteX65" fmla="*/ 2311718 w 2328862"/>
                <a:gd name="connsiteY65" fmla="*/ 1118235 h 2278379"/>
                <a:gd name="connsiteX66" fmla="*/ 2319338 w 2328862"/>
                <a:gd name="connsiteY66" fmla="*/ 1159193 h 2278379"/>
                <a:gd name="connsiteX67" fmla="*/ 2328863 w 2328862"/>
                <a:gd name="connsiteY67" fmla="*/ 1159193 h 2278379"/>
                <a:gd name="connsiteX68" fmla="*/ 2327910 w 2328862"/>
                <a:gd name="connsiteY68" fmla="*/ 1228725 h 2278379"/>
                <a:gd name="connsiteX69" fmla="*/ 2296478 w 2328862"/>
                <a:gd name="connsiteY69" fmla="*/ 1289685 h 2278379"/>
                <a:gd name="connsiteX70" fmla="*/ 2308860 w 2328862"/>
                <a:gd name="connsiteY70" fmla="*/ 1311593 h 2278379"/>
                <a:gd name="connsiteX71" fmla="*/ 2296478 w 2328862"/>
                <a:gd name="connsiteY71" fmla="*/ 1325880 h 2278379"/>
                <a:gd name="connsiteX72" fmla="*/ 2303145 w 2328862"/>
                <a:gd name="connsiteY72" fmla="*/ 1354455 h 2278379"/>
                <a:gd name="connsiteX73" fmla="*/ 2302193 w 2328862"/>
                <a:gd name="connsiteY73" fmla="*/ 1395413 h 2278379"/>
                <a:gd name="connsiteX74" fmla="*/ 2281238 w 2328862"/>
                <a:gd name="connsiteY74" fmla="*/ 1428750 h 2278379"/>
                <a:gd name="connsiteX75" fmla="*/ 2280285 w 2328862"/>
                <a:gd name="connsiteY75" fmla="*/ 1436370 h 2278379"/>
                <a:gd name="connsiteX76" fmla="*/ 2264093 w 2328862"/>
                <a:gd name="connsiteY76" fmla="*/ 1447800 h 2278379"/>
                <a:gd name="connsiteX77" fmla="*/ 2273618 w 2328862"/>
                <a:gd name="connsiteY77" fmla="*/ 1464945 h 2278379"/>
                <a:gd name="connsiteX78" fmla="*/ 2285048 w 2328862"/>
                <a:gd name="connsiteY78" fmla="*/ 1475423 h 2278379"/>
                <a:gd name="connsiteX79" fmla="*/ 2251710 w 2328862"/>
                <a:gd name="connsiteY79" fmla="*/ 1478280 h 2278379"/>
                <a:gd name="connsiteX80" fmla="*/ 2171700 w 2328862"/>
                <a:gd name="connsiteY80" fmla="*/ 1515428 h 2278379"/>
                <a:gd name="connsiteX81" fmla="*/ 2138363 w 2328862"/>
                <a:gd name="connsiteY81" fmla="*/ 1528763 h 2278379"/>
                <a:gd name="connsiteX82" fmla="*/ 2121218 w 2328862"/>
                <a:gd name="connsiteY82" fmla="*/ 1545908 h 2278379"/>
                <a:gd name="connsiteX83" fmla="*/ 2114550 w 2328862"/>
                <a:gd name="connsiteY83" fmla="*/ 1541145 h 2278379"/>
                <a:gd name="connsiteX84" fmla="*/ 2134553 w 2328862"/>
                <a:gd name="connsiteY84" fmla="*/ 1519238 h 2278379"/>
                <a:gd name="connsiteX85" fmla="*/ 2151698 w 2328862"/>
                <a:gd name="connsiteY85" fmla="*/ 1512570 h 2278379"/>
                <a:gd name="connsiteX86" fmla="*/ 2156460 w 2328862"/>
                <a:gd name="connsiteY86" fmla="*/ 1503998 h 2278379"/>
                <a:gd name="connsiteX87" fmla="*/ 2128838 w 2328862"/>
                <a:gd name="connsiteY87" fmla="*/ 1503045 h 2278379"/>
                <a:gd name="connsiteX88" fmla="*/ 2122170 w 2328862"/>
                <a:gd name="connsiteY88" fmla="*/ 1495425 h 2278379"/>
                <a:gd name="connsiteX89" fmla="*/ 2129790 w 2328862"/>
                <a:gd name="connsiteY89" fmla="*/ 1476375 h 2278379"/>
                <a:gd name="connsiteX90" fmla="*/ 2121218 w 2328862"/>
                <a:gd name="connsiteY90" fmla="*/ 1459230 h 2278379"/>
                <a:gd name="connsiteX91" fmla="*/ 2115503 w 2328862"/>
                <a:gd name="connsiteY91" fmla="*/ 1459230 h 2278379"/>
                <a:gd name="connsiteX92" fmla="*/ 2092643 w 2328862"/>
                <a:gd name="connsiteY92" fmla="*/ 1471613 h 2278379"/>
                <a:gd name="connsiteX93" fmla="*/ 2074545 w 2328862"/>
                <a:gd name="connsiteY93" fmla="*/ 1496378 h 2278379"/>
                <a:gd name="connsiteX94" fmla="*/ 2077403 w 2328862"/>
                <a:gd name="connsiteY94" fmla="*/ 1512570 h 2278379"/>
                <a:gd name="connsiteX95" fmla="*/ 2108835 w 2328862"/>
                <a:gd name="connsiteY95" fmla="*/ 1544955 h 2278379"/>
                <a:gd name="connsiteX96" fmla="*/ 2121218 w 2328862"/>
                <a:gd name="connsiteY96" fmla="*/ 1547813 h 2278379"/>
                <a:gd name="connsiteX97" fmla="*/ 2121218 w 2328862"/>
                <a:gd name="connsiteY97" fmla="*/ 1555433 h 2278379"/>
                <a:gd name="connsiteX98" fmla="*/ 2099310 w 2328862"/>
                <a:gd name="connsiteY98" fmla="*/ 1570673 h 2278379"/>
                <a:gd name="connsiteX99" fmla="*/ 2052638 w 2328862"/>
                <a:gd name="connsiteY99" fmla="*/ 1608773 h 2278379"/>
                <a:gd name="connsiteX100" fmla="*/ 2014538 w 2328862"/>
                <a:gd name="connsiteY100" fmla="*/ 1645920 h 2278379"/>
                <a:gd name="connsiteX101" fmla="*/ 1984058 w 2328862"/>
                <a:gd name="connsiteY101" fmla="*/ 1659255 h 2278379"/>
                <a:gd name="connsiteX102" fmla="*/ 1936433 w 2328862"/>
                <a:gd name="connsiteY102" fmla="*/ 1687830 h 2278379"/>
                <a:gd name="connsiteX103" fmla="*/ 1901190 w 2328862"/>
                <a:gd name="connsiteY103" fmla="*/ 1706880 h 2278379"/>
                <a:gd name="connsiteX104" fmla="*/ 1858328 w 2328862"/>
                <a:gd name="connsiteY104" fmla="*/ 1724978 h 2278379"/>
                <a:gd name="connsiteX105" fmla="*/ 1819275 w 2328862"/>
                <a:gd name="connsiteY105" fmla="*/ 1748790 h 2278379"/>
                <a:gd name="connsiteX106" fmla="*/ 1849755 w 2328862"/>
                <a:gd name="connsiteY106" fmla="*/ 1720215 h 2278379"/>
                <a:gd name="connsiteX107" fmla="*/ 1849755 w 2328862"/>
                <a:gd name="connsiteY107" fmla="*/ 1709738 h 2278379"/>
                <a:gd name="connsiteX108" fmla="*/ 1855470 w 2328862"/>
                <a:gd name="connsiteY108" fmla="*/ 1702118 h 2278379"/>
                <a:gd name="connsiteX109" fmla="*/ 1853565 w 2328862"/>
                <a:gd name="connsiteY109" fmla="*/ 1684973 h 2278379"/>
                <a:gd name="connsiteX110" fmla="*/ 1839278 w 2328862"/>
                <a:gd name="connsiteY110" fmla="*/ 1684020 h 2278379"/>
                <a:gd name="connsiteX111" fmla="*/ 1828800 w 2328862"/>
                <a:gd name="connsiteY111" fmla="*/ 1698308 h 2278379"/>
                <a:gd name="connsiteX112" fmla="*/ 1804035 w 2328862"/>
                <a:gd name="connsiteY112" fmla="*/ 1710690 h 2278379"/>
                <a:gd name="connsiteX113" fmla="*/ 1786890 w 2328862"/>
                <a:gd name="connsiteY113" fmla="*/ 1699260 h 2278379"/>
                <a:gd name="connsiteX114" fmla="*/ 1784033 w 2328862"/>
                <a:gd name="connsiteY114" fmla="*/ 1683068 h 2278379"/>
                <a:gd name="connsiteX115" fmla="*/ 1769745 w 2328862"/>
                <a:gd name="connsiteY115" fmla="*/ 1683068 h 2278379"/>
                <a:gd name="connsiteX116" fmla="*/ 1777365 w 2328862"/>
                <a:gd name="connsiteY116" fmla="*/ 1704023 h 2278379"/>
                <a:gd name="connsiteX117" fmla="*/ 1790700 w 2328862"/>
                <a:gd name="connsiteY117" fmla="*/ 1710690 h 2278379"/>
                <a:gd name="connsiteX118" fmla="*/ 1802130 w 2328862"/>
                <a:gd name="connsiteY118" fmla="*/ 1719263 h 2278379"/>
                <a:gd name="connsiteX119" fmla="*/ 1819275 w 2328862"/>
                <a:gd name="connsiteY119" fmla="*/ 1734503 h 2278379"/>
                <a:gd name="connsiteX120" fmla="*/ 1812608 w 2328862"/>
                <a:gd name="connsiteY120" fmla="*/ 1742123 h 2278379"/>
                <a:gd name="connsiteX121" fmla="*/ 1775460 w 2328862"/>
                <a:gd name="connsiteY121" fmla="*/ 1758315 h 2278379"/>
                <a:gd name="connsiteX122" fmla="*/ 1759268 w 2328862"/>
                <a:gd name="connsiteY122" fmla="*/ 1759267 h 2278379"/>
                <a:gd name="connsiteX123" fmla="*/ 1747838 w 2328862"/>
                <a:gd name="connsiteY123" fmla="*/ 1747838 h 2278379"/>
                <a:gd name="connsiteX124" fmla="*/ 1743075 w 2328862"/>
                <a:gd name="connsiteY124" fmla="*/ 1767840 h 2278379"/>
                <a:gd name="connsiteX125" fmla="*/ 1747838 w 2328862"/>
                <a:gd name="connsiteY125" fmla="*/ 1778317 h 2278379"/>
                <a:gd name="connsiteX126" fmla="*/ 1722120 w 2328862"/>
                <a:gd name="connsiteY126" fmla="*/ 1797367 h 2278379"/>
                <a:gd name="connsiteX127" fmla="*/ 1707833 w 2328862"/>
                <a:gd name="connsiteY127" fmla="*/ 1799273 h 2278379"/>
                <a:gd name="connsiteX128" fmla="*/ 1700213 w 2328862"/>
                <a:gd name="connsiteY128" fmla="*/ 1805940 h 2278379"/>
                <a:gd name="connsiteX129" fmla="*/ 1696403 w 2328862"/>
                <a:gd name="connsiteY129" fmla="*/ 1822133 h 2278379"/>
                <a:gd name="connsiteX130" fmla="*/ 1679258 w 2328862"/>
                <a:gd name="connsiteY130" fmla="*/ 1853565 h 2278379"/>
                <a:gd name="connsiteX131" fmla="*/ 1664018 w 2328862"/>
                <a:gd name="connsiteY131" fmla="*/ 1860233 h 2278379"/>
                <a:gd name="connsiteX132" fmla="*/ 1648778 w 2328862"/>
                <a:gd name="connsiteY132" fmla="*/ 1854517 h 2278379"/>
                <a:gd name="connsiteX133" fmla="*/ 1631633 w 2328862"/>
                <a:gd name="connsiteY133" fmla="*/ 1864995 h 2278379"/>
                <a:gd name="connsiteX134" fmla="*/ 1634490 w 2328862"/>
                <a:gd name="connsiteY134" fmla="*/ 1878330 h 2278379"/>
                <a:gd name="connsiteX135" fmla="*/ 1646873 w 2328862"/>
                <a:gd name="connsiteY135" fmla="*/ 1885950 h 2278379"/>
                <a:gd name="connsiteX136" fmla="*/ 1656398 w 2328862"/>
                <a:gd name="connsiteY136" fmla="*/ 1893570 h 2278379"/>
                <a:gd name="connsiteX137" fmla="*/ 1639253 w 2328862"/>
                <a:gd name="connsiteY137" fmla="*/ 1926908 h 2278379"/>
                <a:gd name="connsiteX138" fmla="*/ 1636395 w 2328862"/>
                <a:gd name="connsiteY138" fmla="*/ 1953578 h 2278379"/>
                <a:gd name="connsiteX139" fmla="*/ 1626870 w 2328862"/>
                <a:gd name="connsiteY139" fmla="*/ 1969770 h 2278379"/>
                <a:gd name="connsiteX140" fmla="*/ 1613535 w 2328862"/>
                <a:gd name="connsiteY140" fmla="*/ 1979295 h 2278379"/>
                <a:gd name="connsiteX141" fmla="*/ 1585913 w 2328862"/>
                <a:gd name="connsiteY141" fmla="*/ 1983105 h 2278379"/>
                <a:gd name="connsiteX142" fmla="*/ 1603058 w 2328862"/>
                <a:gd name="connsiteY142" fmla="*/ 1988820 h 2278379"/>
                <a:gd name="connsiteX143" fmla="*/ 1621155 w 2328862"/>
                <a:gd name="connsiteY143" fmla="*/ 1983105 h 2278379"/>
                <a:gd name="connsiteX144" fmla="*/ 1617345 w 2328862"/>
                <a:gd name="connsiteY144" fmla="*/ 2013585 h 2278379"/>
                <a:gd name="connsiteX145" fmla="*/ 1606868 w 2328862"/>
                <a:gd name="connsiteY145" fmla="*/ 2012633 h 2278379"/>
                <a:gd name="connsiteX146" fmla="*/ 1608773 w 2328862"/>
                <a:gd name="connsiteY146" fmla="*/ 2024063 h 2278379"/>
                <a:gd name="connsiteX147" fmla="*/ 1611630 w 2328862"/>
                <a:gd name="connsiteY147" fmla="*/ 2037398 h 2278379"/>
                <a:gd name="connsiteX148" fmla="*/ 1599248 w 2328862"/>
                <a:gd name="connsiteY148" fmla="*/ 2045970 h 2278379"/>
                <a:gd name="connsiteX149" fmla="*/ 1599248 w 2328862"/>
                <a:gd name="connsiteY149" fmla="*/ 2075498 h 2278379"/>
                <a:gd name="connsiteX150" fmla="*/ 1614488 w 2328862"/>
                <a:gd name="connsiteY150" fmla="*/ 2088833 h 2278379"/>
                <a:gd name="connsiteX151" fmla="*/ 1620203 w 2328862"/>
                <a:gd name="connsiteY151" fmla="*/ 2118360 h 2278379"/>
                <a:gd name="connsiteX152" fmla="*/ 1616393 w 2328862"/>
                <a:gd name="connsiteY152" fmla="*/ 2139315 h 2278379"/>
                <a:gd name="connsiteX153" fmla="*/ 1606868 w 2328862"/>
                <a:gd name="connsiteY153" fmla="*/ 2143125 h 2278379"/>
                <a:gd name="connsiteX154" fmla="*/ 1610678 w 2328862"/>
                <a:gd name="connsiteY154" fmla="*/ 2157413 h 2278379"/>
                <a:gd name="connsiteX155" fmla="*/ 1621155 w 2328862"/>
                <a:gd name="connsiteY155" fmla="*/ 2161223 h 2278379"/>
                <a:gd name="connsiteX156" fmla="*/ 1628775 w 2328862"/>
                <a:gd name="connsiteY156" fmla="*/ 2177415 h 2278379"/>
                <a:gd name="connsiteX157" fmla="*/ 1628775 w 2328862"/>
                <a:gd name="connsiteY157" fmla="*/ 2202180 h 2278379"/>
                <a:gd name="connsiteX158" fmla="*/ 1639253 w 2328862"/>
                <a:gd name="connsiteY158" fmla="*/ 2222183 h 2278379"/>
                <a:gd name="connsiteX159" fmla="*/ 1660208 w 2328862"/>
                <a:gd name="connsiteY159" fmla="*/ 2246948 h 2278379"/>
                <a:gd name="connsiteX160" fmla="*/ 1659255 w 2328862"/>
                <a:gd name="connsiteY160" fmla="*/ 2253615 h 2278379"/>
                <a:gd name="connsiteX161" fmla="*/ 1638300 w 2328862"/>
                <a:gd name="connsiteY161" fmla="*/ 2251710 h 2278379"/>
                <a:gd name="connsiteX162" fmla="*/ 1623060 w 2328862"/>
                <a:gd name="connsiteY162" fmla="*/ 2265045 h 2278379"/>
                <a:gd name="connsiteX163" fmla="*/ 1624965 w 2328862"/>
                <a:gd name="connsiteY163" fmla="*/ 2278380 h 2278379"/>
                <a:gd name="connsiteX164" fmla="*/ 1616393 w 2328862"/>
                <a:gd name="connsiteY164" fmla="*/ 2275523 h 2278379"/>
                <a:gd name="connsiteX165" fmla="*/ 1603058 w 2328862"/>
                <a:gd name="connsiteY165" fmla="*/ 2273617 h 2278379"/>
                <a:gd name="connsiteX166" fmla="*/ 1570673 w 2328862"/>
                <a:gd name="connsiteY166" fmla="*/ 2238375 h 2278379"/>
                <a:gd name="connsiteX167" fmla="*/ 1548765 w 2328862"/>
                <a:gd name="connsiteY167" fmla="*/ 2232660 h 2278379"/>
                <a:gd name="connsiteX168" fmla="*/ 1481138 w 2328862"/>
                <a:gd name="connsiteY168" fmla="*/ 2232660 h 2278379"/>
                <a:gd name="connsiteX169" fmla="*/ 1454468 w 2328862"/>
                <a:gd name="connsiteY169" fmla="*/ 2225040 h 2278379"/>
                <a:gd name="connsiteX170" fmla="*/ 1420178 w 2328862"/>
                <a:gd name="connsiteY170" fmla="*/ 2196465 h 2278379"/>
                <a:gd name="connsiteX171" fmla="*/ 1403985 w 2328862"/>
                <a:gd name="connsiteY171" fmla="*/ 2186940 h 2278379"/>
                <a:gd name="connsiteX172" fmla="*/ 1383983 w 2328862"/>
                <a:gd name="connsiteY172" fmla="*/ 2187892 h 2278379"/>
                <a:gd name="connsiteX173" fmla="*/ 1353503 w 2328862"/>
                <a:gd name="connsiteY173" fmla="*/ 2163128 h 2278379"/>
                <a:gd name="connsiteX174" fmla="*/ 1302068 w 2328862"/>
                <a:gd name="connsiteY174" fmla="*/ 2147888 h 2278379"/>
                <a:gd name="connsiteX175" fmla="*/ 1302068 w 2328862"/>
                <a:gd name="connsiteY175" fmla="*/ 2135505 h 2278379"/>
                <a:gd name="connsiteX176" fmla="*/ 1288733 w 2328862"/>
                <a:gd name="connsiteY176" fmla="*/ 2118360 h 2278379"/>
                <a:gd name="connsiteX177" fmla="*/ 1280160 w 2328862"/>
                <a:gd name="connsiteY177" fmla="*/ 2073592 h 2278379"/>
                <a:gd name="connsiteX178" fmla="*/ 1269683 w 2328862"/>
                <a:gd name="connsiteY178" fmla="*/ 2057400 h 2278379"/>
                <a:gd name="connsiteX179" fmla="*/ 1253490 w 2328862"/>
                <a:gd name="connsiteY179" fmla="*/ 2044065 h 2278379"/>
                <a:gd name="connsiteX180" fmla="*/ 1253490 w 2328862"/>
                <a:gd name="connsiteY180" fmla="*/ 2028825 h 2278379"/>
                <a:gd name="connsiteX181" fmla="*/ 1240155 w 2328862"/>
                <a:gd name="connsiteY181" fmla="*/ 2023110 h 2278379"/>
                <a:gd name="connsiteX182" fmla="*/ 1245870 w 2328862"/>
                <a:gd name="connsiteY182" fmla="*/ 1998345 h 2278379"/>
                <a:gd name="connsiteX183" fmla="*/ 1243013 w 2328862"/>
                <a:gd name="connsiteY183" fmla="*/ 1977390 h 2278379"/>
                <a:gd name="connsiteX184" fmla="*/ 1230630 w 2328862"/>
                <a:gd name="connsiteY184" fmla="*/ 1964055 h 2278379"/>
                <a:gd name="connsiteX185" fmla="*/ 1237298 w 2328862"/>
                <a:gd name="connsiteY185" fmla="*/ 1935480 h 2278379"/>
                <a:gd name="connsiteX186" fmla="*/ 1229678 w 2328862"/>
                <a:gd name="connsiteY186" fmla="*/ 1905000 h 2278379"/>
                <a:gd name="connsiteX187" fmla="*/ 1213485 w 2328862"/>
                <a:gd name="connsiteY187" fmla="*/ 1891665 h 2278379"/>
                <a:gd name="connsiteX188" fmla="*/ 1203008 w 2328862"/>
                <a:gd name="connsiteY188" fmla="*/ 1891665 h 2278379"/>
                <a:gd name="connsiteX189" fmla="*/ 1164908 w 2328862"/>
                <a:gd name="connsiteY189" fmla="*/ 1858328 h 2278379"/>
                <a:gd name="connsiteX190" fmla="*/ 1165860 w 2328862"/>
                <a:gd name="connsiteY190" fmla="*/ 1840230 h 2278379"/>
                <a:gd name="connsiteX191" fmla="*/ 1158240 w 2328862"/>
                <a:gd name="connsiteY191" fmla="*/ 1824038 h 2278379"/>
                <a:gd name="connsiteX192" fmla="*/ 1150620 w 2328862"/>
                <a:gd name="connsiteY192" fmla="*/ 1822133 h 2278379"/>
                <a:gd name="connsiteX193" fmla="*/ 1142048 w 2328862"/>
                <a:gd name="connsiteY193" fmla="*/ 1799273 h 2278379"/>
                <a:gd name="connsiteX194" fmla="*/ 1122998 w 2328862"/>
                <a:gd name="connsiteY194" fmla="*/ 1784033 h 2278379"/>
                <a:gd name="connsiteX195" fmla="*/ 1095375 w 2328862"/>
                <a:gd name="connsiteY195" fmla="*/ 1760220 h 2278379"/>
                <a:gd name="connsiteX196" fmla="*/ 1093470 w 2328862"/>
                <a:gd name="connsiteY196" fmla="*/ 1740217 h 2278379"/>
                <a:gd name="connsiteX197" fmla="*/ 1083945 w 2328862"/>
                <a:gd name="connsiteY197" fmla="*/ 1733550 h 2278379"/>
                <a:gd name="connsiteX198" fmla="*/ 1085850 w 2328862"/>
                <a:gd name="connsiteY198" fmla="*/ 1718310 h 2278379"/>
                <a:gd name="connsiteX199" fmla="*/ 1090613 w 2328862"/>
                <a:gd name="connsiteY199" fmla="*/ 1711642 h 2278379"/>
                <a:gd name="connsiteX200" fmla="*/ 1077278 w 2328862"/>
                <a:gd name="connsiteY200" fmla="*/ 1697355 h 2278379"/>
                <a:gd name="connsiteX201" fmla="*/ 1078230 w 2328862"/>
                <a:gd name="connsiteY201" fmla="*/ 1690688 h 2278379"/>
                <a:gd name="connsiteX202" fmla="*/ 1059180 w 2328862"/>
                <a:gd name="connsiteY202" fmla="*/ 1669733 h 2278379"/>
                <a:gd name="connsiteX203" fmla="*/ 1060133 w 2328862"/>
                <a:gd name="connsiteY203" fmla="*/ 1649730 h 2278379"/>
                <a:gd name="connsiteX204" fmla="*/ 1034415 w 2328862"/>
                <a:gd name="connsiteY204" fmla="*/ 1603058 h 2278379"/>
                <a:gd name="connsiteX205" fmla="*/ 1033463 w 2328862"/>
                <a:gd name="connsiteY205" fmla="*/ 1586865 h 2278379"/>
                <a:gd name="connsiteX206" fmla="*/ 1016318 w 2328862"/>
                <a:gd name="connsiteY206" fmla="*/ 1557338 h 2278379"/>
                <a:gd name="connsiteX207" fmla="*/ 967740 w 2328862"/>
                <a:gd name="connsiteY207" fmla="*/ 1511618 h 2278379"/>
                <a:gd name="connsiteX208" fmla="*/ 967740 w 2328862"/>
                <a:gd name="connsiteY208" fmla="*/ 1501140 h 2278379"/>
                <a:gd name="connsiteX209" fmla="*/ 936308 w 2328862"/>
                <a:gd name="connsiteY209" fmla="*/ 1484948 h 2278379"/>
                <a:gd name="connsiteX210" fmla="*/ 935355 w 2328862"/>
                <a:gd name="connsiteY210" fmla="*/ 1467803 h 2278379"/>
                <a:gd name="connsiteX211" fmla="*/ 923925 w 2328862"/>
                <a:gd name="connsiteY211" fmla="*/ 1463993 h 2278379"/>
                <a:gd name="connsiteX212" fmla="*/ 923925 w 2328862"/>
                <a:gd name="connsiteY212" fmla="*/ 1457325 h 2278379"/>
                <a:gd name="connsiteX213" fmla="*/ 916305 w 2328862"/>
                <a:gd name="connsiteY213" fmla="*/ 1455420 h 2278379"/>
                <a:gd name="connsiteX214" fmla="*/ 896303 w 2328862"/>
                <a:gd name="connsiteY214" fmla="*/ 1428750 h 2278379"/>
                <a:gd name="connsiteX215" fmla="*/ 888683 w 2328862"/>
                <a:gd name="connsiteY215" fmla="*/ 1428750 h 2278379"/>
                <a:gd name="connsiteX216" fmla="*/ 882015 w 2328862"/>
                <a:gd name="connsiteY216" fmla="*/ 1423035 h 2278379"/>
                <a:gd name="connsiteX217" fmla="*/ 869633 w 2328862"/>
                <a:gd name="connsiteY217" fmla="*/ 1433513 h 2278379"/>
                <a:gd name="connsiteX218" fmla="*/ 848678 w 2328862"/>
                <a:gd name="connsiteY218" fmla="*/ 1433513 h 2278379"/>
                <a:gd name="connsiteX219" fmla="*/ 823913 w 2328862"/>
                <a:gd name="connsiteY219" fmla="*/ 1423035 h 2278379"/>
                <a:gd name="connsiteX220" fmla="*/ 780098 w 2328862"/>
                <a:gd name="connsiteY220" fmla="*/ 1423035 h 2278379"/>
                <a:gd name="connsiteX221" fmla="*/ 740093 w 2328862"/>
                <a:gd name="connsiteY221" fmla="*/ 1403033 h 2278379"/>
                <a:gd name="connsiteX222" fmla="*/ 727710 w 2328862"/>
                <a:gd name="connsiteY222" fmla="*/ 1421130 h 2278379"/>
                <a:gd name="connsiteX223" fmla="*/ 706755 w 2328862"/>
                <a:gd name="connsiteY223" fmla="*/ 1415415 h 2278379"/>
                <a:gd name="connsiteX224" fmla="*/ 675323 w 2328862"/>
                <a:gd name="connsiteY224" fmla="*/ 1426845 h 2278379"/>
                <a:gd name="connsiteX225" fmla="*/ 659130 w 2328862"/>
                <a:gd name="connsiteY225" fmla="*/ 1453515 h 2278379"/>
                <a:gd name="connsiteX226" fmla="*/ 640080 w 2328862"/>
                <a:gd name="connsiteY226" fmla="*/ 1483995 h 2278379"/>
                <a:gd name="connsiteX227" fmla="*/ 629603 w 2328862"/>
                <a:gd name="connsiteY227" fmla="*/ 1525905 h 2278379"/>
                <a:gd name="connsiteX228" fmla="*/ 616268 w 2328862"/>
                <a:gd name="connsiteY228" fmla="*/ 1537335 h 2278379"/>
                <a:gd name="connsiteX229" fmla="*/ 605790 w 2328862"/>
                <a:gd name="connsiteY229" fmla="*/ 1538288 h 2278379"/>
                <a:gd name="connsiteX230" fmla="*/ 597218 w 2328862"/>
                <a:gd name="connsiteY230" fmla="*/ 1553528 h 2278379"/>
                <a:gd name="connsiteX231" fmla="*/ 584835 w 2328862"/>
                <a:gd name="connsiteY231" fmla="*/ 1559243 h 2278379"/>
                <a:gd name="connsiteX232" fmla="*/ 583883 w 2328862"/>
                <a:gd name="connsiteY232" fmla="*/ 1576388 h 2278379"/>
                <a:gd name="connsiteX233" fmla="*/ 556260 w 2328862"/>
                <a:gd name="connsiteY233" fmla="*/ 1577340 h 2278379"/>
                <a:gd name="connsiteX234" fmla="*/ 539115 w 2328862"/>
                <a:gd name="connsiteY234" fmla="*/ 1563053 h 2278379"/>
                <a:gd name="connsiteX235" fmla="*/ 529590 w 2328862"/>
                <a:gd name="connsiteY235" fmla="*/ 1563053 h 2278379"/>
                <a:gd name="connsiteX236" fmla="*/ 510540 w 2328862"/>
                <a:gd name="connsiteY236" fmla="*/ 1535430 h 2278379"/>
                <a:gd name="connsiteX237" fmla="*/ 476250 w 2328862"/>
                <a:gd name="connsiteY237" fmla="*/ 1530668 h 2278379"/>
                <a:gd name="connsiteX238" fmla="*/ 460058 w 2328862"/>
                <a:gd name="connsiteY238" fmla="*/ 1508760 h 2278379"/>
                <a:gd name="connsiteX239" fmla="*/ 447675 w 2328862"/>
                <a:gd name="connsiteY239" fmla="*/ 1506855 h 2278379"/>
                <a:gd name="connsiteX240" fmla="*/ 427673 w 2328862"/>
                <a:gd name="connsiteY240" fmla="*/ 1499235 h 2278379"/>
                <a:gd name="connsiteX241" fmla="*/ 395288 w 2328862"/>
                <a:gd name="connsiteY241" fmla="*/ 1466850 h 2278379"/>
                <a:gd name="connsiteX242" fmla="*/ 397193 w 2328862"/>
                <a:gd name="connsiteY242" fmla="*/ 1459230 h 2278379"/>
                <a:gd name="connsiteX243" fmla="*/ 381953 w 2328862"/>
                <a:gd name="connsiteY243" fmla="*/ 1447800 h 2278379"/>
                <a:gd name="connsiteX244" fmla="*/ 372428 w 2328862"/>
                <a:gd name="connsiteY244" fmla="*/ 1446848 h 2278379"/>
                <a:gd name="connsiteX245" fmla="*/ 340043 w 2328862"/>
                <a:gd name="connsiteY245" fmla="*/ 1417320 h 2278379"/>
                <a:gd name="connsiteX246" fmla="*/ 339090 w 2328862"/>
                <a:gd name="connsiteY246" fmla="*/ 1398270 h 2278379"/>
                <a:gd name="connsiteX247" fmla="*/ 317183 w 2328862"/>
                <a:gd name="connsiteY247" fmla="*/ 1360170 h 2278379"/>
                <a:gd name="connsiteX248" fmla="*/ 319088 w 2328862"/>
                <a:gd name="connsiteY248" fmla="*/ 1344930 h 2278379"/>
                <a:gd name="connsiteX249" fmla="*/ 312420 w 2328862"/>
                <a:gd name="connsiteY249" fmla="*/ 1332548 h 2278379"/>
                <a:gd name="connsiteX250" fmla="*/ 320040 w 2328862"/>
                <a:gd name="connsiteY250" fmla="*/ 1318260 h 2278379"/>
                <a:gd name="connsiteX251" fmla="*/ 319088 w 2328862"/>
                <a:gd name="connsiteY251" fmla="*/ 1295400 h 2278379"/>
                <a:gd name="connsiteX252" fmla="*/ 294323 w 2328862"/>
                <a:gd name="connsiteY252" fmla="*/ 1256348 h 2278379"/>
                <a:gd name="connsiteX253" fmla="*/ 288608 w 2328862"/>
                <a:gd name="connsiteY253" fmla="*/ 1216343 h 2278379"/>
                <a:gd name="connsiteX254" fmla="*/ 273368 w 2328862"/>
                <a:gd name="connsiteY254" fmla="*/ 1201103 h 2278379"/>
                <a:gd name="connsiteX255" fmla="*/ 273368 w 2328862"/>
                <a:gd name="connsiteY255" fmla="*/ 1191578 h 2278379"/>
                <a:gd name="connsiteX256" fmla="*/ 261938 w 2328862"/>
                <a:gd name="connsiteY256" fmla="*/ 1189673 h 2278379"/>
                <a:gd name="connsiteX257" fmla="*/ 255270 w 2328862"/>
                <a:gd name="connsiteY257" fmla="*/ 1179195 h 2278379"/>
                <a:gd name="connsiteX258" fmla="*/ 232410 w 2328862"/>
                <a:gd name="connsiteY258" fmla="*/ 1163003 h 2278379"/>
                <a:gd name="connsiteX259" fmla="*/ 223838 w 2328862"/>
                <a:gd name="connsiteY259" fmla="*/ 1162050 h 2278379"/>
                <a:gd name="connsiteX260" fmla="*/ 205740 w 2328862"/>
                <a:gd name="connsiteY260" fmla="*/ 1146810 h 2278379"/>
                <a:gd name="connsiteX261" fmla="*/ 205740 w 2328862"/>
                <a:gd name="connsiteY261" fmla="*/ 1136333 h 2278379"/>
                <a:gd name="connsiteX262" fmla="*/ 178118 w 2328862"/>
                <a:gd name="connsiteY262" fmla="*/ 1119188 h 2278379"/>
                <a:gd name="connsiteX263" fmla="*/ 172403 w 2328862"/>
                <a:gd name="connsiteY263" fmla="*/ 1099185 h 2278379"/>
                <a:gd name="connsiteX264" fmla="*/ 147638 w 2328862"/>
                <a:gd name="connsiteY264" fmla="*/ 1077278 h 2278379"/>
                <a:gd name="connsiteX265" fmla="*/ 117158 w 2328862"/>
                <a:gd name="connsiteY265" fmla="*/ 1035368 h 2278379"/>
                <a:gd name="connsiteX266" fmla="*/ 88583 w 2328862"/>
                <a:gd name="connsiteY266" fmla="*/ 1022985 h 2278379"/>
                <a:gd name="connsiteX267" fmla="*/ 68580 w 2328862"/>
                <a:gd name="connsiteY267" fmla="*/ 1005840 h 2278379"/>
                <a:gd name="connsiteX268" fmla="*/ 70485 w 2328862"/>
                <a:gd name="connsiteY268" fmla="*/ 994410 h 2278379"/>
                <a:gd name="connsiteX269" fmla="*/ 58103 w 2328862"/>
                <a:gd name="connsiteY269" fmla="*/ 981075 h 2278379"/>
                <a:gd name="connsiteX270" fmla="*/ 41910 w 2328862"/>
                <a:gd name="connsiteY270" fmla="*/ 945833 h 2278379"/>
                <a:gd name="connsiteX271" fmla="*/ 19050 w 2328862"/>
                <a:gd name="connsiteY271" fmla="*/ 936308 h 2278379"/>
                <a:gd name="connsiteX272" fmla="*/ 1665923 w 2328862"/>
                <a:gd name="connsiteY272" fmla="*/ 2232660 h 2278379"/>
                <a:gd name="connsiteX273" fmla="*/ 1673543 w 2328862"/>
                <a:gd name="connsiteY273" fmla="*/ 2233613 h 2278379"/>
                <a:gd name="connsiteX274" fmla="*/ 1667828 w 2328862"/>
                <a:gd name="connsiteY274" fmla="*/ 2187892 h 2278379"/>
                <a:gd name="connsiteX275" fmla="*/ 1634490 w 2328862"/>
                <a:gd name="connsiteY275" fmla="*/ 2070735 h 2278379"/>
                <a:gd name="connsiteX276" fmla="*/ 1632585 w 2328862"/>
                <a:gd name="connsiteY276" fmla="*/ 1993583 h 2278379"/>
                <a:gd name="connsiteX277" fmla="*/ 1679258 w 2328862"/>
                <a:gd name="connsiteY277" fmla="*/ 1893570 h 2278379"/>
                <a:gd name="connsiteX278" fmla="*/ 1737360 w 2328862"/>
                <a:gd name="connsiteY278" fmla="*/ 1815465 h 2278379"/>
                <a:gd name="connsiteX279" fmla="*/ 1805940 w 2328862"/>
                <a:gd name="connsiteY279" fmla="*/ 1766888 h 2278379"/>
                <a:gd name="connsiteX280" fmla="*/ 1805940 w 2328862"/>
                <a:gd name="connsiteY280" fmla="*/ 1760220 h 2278379"/>
                <a:gd name="connsiteX281" fmla="*/ 1798320 w 2328862"/>
                <a:gd name="connsiteY281" fmla="*/ 1760220 h 2278379"/>
                <a:gd name="connsiteX282" fmla="*/ 1773555 w 2328862"/>
                <a:gd name="connsiteY282" fmla="*/ 1769745 h 2278379"/>
                <a:gd name="connsiteX283" fmla="*/ 1739265 w 2328862"/>
                <a:gd name="connsiteY283" fmla="*/ 1791653 h 2278379"/>
                <a:gd name="connsiteX284" fmla="*/ 1732598 w 2328862"/>
                <a:gd name="connsiteY284" fmla="*/ 1805940 h 2278379"/>
                <a:gd name="connsiteX285" fmla="*/ 1654493 w 2328862"/>
                <a:gd name="connsiteY285" fmla="*/ 1916430 h 2278379"/>
                <a:gd name="connsiteX286" fmla="*/ 1627823 w 2328862"/>
                <a:gd name="connsiteY286" fmla="*/ 1991678 h 2278379"/>
                <a:gd name="connsiteX287" fmla="*/ 1627823 w 2328862"/>
                <a:gd name="connsiteY287" fmla="*/ 2075498 h 2278379"/>
                <a:gd name="connsiteX288" fmla="*/ 1662113 w 2328862"/>
                <a:gd name="connsiteY288" fmla="*/ 2189798 h 2278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</a:cxnLst>
              <a:rect l="l" t="t" r="r" b="b"/>
              <a:pathLst>
                <a:path w="2328862" h="2278379">
                  <a:moveTo>
                    <a:pt x="0" y="915353"/>
                  </a:moveTo>
                  <a:lnTo>
                    <a:pt x="2858" y="886778"/>
                  </a:lnTo>
                  <a:lnTo>
                    <a:pt x="330518" y="921068"/>
                  </a:lnTo>
                  <a:lnTo>
                    <a:pt x="633413" y="945833"/>
                  </a:lnTo>
                  <a:lnTo>
                    <a:pt x="708660" y="0"/>
                  </a:lnTo>
                  <a:lnTo>
                    <a:pt x="716280" y="0"/>
                  </a:lnTo>
                  <a:lnTo>
                    <a:pt x="1217295" y="30480"/>
                  </a:lnTo>
                  <a:lnTo>
                    <a:pt x="1203960" y="437197"/>
                  </a:lnTo>
                  <a:lnTo>
                    <a:pt x="1229678" y="449580"/>
                  </a:lnTo>
                  <a:lnTo>
                    <a:pt x="1253490" y="478155"/>
                  </a:lnTo>
                  <a:lnTo>
                    <a:pt x="1267778" y="481013"/>
                  </a:lnTo>
                  <a:lnTo>
                    <a:pt x="1278255" y="471488"/>
                  </a:lnTo>
                  <a:lnTo>
                    <a:pt x="1289685" y="475297"/>
                  </a:lnTo>
                  <a:lnTo>
                    <a:pt x="1303020" y="484822"/>
                  </a:lnTo>
                  <a:lnTo>
                    <a:pt x="1313498" y="470535"/>
                  </a:lnTo>
                  <a:lnTo>
                    <a:pt x="1335405" y="486728"/>
                  </a:lnTo>
                  <a:lnTo>
                    <a:pt x="1340168" y="514350"/>
                  </a:lnTo>
                  <a:lnTo>
                    <a:pt x="1351598" y="521018"/>
                  </a:lnTo>
                  <a:lnTo>
                    <a:pt x="1373505" y="520065"/>
                  </a:lnTo>
                  <a:lnTo>
                    <a:pt x="1406843" y="538163"/>
                  </a:lnTo>
                  <a:lnTo>
                    <a:pt x="1425893" y="537210"/>
                  </a:lnTo>
                  <a:lnTo>
                    <a:pt x="1439228" y="533400"/>
                  </a:lnTo>
                  <a:lnTo>
                    <a:pt x="1461135" y="554355"/>
                  </a:lnTo>
                  <a:lnTo>
                    <a:pt x="1480185" y="532447"/>
                  </a:lnTo>
                  <a:lnTo>
                    <a:pt x="1513523" y="542925"/>
                  </a:lnTo>
                  <a:lnTo>
                    <a:pt x="1531620" y="571500"/>
                  </a:lnTo>
                  <a:lnTo>
                    <a:pt x="1553528" y="570547"/>
                  </a:lnTo>
                  <a:lnTo>
                    <a:pt x="1546860" y="590550"/>
                  </a:lnTo>
                  <a:lnTo>
                    <a:pt x="1568768" y="601028"/>
                  </a:lnTo>
                  <a:lnTo>
                    <a:pt x="1597343" y="576263"/>
                  </a:lnTo>
                  <a:lnTo>
                    <a:pt x="1622108" y="592455"/>
                  </a:lnTo>
                  <a:lnTo>
                    <a:pt x="1634490" y="587693"/>
                  </a:lnTo>
                  <a:lnTo>
                    <a:pt x="1635443" y="601980"/>
                  </a:lnTo>
                  <a:lnTo>
                    <a:pt x="1651635" y="613410"/>
                  </a:lnTo>
                  <a:lnTo>
                    <a:pt x="1673543" y="589597"/>
                  </a:lnTo>
                  <a:lnTo>
                    <a:pt x="1684973" y="596265"/>
                  </a:lnTo>
                  <a:lnTo>
                    <a:pt x="1682115" y="615315"/>
                  </a:lnTo>
                  <a:lnTo>
                    <a:pt x="1691640" y="632460"/>
                  </a:lnTo>
                  <a:lnTo>
                    <a:pt x="1703070" y="624840"/>
                  </a:lnTo>
                  <a:lnTo>
                    <a:pt x="1726883" y="584835"/>
                  </a:lnTo>
                  <a:lnTo>
                    <a:pt x="1744028" y="603885"/>
                  </a:lnTo>
                  <a:lnTo>
                    <a:pt x="1763078" y="608647"/>
                  </a:lnTo>
                  <a:lnTo>
                    <a:pt x="1783080" y="601980"/>
                  </a:lnTo>
                  <a:lnTo>
                    <a:pt x="1802130" y="619125"/>
                  </a:lnTo>
                  <a:lnTo>
                    <a:pt x="1813560" y="618172"/>
                  </a:lnTo>
                  <a:lnTo>
                    <a:pt x="1825943" y="629603"/>
                  </a:lnTo>
                  <a:lnTo>
                    <a:pt x="1860233" y="621030"/>
                  </a:lnTo>
                  <a:lnTo>
                    <a:pt x="1865948" y="604838"/>
                  </a:lnTo>
                  <a:lnTo>
                    <a:pt x="1901190" y="601980"/>
                  </a:lnTo>
                  <a:lnTo>
                    <a:pt x="1916430" y="608647"/>
                  </a:lnTo>
                  <a:lnTo>
                    <a:pt x="1964055" y="584835"/>
                  </a:lnTo>
                  <a:lnTo>
                    <a:pt x="1969770" y="599122"/>
                  </a:lnTo>
                  <a:lnTo>
                    <a:pt x="2018348" y="596265"/>
                  </a:lnTo>
                  <a:lnTo>
                    <a:pt x="2023110" y="581025"/>
                  </a:lnTo>
                  <a:lnTo>
                    <a:pt x="2044065" y="589597"/>
                  </a:lnTo>
                  <a:lnTo>
                    <a:pt x="2087880" y="625793"/>
                  </a:lnTo>
                  <a:lnTo>
                    <a:pt x="2148840" y="643890"/>
                  </a:lnTo>
                  <a:lnTo>
                    <a:pt x="2173605" y="665797"/>
                  </a:lnTo>
                  <a:lnTo>
                    <a:pt x="2200275" y="653415"/>
                  </a:lnTo>
                  <a:lnTo>
                    <a:pt x="2230755" y="661035"/>
                  </a:lnTo>
                  <a:lnTo>
                    <a:pt x="2232660" y="774383"/>
                  </a:lnTo>
                  <a:lnTo>
                    <a:pt x="2237423" y="963930"/>
                  </a:lnTo>
                  <a:lnTo>
                    <a:pt x="2244090" y="996315"/>
                  </a:lnTo>
                  <a:lnTo>
                    <a:pt x="2268855" y="1022985"/>
                  </a:lnTo>
                  <a:lnTo>
                    <a:pt x="2275523" y="1074420"/>
                  </a:lnTo>
                  <a:lnTo>
                    <a:pt x="2311718" y="1118235"/>
                  </a:lnTo>
                  <a:lnTo>
                    <a:pt x="2319338" y="1159193"/>
                  </a:lnTo>
                  <a:lnTo>
                    <a:pt x="2328863" y="1159193"/>
                  </a:lnTo>
                  <a:lnTo>
                    <a:pt x="2327910" y="1228725"/>
                  </a:lnTo>
                  <a:lnTo>
                    <a:pt x="2296478" y="1289685"/>
                  </a:lnTo>
                  <a:lnTo>
                    <a:pt x="2308860" y="1311593"/>
                  </a:lnTo>
                  <a:lnTo>
                    <a:pt x="2296478" y="1325880"/>
                  </a:lnTo>
                  <a:lnTo>
                    <a:pt x="2303145" y="1354455"/>
                  </a:lnTo>
                  <a:lnTo>
                    <a:pt x="2302193" y="1395413"/>
                  </a:lnTo>
                  <a:lnTo>
                    <a:pt x="2281238" y="1428750"/>
                  </a:lnTo>
                  <a:lnTo>
                    <a:pt x="2280285" y="1436370"/>
                  </a:lnTo>
                  <a:lnTo>
                    <a:pt x="2264093" y="1447800"/>
                  </a:lnTo>
                  <a:lnTo>
                    <a:pt x="2273618" y="1464945"/>
                  </a:lnTo>
                  <a:lnTo>
                    <a:pt x="2285048" y="1475423"/>
                  </a:lnTo>
                  <a:lnTo>
                    <a:pt x="2251710" y="1478280"/>
                  </a:lnTo>
                  <a:lnTo>
                    <a:pt x="2171700" y="1515428"/>
                  </a:lnTo>
                  <a:lnTo>
                    <a:pt x="2138363" y="1528763"/>
                  </a:lnTo>
                  <a:lnTo>
                    <a:pt x="2121218" y="1545908"/>
                  </a:lnTo>
                  <a:lnTo>
                    <a:pt x="2114550" y="1541145"/>
                  </a:lnTo>
                  <a:lnTo>
                    <a:pt x="2134553" y="1519238"/>
                  </a:lnTo>
                  <a:lnTo>
                    <a:pt x="2151698" y="1512570"/>
                  </a:lnTo>
                  <a:lnTo>
                    <a:pt x="2156460" y="1503998"/>
                  </a:lnTo>
                  <a:lnTo>
                    <a:pt x="2128838" y="1503045"/>
                  </a:lnTo>
                  <a:lnTo>
                    <a:pt x="2122170" y="1495425"/>
                  </a:lnTo>
                  <a:lnTo>
                    <a:pt x="2129790" y="1476375"/>
                  </a:lnTo>
                  <a:lnTo>
                    <a:pt x="2121218" y="1459230"/>
                  </a:lnTo>
                  <a:lnTo>
                    <a:pt x="2115503" y="1459230"/>
                  </a:lnTo>
                  <a:lnTo>
                    <a:pt x="2092643" y="1471613"/>
                  </a:lnTo>
                  <a:lnTo>
                    <a:pt x="2074545" y="1496378"/>
                  </a:lnTo>
                  <a:lnTo>
                    <a:pt x="2077403" y="1512570"/>
                  </a:lnTo>
                  <a:lnTo>
                    <a:pt x="2108835" y="1544955"/>
                  </a:lnTo>
                  <a:lnTo>
                    <a:pt x="2121218" y="1547813"/>
                  </a:lnTo>
                  <a:lnTo>
                    <a:pt x="2121218" y="1555433"/>
                  </a:lnTo>
                  <a:lnTo>
                    <a:pt x="2099310" y="1570673"/>
                  </a:lnTo>
                  <a:lnTo>
                    <a:pt x="2052638" y="1608773"/>
                  </a:lnTo>
                  <a:lnTo>
                    <a:pt x="2014538" y="1645920"/>
                  </a:lnTo>
                  <a:lnTo>
                    <a:pt x="1984058" y="1659255"/>
                  </a:lnTo>
                  <a:lnTo>
                    <a:pt x="1936433" y="1687830"/>
                  </a:lnTo>
                  <a:lnTo>
                    <a:pt x="1901190" y="1706880"/>
                  </a:lnTo>
                  <a:lnTo>
                    <a:pt x="1858328" y="1724978"/>
                  </a:lnTo>
                  <a:lnTo>
                    <a:pt x="1819275" y="1748790"/>
                  </a:lnTo>
                  <a:lnTo>
                    <a:pt x="1849755" y="1720215"/>
                  </a:lnTo>
                  <a:lnTo>
                    <a:pt x="1849755" y="1709738"/>
                  </a:lnTo>
                  <a:lnTo>
                    <a:pt x="1855470" y="1702118"/>
                  </a:lnTo>
                  <a:lnTo>
                    <a:pt x="1853565" y="1684973"/>
                  </a:lnTo>
                  <a:lnTo>
                    <a:pt x="1839278" y="1684020"/>
                  </a:lnTo>
                  <a:lnTo>
                    <a:pt x="1828800" y="1698308"/>
                  </a:lnTo>
                  <a:lnTo>
                    <a:pt x="1804035" y="1710690"/>
                  </a:lnTo>
                  <a:lnTo>
                    <a:pt x="1786890" y="1699260"/>
                  </a:lnTo>
                  <a:lnTo>
                    <a:pt x="1784033" y="1683068"/>
                  </a:lnTo>
                  <a:lnTo>
                    <a:pt x="1769745" y="1683068"/>
                  </a:lnTo>
                  <a:lnTo>
                    <a:pt x="1777365" y="1704023"/>
                  </a:lnTo>
                  <a:lnTo>
                    <a:pt x="1790700" y="1710690"/>
                  </a:lnTo>
                  <a:lnTo>
                    <a:pt x="1802130" y="1719263"/>
                  </a:lnTo>
                  <a:lnTo>
                    <a:pt x="1819275" y="1734503"/>
                  </a:lnTo>
                  <a:lnTo>
                    <a:pt x="1812608" y="1742123"/>
                  </a:lnTo>
                  <a:lnTo>
                    <a:pt x="1775460" y="1758315"/>
                  </a:lnTo>
                  <a:lnTo>
                    <a:pt x="1759268" y="1759267"/>
                  </a:lnTo>
                  <a:lnTo>
                    <a:pt x="1747838" y="1747838"/>
                  </a:lnTo>
                  <a:lnTo>
                    <a:pt x="1743075" y="1767840"/>
                  </a:lnTo>
                  <a:lnTo>
                    <a:pt x="1747838" y="1778317"/>
                  </a:lnTo>
                  <a:lnTo>
                    <a:pt x="1722120" y="1797367"/>
                  </a:lnTo>
                  <a:lnTo>
                    <a:pt x="1707833" y="1799273"/>
                  </a:lnTo>
                  <a:lnTo>
                    <a:pt x="1700213" y="1805940"/>
                  </a:lnTo>
                  <a:lnTo>
                    <a:pt x="1696403" y="1822133"/>
                  </a:lnTo>
                  <a:lnTo>
                    <a:pt x="1679258" y="1853565"/>
                  </a:lnTo>
                  <a:lnTo>
                    <a:pt x="1664018" y="1860233"/>
                  </a:lnTo>
                  <a:lnTo>
                    <a:pt x="1648778" y="1854517"/>
                  </a:lnTo>
                  <a:lnTo>
                    <a:pt x="1631633" y="1864995"/>
                  </a:lnTo>
                  <a:lnTo>
                    <a:pt x="1634490" y="1878330"/>
                  </a:lnTo>
                  <a:lnTo>
                    <a:pt x="1646873" y="1885950"/>
                  </a:lnTo>
                  <a:lnTo>
                    <a:pt x="1656398" y="1893570"/>
                  </a:lnTo>
                  <a:lnTo>
                    <a:pt x="1639253" y="1926908"/>
                  </a:lnTo>
                  <a:lnTo>
                    <a:pt x="1636395" y="1953578"/>
                  </a:lnTo>
                  <a:lnTo>
                    <a:pt x="1626870" y="1969770"/>
                  </a:lnTo>
                  <a:lnTo>
                    <a:pt x="1613535" y="1979295"/>
                  </a:lnTo>
                  <a:lnTo>
                    <a:pt x="1585913" y="1983105"/>
                  </a:lnTo>
                  <a:lnTo>
                    <a:pt x="1603058" y="1988820"/>
                  </a:lnTo>
                  <a:lnTo>
                    <a:pt x="1621155" y="1983105"/>
                  </a:lnTo>
                  <a:lnTo>
                    <a:pt x="1617345" y="2013585"/>
                  </a:lnTo>
                  <a:lnTo>
                    <a:pt x="1606868" y="2012633"/>
                  </a:lnTo>
                  <a:lnTo>
                    <a:pt x="1608773" y="2024063"/>
                  </a:lnTo>
                  <a:lnTo>
                    <a:pt x="1611630" y="2037398"/>
                  </a:lnTo>
                  <a:lnTo>
                    <a:pt x="1599248" y="2045970"/>
                  </a:lnTo>
                  <a:lnTo>
                    <a:pt x="1599248" y="2075498"/>
                  </a:lnTo>
                  <a:lnTo>
                    <a:pt x="1614488" y="2088833"/>
                  </a:lnTo>
                  <a:lnTo>
                    <a:pt x="1620203" y="2118360"/>
                  </a:lnTo>
                  <a:lnTo>
                    <a:pt x="1616393" y="2139315"/>
                  </a:lnTo>
                  <a:lnTo>
                    <a:pt x="1606868" y="2143125"/>
                  </a:lnTo>
                  <a:lnTo>
                    <a:pt x="1610678" y="2157413"/>
                  </a:lnTo>
                  <a:lnTo>
                    <a:pt x="1621155" y="2161223"/>
                  </a:lnTo>
                  <a:lnTo>
                    <a:pt x="1628775" y="2177415"/>
                  </a:lnTo>
                  <a:lnTo>
                    <a:pt x="1628775" y="2202180"/>
                  </a:lnTo>
                  <a:lnTo>
                    <a:pt x="1639253" y="2222183"/>
                  </a:lnTo>
                  <a:lnTo>
                    <a:pt x="1660208" y="2246948"/>
                  </a:lnTo>
                  <a:lnTo>
                    <a:pt x="1659255" y="2253615"/>
                  </a:lnTo>
                  <a:lnTo>
                    <a:pt x="1638300" y="2251710"/>
                  </a:lnTo>
                  <a:lnTo>
                    <a:pt x="1623060" y="2265045"/>
                  </a:lnTo>
                  <a:lnTo>
                    <a:pt x="1624965" y="2278380"/>
                  </a:lnTo>
                  <a:lnTo>
                    <a:pt x="1616393" y="2275523"/>
                  </a:lnTo>
                  <a:lnTo>
                    <a:pt x="1603058" y="2273617"/>
                  </a:lnTo>
                  <a:lnTo>
                    <a:pt x="1570673" y="2238375"/>
                  </a:lnTo>
                  <a:lnTo>
                    <a:pt x="1548765" y="2232660"/>
                  </a:lnTo>
                  <a:lnTo>
                    <a:pt x="1481138" y="2232660"/>
                  </a:lnTo>
                  <a:lnTo>
                    <a:pt x="1454468" y="2225040"/>
                  </a:lnTo>
                  <a:lnTo>
                    <a:pt x="1420178" y="2196465"/>
                  </a:lnTo>
                  <a:lnTo>
                    <a:pt x="1403985" y="2186940"/>
                  </a:lnTo>
                  <a:lnTo>
                    <a:pt x="1383983" y="2187892"/>
                  </a:lnTo>
                  <a:lnTo>
                    <a:pt x="1353503" y="2163128"/>
                  </a:lnTo>
                  <a:lnTo>
                    <a:pt x="1302068" y="2147888"/>
                  </a:lnTo>
                  <a:lnTo>
                    <a:pt x="1302068" y="2135505"/>
                  </a:lnTo>
                  <a:lnTo>
                    <a:pt x="1288733" y="2118360"/>
                  </a:lnTo>
                  <a:lnTo>
                    <a:pt x="1280160" y="2073592"/>
                  </a:lnTo>
                  <a:lnTo>
                    <a:pt x="1269683" y="2057400"/>
                  </a:lnTo>
                  <a:lnTo>
                    <a:pt x="1253490" y="2044065"/>
                  </a:lnTo>
                  <a:lnTo>
                    <a:pt x="1253490" y="2028825"/>
                  </a:lnTo>
                  <a:lnTo>
                    <a:pt x="1240155" y="2023110"/>
                  </a:lnTo>
                  <a:lnTo>
                    <a:pt x="1245870" y="1998345"/>
                  </a:lnTo>
                  <a:lnTo>
                    <a:pt x="1243013" y="1977390"/>
                  </a:lnTo>
                  <a:lnTo>
                    <a:pt x="1230630" y="1964055"/>
                  </a:lnTo>
                  <a:lnTo>
                    <a:pt x="1237298" y="1935480"/>
                  </a:lnTo>
                  <a:lnTo>
                    <a:pt x="1229678" y="1905000"/>
                  </a:lnTo>
                  <a:lnTo>
                    <a:pt x="1213485" y="1891665"/>
                  </a:lnTo>
                  <a:lnTo>
                    <a:pt x="1203008" y="1891665"/>
                  </a:lnTo>
                  <a:lnTo>
                    <a:pt x="1164908" y="1858328"/>
                  </a:lnTo>
                  <a:lnTo>
                    <a:pt x="1165860" y="1840230"/>
                  </a:lnTo>
                  <a:lnTo>
                    <a:pt x="1158240" y="1824038"/>
                  </a:lnTo>
                  <a:lnTo>
                    <a:pt x="1150620" y="1822133"/>
                  </a:lnTo>
                  <a:lnTo>
                    <a:pt x="1142048" y="1799273"/>
                  </a:lnTo>
                  <a:lnTo>
                    <a:pt x="1122998" y="1784033"/>
                  </a:lnTo>
                  <a:lnTo>
                    <a:pt x="1095375" y="1760220"/>
                  </a:lnTo>
                  <a:lnTo>
                    <a:pt x="1093470" y="1740217"/>
                  </a:lnTo>
                  <a:lnTo>
                    <a:pt x="1083945" y="1733550"/>
                  </a:lnTo>
                  <a:lnTo>
                    <a:pt x="1085850" y="1718310"/>
                  </a:lnTo>
                  <a:lnTo>
                    <a:pt x="1090613" y="1711642"/>
                  </a:lnTo>
                  <a:lnTo>
                    <a:pt x="1077278" y="1697355"/>
                  </a:lnTo>
                  <a:lnTo>
                    <a:pt x="1078230" y="1690688"/>
                  </a:lnTo>
                  <a:lnTo>
                    <a:pt x="1059180" y="1669733"/>
                  </a:lnTo>
                  <a:lnTo>
                    <a:pt x="1060133" y="1649730"/>
                  </a:lnTo>
                  <a:lnTo>
                    <a:pt x="1034415" y="1603058"/>
                  </a:lnTo>
                  <a:lnTo>
                    <a:pt x="1033463" y="1586865"/>
                  </a:lnTo>
                  <a:lnTo>
                    <a:pt x="1016318" y="1557338"/>
                  </a:lnTo>
                  <a:lnTo>
                    <a:pt x="967740" y="1511618"/>
                  </a:lnTo>
                  <a:lnTo>
                    <a:pt x="967740" y="1501140"/>
                  </a:lnTo>
                  <a:lnTo>
                    <a:pt x="936308" y="1484948"/>
                  </a:lnTo>
                  <a:lnTo>
                    <a:pt x="935355" y="1467803"/>
                  </a:lnTo>
                  <a:lnTo>
                    <a:pt x="923925" y="1463993"/>
                  </a:lnTo>
                  <a:lnTo>
                    <a:pt x="923925" y="1457325"/>
                  </a:lnTo>
                  <a:lnTo>
                    <a:pt x="916305" y="1455420"/>
                  </a:lnTo>
                  <a:lnTo>
                    <a:pt x="896303" y="1428750"/>
                  </a:lnTo>
                  <a:lnTo>
                    <a:pt x="888683" y="1428750"/>
                  </a:lnTo>
                  <a:lnTo>
                    <a:pt x="882015" y="1423035"/>
                  </a:lnTo>
                  <a:lnTo>
                    <a:pt x="869633" y="1433513"/>
                  </a:lnTo>
                  <a:lnTo>
                    <a:pt x="848678" y="1433513"/>
                  </a:lnTo>
                  <a:lnTo>
                    <a:pt x="823913" y="1423035"/>
                  </a:lnTo>
                  <a:lnTo>
                    <a:pt x="780098" y="1423035"/>
                  </a:lnTo>
                  <a:lnTo>
                    <a:pt x="740093" y="1403033"/>
                  </a:lnTo>
                  <a:lnTo>
                    <a:pt x="727710" y="1421130"/>
                  </a:lnTo>
                  <a:lnTo>
                    <a:pt x="706755" y="1415415"/>
                  </a:lnTo>
                  <a:lnTo>
                    <a:pt x="675323" y="1426845"/>
                  </a:lnTo>
                  <a:lnTo>
                    <a:pt x="659130" y="1453515"/>
                  </a:lnTo>
                  <a:lnTo>
                    <a:pt x="640080" y="1483995"/>
                  </a:lnTo>
                  <a:lnTo>
                    <a:pt x="629603" y="1525905"/>
                  </a:lnTo>
                  <a:lnTo>
                    <a:pt x="616268" y="1537335"/>
                  </a:lnTo>
                  <a:lnTo>
                    <a:pt x="605790" y="1538288"/>
                  </a:lnTo>
                  <a:lnTo>
                    <a:pt x="597218" y="1553528"/>
                  </a:lnTo>
                  <a:lnTo>
                    <a:pt x="584835" y="1559243"/>
                  </a:lnTo>
                  <a:lnTo>
                    <a:pt x="583883" y="1576388"/>
                  </a:lnTo>
                  <a:lnTo>
                    <a:pt x="556260" y="1577340"/>
                  </a:lnTo>
                  <a:lnTo>
                    <a:pt x="539115" y="1563053"/>
                  </a:lnTo>
                  <a:lnTo>
                    <a:pt x="529590" y="1563053"/>
                  </a:lnTo>
                  <a:lnTo>
                    <a:pt x="510540" y="1535430"/>
                  </a:lnTo>
                  <a:lnTo>
                    <a:pt x="476250" y="1530668"/>
                  </a:lnTo>
                  <a:lnTo>
                    <a:pt x="460058" y="1508760"/>
                  </a:lnTo>
                  <a:lnTo>
                    <a:pt x="447675" y="1506855"/>
                  </a:lnTo>
                  <a:lnTo>
                    <a:pt x="427673" y="1499235"/>
                  </a:lnTo>
                  <a:lnTo>
                    <a:pt x="395288" y="1466850"/>
                  </a:lnTo>
                  <a:lnTo>
                    <a:pt x="397193" y="1459230"/>
                  </a:lnTo>
                  <a:lnTo>
                    <a:pt x="381953" y="1447800"/>
                  </a:lnTo>
                  <a:lnTo>
                    <a:pt x="372428" y="1446848"/>
                  </a:lnTo>
                  <a:lnTo>
                    <a:pt x="340043" y="1417320"/>
                  </a:lnTo>
                  <a:lnTo>
                    <a:pt x="339090" y="1398270"/>
                  </a:lnTo>
                  <a:lnTo>
                    <a:pt x="317183" y="1360170"/>
                  </a:lnTo>
                  <a:lnTo>
                    <a:pt x="319088" y="1344930"/>
                  </a:lnTo>
                  <a:lnTo>
                    <a:pt x="312420" y="1332548"/>
                  </a:lnTo>
                  <a:lnTo>
                    <a:pt x="320040" y="1318260"/>
                  </a:lnTo>
                  <a:lnTo>
                    <a:pt x="319088" y="1295400"/>
                  </a:lnTo>
                  <a:lnTo>
                    <a:pt x="294323" y="1256348"/>
                  </a:lnTo>
                  <a:lnTo>
                    <a:pt x="288608" y="1216343"/>
                  </a:lnTo>
                  <a:lnTo>
                    <a:pt x="273368" y="1201103"/>
                  </a:lnTo>
                  <a:lnTo>
                    <a:pt x="273368" y="1191578"/>
                  </a:lnTo>
                  <a:lnTo>
                    <a:pt x="261938" y="1189673"/>
                  </a:lnTo>
                  <a:lnTo>
                    <a:pt x="255270" y="1179195"/>
                  </a:lnTo>
                  <a:lnTo>
                    <a:pt x="232410" y="1163003"/>
                  </a:lnTo>
                  <a:lnTo>
                    <a:pt x="223838" y="1162050"/>
                  </a:lnTo>
                  <a:lnTo>
                    <a:pt x="205740" y="1146810"/>
                  </a:lnTo>
                  <a:lnTo>
                    <a:pt x="205740" y="1136333"/>
                  </a:lnTo>
                  <a:lnTo>
                    <a:pt x="178118" y="1119188"/>
                  </a:lnTo>
                  <a:lnTo>
                    <a:pt x="172403" y="1099185"/>
                  </a:lnTo>
                  <a:lnTo>
                    <a:pt x="147638" y="1077278"/>
                  </a:lnTo>
                  <a:lnTo>
                    <a:pt x="117158" y="1035368"/>
                  </a:lnTo>
                  <a:lnTo>
                    <a:pt x="88583" y="1022985"/>
                  </a:lnTo>
                  <a:lnTo>
                    <a:pt x="68580" y="1005840"/>
                  </a:lnTo>
                  <a:lnTo>
                    <a:pt x="70485" y="994410"/>
                  </a:lnTo>
                  <a:lnTo>
                    <a:pt x="58103" y="981075"/>
                  </a:lnTo>
                  <a:lnTo>
                    <a:pt x="41910" y="945833"/>
                  </a:lnTo>
                  <a:lnTo>
                    <a:pt x="19050" y="936308"/>
                  </a:lnTo>
                  <a:close/>
                  <a:moveTo>
                    <a:pt x="1665923" y="2232660"/>
                  </a:moveTo>
                  <a:lnTo>
                    <a:pt x="1673543" y="2233613"/>
                  </a:lnTo>
                  <a:lnTo>
                    <a:pt x="1667828" y="2187892"/>
                  </a:lnTo>
                  <a:lnTo>
                    <a:pt x="1634490" y="2070735"/>
                  </a:lnTo>
                  <a:lnTo>
                    <a:pt x="1632585" y="1993583"/>
                  </a:lnTo>
                  <a:lnTo>
                    <a:pt x="1679258" y="1893570"/>
                  </a:lnTo>
                  <a:lnTo>
                    <a:pt x="1737360" y="1815465"/>
                  </a:lnTo>
                  <a:lnTo>
                    <a:pt x="1805940" y="1766888"/>
                  </a:lnTo>
                  <a:lnTo>
                    <a:pt x="1805940" y="1760220"/>
                  </a:lnTo>
                  <a:lnTo>
                    <a:pt x="1798320" y="1760220"/>
                  </a:lnTo>
                  <a:lnTo>
                    <a:pt x="1773555" y="1769745"/>
                  </a:lnTo>
                  <a:lnTo>
                    <a:pt x="1739265" y="1791653"/>
                  </a:lnTo>
                  <a:lnTo>
                    <a:pt x="1732598" y="1805940"/>
                  </a:lnTo>
                  <a:lnTo>
                    <a:pt x="1654493" y="1916430"/>
                  </a:lnTo>
                  <a:lnTo>
                    <a:pt x="1627823" y="1991678"/>
                  </a:lnTo>
                  <a:lnTo>
                    <a:pt x="1627823" y="2075498"/>
                  </a:lnTo>
                  <a:lnTo>
                    <a:pt x="1662113" y="2189798"/>
                  </a:lnTo>
                  <a:close/>
                </a:path>
              </a:pathLst>
            </a:custGeom>
            <a:solidFill>
              <a:srgbClr val="D0D0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9E64C674-2FBA-5A7C-9277-8A7F6FF12B2D}"/>
                </a:ext>
              </a:extLst>
            </p:cNvPr>
            <p:cNvSpPr/>
            <p:nvPr/>
          </p:nvSpPr>
          <p:spPr>
            <a:xfrm>
              <a:off x="3125152" y="2541270"/>
              <a:ext cx="930592" cy="1173479"/>
            </a:xfrm>
            <a:custGeom>
              <a:avLst/>
              <a:gdLst>
                <a:gd name="connsiteX0" fmla="*/ 624840 w 930592"/>
                <a:gd name="connsiteY0" fmla="*/ 286702 h 1173479"/>
                <a:gd name="connsiteX1" fmla="*/ 656272 w 930592"/>
                <a:gd name="connsiteY1" fmla="*/ 78105 h 1173479"/>
                <a:gd name="connsiteX2" fmla="*/ 200025 w 930592"/>
                <a:gd name="connsiteY2" fmla="*/ 0 h 1173479"/>
                <a:gd name="connsiteX3" fmla="*/ 0 w 930592"/>
                <a:gd name="connsiteY3" fmla="*/ 1038225 h 1173479"/>
                <a:gd name="connsiteX4" fmla="*/ 440055 w 930592"/>
                <a:gd name="connsiteY4" fmla="*/ 1116330 h 1173479"/>
                <a:gd name="connsiteX5" fmla="*/ 821055 w 930592"/>
                <a:gd name="connsiteY5" fmla="*/ 1173480 h 1173479"/>
                <a:gd name="connsiteX6" fmla="*/ 930592 w 930592"/>
                <a:gd name="connsiteY6" fmla="*/ 332422 h 11734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30592" h="1173479">
                  <a:moveTo>
                    <a:pt x="624840" y="286702"/>
                  </a:moveTo>
                  <a:lnTo>
                    <a:pt x="656272" y="78105"/>
                  </a:lnTo>
                  <a:lnTo>
                    <a:pt x="200025" y="0"/>
                  </a:lnTo>
                  <a:lnTo>
                    <a:pt x="0" y="1038225"/>
                  </a:lnTo>
                  <a:lnTo>
                    <a:pt x="440055" y="1116330"/>
                  </a:lnTo>
                  <a:lnTo>
                    <a:pt x="821055" y="1173480"/>
                  </a:lnTo>
                  <a:lnTo>
                    <a:pt x="930592" y="332422"/>
                  </a:lnTo>
                  <a:close/>
                </a:path>
              </a:pathLst>
            </a:custGeom>
            <a:solidFill>
              <a:srgbClr val="D0D0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BDF44258-11D7-807F-650D-625BC348B09C}"/>
                </a:ext>
              </a:extLst>
            </p:cNvPr>
            <p:cNvSpPr/>
            <p:nvPr/>
          </p:nvSpPr>
          <p:spPr>
            <a:xfrm>
              <a:off x="9440226" y="1705927"/>
              <a:ext cx="280987" cy="525780"/>
            </a:xfrm>
            <a:custGeom>
              <a:avLst/>
              <a:gdLst>
                <a:gd name="connsiteX0" fmla="*/ 271463 w 280987"/>
                <a:gd name="connsiteY0" fmla="*/ 21908 h 525780"/>
                <a:gd name="connsiteX1" fmla="*/ 260985 w 280987"/>
                <a:gd name="connsiteY1" fmla="*/ 55245 h 525780"/>
                <a:gd name="connsiteX2" fmla="*/ 280988 w 280987"/>
                <a:gd name="connsiteY2" fmla="*/ 81915 h 525780"/>
                <a:gd name="connsiteX3" fmla="*/ 277178 w 280987"/>
                <a:gd name="connsiteY3" fmla="*/ 98108 h 525780"/>
                <a:gd name="connsiteX4" fmla="*/ 278130 w 280987"/>
                <a:gd name="connsiteY4" fmla="*/ 110490 h 525780"/>
                <a:gd name="connsiteX5" fmla="*/ 267653 w 280987"/>
                <a:gd name="connsiteY5" fmla="*/ 130493 h 525780"/>
                <a:gd name="connsiteX6" fmla="*/ 254318 w 280987"/>
                <a:gd name="connsiteY6" fmla="*/ 134302 h 525780"/>
                <a:gd name="connsiteX7" fmla="*/ 248603 w 280987"/>
                <a:gd name="connsiteY7" fmla="*/ 146685 h 525780"/>
                <a:gd name="connsiteX8" fmla="*/ 228600 w 280987"/>
                <a:gd name="connsiteY8" fmla="*/ 156210 h 525780"/>
                <a:gd name="connsiteX9" fmla="*/ 221933 w 280987"/>
                <a:gd name="connsiteY9" fmla="*/ 170498 h 525780"/>
                <a:gd name="connsiteX10" fmla="*/ 235268 w 280987"/>
                <a:gd name="connsiteY10" fmla="*/ 202883 h 525780"/>
                <a:gd name="connsiteX11" fmla="*/ 230505 w 280987"/>
                <a:gd name="connsiteY11" fmla="*/ 226695 h 525780"/>
                <a:gd name="connsiteX12" fmla="*/ 235268 w 280987"/>
                <a:gd name="connsiteY12" fmla="*/ 240983 h 525780"/>
                <a:gd name="connsiteX13" fmla="*/ 225743 w 280987"/>
                <a:gd name="connsiteY13" fmla="*/ 259080 h 525780"/>
                <a:gd name="connsiteX14" fmla="*/ 229553 w 280987"/>
                <a:gd name="connsiteY14" fmla="*/ 277178 h 525780"/>
                <a:gd name="connsiteX15" fmla="*/ 217170 w 280987"/>
                <a:gd name="connsiteY15" fmla="*/ 295275 h 525780"/>
                <a:gd name="connsiteX16" fmla="*/ 219075 w 280987"/>
                <a:gd name="connsiteY16" fmla="*/ 316230 h 525780"/>
                <a:gd name="connsiteX17" fmla="*/ 212408 w 280987"/>
                <a:gd name="connsiteY17" fmla="*/ 326707 h 525780"/>
                <a:gd name="connsiteX18" fmla="*/ 219075 w 280987"/>
                <a:gd name="connsiteY18" fmla="*/ 369570 h 525780"/>
                <a:gd name="connsiteX19" fmla="*/ 225743 w 280987"/>
                <a:gd name="connsiteY19" fmla="*/ 383857 h 525780"/>
                <a:gd name="connsiteX20" fmla="*/ 220980 w 280987"/>
                <a:gd name="connsiteY20" fmla="*/ 408623 h 525780"/>
                <a:gd name="connsiteX21" fmla="*/ 229553 w 280987"/>
                <a:gd name="connsiteY21" fmla="*/ 425768 h 525780"/>
                <a:gd name="connsiteX22" fmla="*/ 227648 w 280987"/>
                <a:gd name="connsiteY22" fmla="*/ 449580 h 525780"/>
                <a:gd name="connsiteX23" fmla="*/ 222885 w 280987"/>
                <a:gd name="connsiteY23" fmla="*/ 461963 h 525780"/>
                <a:gd name="connsiteX24" fmla="*/ 221933 w 280987"/>
                <a:gd name="connsiteY24" fmla="*/ 475298 h 525780"/>
                <a:gd name="connsiteX25" fmla="*/ 241935 w 280987"/>
                <a:gd name="connsiteY25" fmla="*/ 500063 h 525780"/>
                <a:gd name="connsiteX26" fmla="*/ 123825 w 280987"/>
                <a:gd name="connsiteY26" fmla="*/ 525780 h 525780"/>
                <a:gd name="connsiteX27" fmla="*/ 113348 w 280987"/>
                <a:gd name="connsiteY27" fmla="*/ 516255 h 525780"/>
                <a:gd name="connsiteX28" fmla="*/ 118110 w 280987"/>
                <a:gd name="connsiteY28" fmla="*/ 497205 h 525780"/>
                <a:gd name="connsiteX29" fmla="*/ 89535 w 280987"/>
                <a:gd name="connsiteY29" fmla="*/ 361950 h 525780"/>
                <a:gd name="connsiteX30" fmla="*/ 71438 w 280987"/>
                <a:gd name="connsiteY30" fmla="*/ 347663 h 525780"/>
                <a:gd name="connsiteX31" fmla="*/ 62865 w 280987"/>
                <a:gd name="connsiteY31" fmla="*/ 362903 h 525780"/>
                <a:gd name="connsiteX32" fmla="*/ 54293 w 280987"/>
                <a:gd name="connsiteY32" fmla="*/ 341948 h 525780"/>
                <a:gd name="connsiteX33" fmla="*/ 61913 w 280987"/>
                <a:gd name="connsiteY33" fmla="*/ 324803 h 525780"/>
                <a:gd name="connsiteX34" fmla="*/ 32385 w 280987"/>
                <a:gd name="connsiteY34" fmla="*/ 260985 h 525780"/>
                <a:gd name="connsiteX35" fmla="*/ 35243 w 280987"/>
                <a:gd name="connsiteY35" fmla="*/ 224790 h 525780"/>
                <a:gd name="connsiteX36" fmla="*/ 39053 w 280987"/>
                <a:gd name="connsiteY36" fmla="*/ 215265 h 525780"/>
                <a:gd name="connsiteX37" fmla="*/ 33338 w 280987"/>
                <a:gd name="connsiteY37" fmla="*/ 196215 h 525780"/>
                <a:gd name="connsiteX38" fmla="*/ 37148 w 280987"/>
                <a:gd name="connsiteY38" fmla="*/ 175260 h 525780"/>
                <a:gd name="connsiteX39" fmla="*/ 16193 w 280987"/>
                <a:gd name="connsiteY39" fmla="*/ 153352 h 525780"/>
                <a:gd name="connsiteX40" fmla="*/ 11430 w 280987"/>
                <a:gd name="connsiteY40" fmla="*/ 122873 h 525780"/>
                <a:gd name="connsiteX41" fmla="*/ 15240 w 280987"/>
                <a:gd name="connsiteY41" fmla="*/ 108585 h 525780"/>
                <a:gd name="connsiteX42" fmla="*/ 1905 w 280987"/>
                <a:gd name="connsiteY42" fmla="*/ 100013 h 525780"/>
                <a:gd name="connsiteX43" fmla="*/ 7620 w 280987"/>
                <a:gd name="connsiteY43" fmla="*/ 81915 h 525780"/>
                <a:gd name="connsiteX44" fmla="*/ 0 w 280987"/>
                <a:gd name="connsiteY44" fmla="*/ 65723 h 525780"/>
                <a:gd name="connsiteX45" fmla="*/ 260033 w 280987"/>
                <a:gd name="connsiteY45" fmla="*/ 0 h 525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280987" h="525780">
                  <a:moveTo>
                    <a:pt x="271463" y="21908"/>
                  </a:moveTo>
                  <a:lnTo>
                    <a:pt x="260985" y="55245"/>
                  </a:lnTo>
                  <a:lnTo>
                    <a:pt x="280988" y="81915"/>
                  </a:lnTo>
                  <a:lnTo>
                    <a:pt x="277178" y="98108"/>
                  </a:lnTo>
                  <a:lnTo>
                    <a:pt x="278130" y="110490"/>
                  </a:lnTo>
                  <a:lnTo>
                    <a:pt x="267653" y="130493"/>
                  </a:lnTo>
                  <a:lnTo>
                    <a:pt x="254318" y="134302"/>
                  </a:lnTo>
                  <a:lnTo>
                    <a:pt x="248603" y="146685"/>
                  </a:lnTo>
                  <a:lnTo>
                    <a:pt x="228600" y="156210"/>
                  </a:lnTo>
                  <a:lnTo>
                    <a:pt x="221933" y="170498"/>
                  </a:lnTo>
                  <a:lnTo>
                    <a:pt x="235268" y="202883"/>
                  </a:lnTo>
                  <a:lnTo>
                    <a:pt x="230505" y="226695"/>
                  </a:lnTo>
                  <a:lnTo>
                    <a:pt x="235268" y="240983"/>
                  </a:lnTo>
                  <a:lnTo>
                    <a:pt x="225743" y="259080"/>
                  </a:lnTo>
                  <a:lnTo>
                    <a:pt x="229553" y="277178"/>
                  </a:lnTo>
                  <a:lnTo>
                    <a:pt x="217170" y="295275"/>
                  </a:lnTo>
                  <a:lnTo>
                    <a:pt x="219075" y="316230"/>
                  </a:lnTo>
                  <a:lnTo>
                    <a:pt x="212408" y="326707"/>
                  </a:lnTo>
                  <a:lnTo>
                    <a:pt x="219075" y="369570"/>
                  </a:lnTo>
                  <a:lnTo>
                    <a:pt x="225743" y="383857"/>
                  </a:lnTo>
                  <a:lnTo>
                    <a:pt x="220980" y="408623"/>
                  </a:lnTo>
                  <a:lnTo>
                    <a:pt x="229553" y="425768"/>
                  </a:lnTo>
                  <a:lnTo>
                    <a:pt x="227648" y="449580"/>
                  </a:lnTo>
                  <a:lnTo>
                    <a:pt x="222885" y="461963"/>
                  </a:lnTo>
                  <a:lnTo>
                    <a:pt x="221933" y="475298"/>
                  </a:lnTo>
                  <a:lnTo>
                    <a:pt x="241935" y="500063"/>
                  </a:lnTo>
                  <a:lnTo>
                    <a:pt x="123825" y="525780"/>
                  </a:lnTo>
                  <a:lnTo>
                    <a:pt x="113348" y="516255"/>
                  </a:lnTo>
                  <a:lnTo>
                    <a:pt x="118110" y="497205"/>
                  </a:lnTo>
                  <a:lnTo>
                    <a:pt x="89535" y="361950"/>
                  </a:lnTo>
                  <a:lnTo>
                    <a:pt x="71438" y="347663"/>
                  </a:lnTo>
                  <a:lnTo>
                    <a:pt x="62865" y="362903"/>
                  </a:lnTo>
                  <a:lnTo>
                    <a:pt x="54293" y="341948"/>
                  </a:lnTo>
                  <a:lnTo>
                    <a:pt x="61913" y="324803"/>
                  </a:lnTo>
                  <a:lnTo>
                    <a:pt x="32385" y="260985"/>
                  </a:lnTo>
                  <a:lnTo>
                    <a:pt x="35243" y="224790"/>
                  </a:lnTo>
                  <a:lnTo>
                    <a:pt x="39053" y="215265"/>
                  </a:lnTo>
                  <a:lnTo>
                    <a:pt x="33338" y="196215"/>
                  </a:lnTo>
                  <a:lnTo>
                    <a:pt x="37148" y="175260"/>
                  </a:lnTo>
                  <a:lnTo>
                    <a:pt x="16193" y="153352"/>
                  </a:lnTo>
                  <a:lnTo>
                    <a:pt x="11430" y="122873"/>
                  </a:lnTo>
                  <a:lnTo>
                    <a:pt x="15240" y="108585"/>
                  </a:lnTo>
                  <a:lnTo>
                    <a:pt x="1905" y="100013"/>
                  </a:lnTo>
                  <a:lnTo>
                    <a:pt x="7620" y="81915"/>
                  </a:lnTo>
                  <a:lnTo>
                    <a:pt x="0" y="65723"/>
                  </a:lnTo>
                  <a:lnTo>
                    <a:pt x="260033" y="0"/>
                  </a:lnTo>
                  <a:close/>
                </a:path>
              </a:pathLst>
            </a:custGeom>
            <a:solidFill>
              <a:srgbClr val="D0D0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04D77658-BCCC-1290-0662-EC49F2D99076}"/>
                </a:ext>
              </a:extLst>
            </p:cNvPr>
            <p:cNvSpPr/>
            <p:nvPr/>
          </p:nvSpPr>
          <p:spPr>
            <a:xfrm>
              <a:off x="8174354" y="3083242"/>
              <a:ext cx="1310639" cy="727710"/>
            </a:xfrm>
            <a:custGeom>
              <a:avLst/>
              <a:gdLst>
                <a:gd name="connsiteX0" fmla="*/ 1304925 w 1310639"/>
                <a:gd name="connsiteY0" fmla="*/ 197167 h 727710"/>
                <a:gd name="connsiteX1" fmla="*/ 1294447 w 1310639"/>
                <a:gd name="connsiteY1" fmla="*/ 223838 h 727710"/>
                <a:gd name="connsiteX2" fmla="*/ 1299210 w 1310639"/>
                <a:gd name="connsiteY2" fmla="*/ 234315 h 727710"/>
                <a:gd name="connsiteX3" fmla="*/ 1303020 w 1310639"/>
                <a:gd name="connsiteY3" fmla="*/ 223838 h 727710"/>
                <a:gd name="connsiteX4" fmla="*/ 1310640 w 1310639"/>
                <a:gd name="connsiteY4" fmla="*/ 194310 h 727710"/>
                <a:gd name="connsiteX5" fmla="*/ 975360 w 1310639"/>
                <a:gd name="connsiteY5" fmla="*/ 130492 h 727710"/>
                <a:gd name="connsiteX6" fmla="*/ 968693 w 1310639"/>
                <a:gd name="connsiteY6" fmla="*/ 120967 h 727710"/>
                <a:gd name="connsiteX7" fmla="*/ 978218 w 1310639"/>
                <a:gd name="connsiteY7" fmla="*/ 120015 h 727710"/>
                <a:gd name="connsiteX8" fmla="*/ 987743 w 1310639"/>
                <a:gd name="connsiteY8" fmla="*/ 111442 h 727710"/>
                <a:gd name="connsiteX9" fmla="*/ 991552 w 1310639"/>
                <a:gd name="connsiteY9" fmla="*/ 94298 h 727710"/>
                <a:gd name="connsiteX10" fmla="*/ 989647 w 1310639"/>
                <a:gd name="connsiteY10" fmla="*/ 89535 h 727710"/>
                <a:gd name="connsiteX11" fmla="*/ 990600 w 1310639"/>
                <a:gd name="connsiteY11" fmla="*/ 84773 h 727710"/>
                <a:gd name="connsiteX12" fmla="*/ 987743 w 1310639"/>
                <a:gd name="connsiteY12" fmla="*/ 78105 h 727710"/>
                <a:gd name="connsiteX13" fmla="*/ 982027 w 1310639"/>
                <a:gd name="connsiteY13" fmla="*/ 73342 h 727710"/>
                <a:gd name="connsiteX14" fmla="*/ 978218 w 1310639"/>
                <a:gd name="connsiteY14" fmla="*/ 72390 h 727710"/>
                <a:gd name="connsiteX15" fmla="*/ 973455 w 1310639"/>
                <a:gd name="connsiteY15" fmla="*/ 68580 h 727710"/>
                <a:gd name="connsiteX16" fmla="*/ 967740 w 1310639"/>
                <a:gd name="connsiteY16" fmla="*/ 62865 h 727710"/>
                <a:gd name="connsiteX17" fmla="*/ 958215 w 1310639"/>
                <a:gd name="connsiteY17" fmla="*/ 62865 h 727710"/>
                <a:gd name="connsiteX18" fmla="*/ 952500 w 1310639"/>
                <a:gd name="connsiteY18" fmla="*/ 61913 h 727710"/>
                <a:gd name="connsiteX19" fmla="*/ 948690 w 1310639"/>
                <a:gd name="connsiteY19" fmla="*/ 58103 h 727710"/>
                <a:gd name="connsiteX20" fmla="*/ 949643 w 1310639"/>
                <a:gd name="connsiteY20" fmla="*/ 53340 h 727710"/>
                <a:gd name="connsiteX21" fmla="*/ 933450 w 1310639"/>
                <a:gd name="connsiteY21" fmla="*/ 47625 h 727710"/>
                <a:gd name="connsiteX22" fmla="*/ 925830 w 1310639"/>
                <a:gd name="connsiteY22" fmla="*/ 50483 h 727710"/>
                <a:gd name="connsiteX23" fmla="*/ 914400 w 1310639"/>
                <a:gd name="connsiteY23" fmla="*/ 49530 h 727710"/>
                <a:gd name="connsiteX24" fmla="*/ 907732 w 1310639"/>
                <a:gd name="connsiteY24" fmla="*/ 42863 h 727710"/>
                <a:gd name="connsiteX25" fmla="*/ 902970 w 1310639"/>
                <a:gd name="connsiteY25" fmla="*/ 40958 h 727710"/>
                <a:gd name="connsiteX26" fmla="*/ 901065 w 1310639"/>
                <a:gd name="connsiteY26" fmla="*/ 34290 h 727710"/>
                <a:gd name="connsiteX27" fmla="*/ 906780 w 1310639"/>
                <a:gd name="connsiteY27" fmla="*/ 26670 h 727710"/>
                <a:gd name="connsiteX28" fmla="*/ 906780 w 1310639"/>
                <a:gd name="connsiteY28" fmla="*/ 18098 h 727710"/>
                <a:gd name="connsiteX29" fmla="*/ 895350 w 1310639"/>
                <a:gd name="connsiteY29" fmla="*/ 16192 h 727710"/>
                <a:gd name="connsiteX30" fmla="*/ 885825 w 1310639"/>
                <a:gd name="connsiteY30" fmla="*/ 7620 h 727710"/>
                <a:gd name="connsiteX31" fmla="*/ 877252 w 1310639"/>
                <a:gd name="connsiteY31" fmla="*/ 8573 h 727710"/>
                <a:gd name="connsiteX32" fmla="*/ 862013 w 1310639"/>
                <a:gd name="connsiteY32" fmla="*/ 5715 h 727710"/>
                <a:gd name="connsiteX33" fmla="*/ 858202 w 1310639"/>
                <a:gd name="connsiteY33" fmla="*/ 12383 h 727710"/>
                <a:gd name="connsiteX34" fmla="*/ 854393 w 1310639"/>
                <a:gd name="connsiteY34" fmla="*/ 27623 h 727710"/>
                <a:gd name="connsiteX35" fmla="*/ 849630 w 1310639"/>
                <a:gd name="connsiteY35" fmla="*/ 49530 h 727710"/>
                <a:gd name="connsiteX36" fmla="*/ 754380 w 1310639"/>
                <a:gd name="connsiteY36" fmla="*/ 0 h 727710"/>
                <a:gd name="connsiteX37" fmla="*/ 752475 w 1310639"/>
                <a:gd name="connsiteY37" fmla="*/ 8573 h 727710"/>
                <a:gd name="connsiteX38" fmla="*/ 761047 w 1310639"/>
                <a:gd name="connsiteY38" fmla="*/ 23813 h 727710"/>
                <a:gd name="connsiteX39" fmla="*/ 753427 w 1310639"/>
                <a:gd name="connsiteY39" fmla="*/ 45720 h 727710"/>
                <a:gd name="connsiteX40" fmla="*/ 754380 w 1310639"/>
                <a:gd name="connsiteY40" fmla="*/ 73342 h 727710"/>
                <a:gd name="connsiteX41" fmla="*/ 742950 w 1310639"/>
                <a:gd name="connsiteY41" fmla="*/ 80963 h 727710"/>
                <a:gd name="connsiteX42" fmla="*/ 738188 w 1310639"/>
                <a:gd name="connsiteY42" fmla="*/ 100965 h 727710"/>
                <a:gd name="connsiteX43" fmla="*/ 729615 w 1310639"/>
                <a:gd name="connsiteY43" fmla="*/ 108585 h 727710"/>
                <a:gd name="connsiteX44" fmla="*/ 716280 w 1310639"/>
                <a:gd name="connsiteY44" fmla="*/ 125730 h 727710"/>
                <a:gd name="connsiteX45" fmla="*/ 707707 w 1310639"/>
                <a:gd name="connsiteY45" fmla="*/ 133350 h 727710"/>
                <a:gd name="connsiteX46" fmla="*/ 698182 w 1310639"/>
                <a:gd name="connsiteY46" fmla="*/ 157163 h 727710"/>
                <a:gd name="connsiteX47" fmla="*/ 675322 w 1310639"/>
                <a:gd name="connsiteY47" fmla="*/ 146685 h 727710"/>
                <a:gd name="connsiteX48" fmla="*/ 653415 w 1310639"/>
                <a:gd name="connsiteY48" fmla="*/ 227648 h 727710"/>
                <a:gd name="connsiteX49" fmla="*/ 641032 w 1310639"/>
                <a:gd name="connsiteY49" fmla="*/ 242888 h 727710"/>
                <a:gd name="connsiteX50" fmla="*/ 614363 w 1310639"/>
                <a:gd name="connsiteY50" fmla="*/ 238125 h 727710"/>
                <a:gd name="connsiteX51" fmla="*/ 601980 w 1310639"/>
                <a:gd name="connsiteY51" fmla="*/ 220027 h 727710"/>
                <a:gd name="connsiteX52" fmla="*/ 580072 w 1310639"/>
                <a:gd name="connsiteY52" fmla="*/ 213360 h 727710"/>
                <a:gd name="connsiteX53" fmla="*/ 579120 w 1310639"/>
                <a:gd name="connsiteY53" fmla="*/ 258127 h 727710"/>
                <a:gd name="connsiteX54" fmla="*/ 565785 w 1310639"/>
                <a:gd name="connsiteY54" fmla="*/ 274320 h 727710"/>
                <a:gd name="connsiteX55" fmla="*/ 569595 w 1310639"/>
                <a:gd name="connsiteY55" fmla="*/ 288608 h 727710"/>
                <a:gd name="connsiteX56" fmla="*/ 549593 w 1310639"/>
                <a:gd name="connsiteY56" fmla="*/ 309563 h 727710"/>
                <a:gd name="connsiteX57" fmla="*/ 553402 w 1310639"/>
                <a:gd name="connsiteY57" fmla="*/ 327660 h 727710"/>
                <a:gd name="connsiteX58" fmla="*/ 518160 w 1310639"/>
                <a:gd name="connsiteY58" fmla="*/ 387667 h 727710"/>
                <a:gd name="connsiteX59" fmla="*/ 508635 w 1310639"/>
                <a:gd name="connsiteY59" fmla="*/ 419100 h 727710"/>
                <a:gd name="connsiteX60" fmla="*/ 522922 w 1310639"/>
                <a:gd name="connsiteY60" fmla="*/ 430530 h 727710"/>
                <a:gd name="connsiteX61" fmla="*/ 508635 w 1310639"/>
                <a:gd name="connsiteY61" fmla="*/ 448627 h 727710"/>
                <a:gd name="connsiteX62" fmla="*/ 509588 w 1310639"/>
                <a:gd name="connsiteY62" fmla="*/ 461963 h 727710"/>
                <a:gd name="connsiteX63" fmla="*/ 487680 w 1310639"/>
                <a:gd name="connsiteY63" fmla="*/ 481013 h 727710"/>
                <a:gd name="connsiteX64" fmla="*/ 481013 w 1310639"/>
                <a:gd name="connsiteY64" fmla="*/ 470535 h 727710"/>
                <a:gd name="connsiteX65" fmla="*/ 440055 w 1310639"/>
                <a:gd name="connsiteY65" fmla="*/ 500063 h 727710"/>
                <a:gd name="connsiteX66" fmla="*/ 425768 w 1310639"/>
                <a:gd name="connsiteY66" fmla="*/ 490538 h 727710"/>
                <a:gd name="connsiteX67" fmla="*/ 420052 w 1310639"/>
                <a:gd name="connsiteY67" fmla="*/ 503873 h 727710"/>
                <a:gd name="connsiteX68" fmla="*/ 427672 w 1310639"/>
                <a:gd name="connsiteY68" fmla="*/ 508635 h 727710"/>
                <a:gd name="connsiteX69" fmla="*/ 422910 w 1310639"/>
                <a:gd name="connsiteY69" fmla="*/ 517208 h 727710"/>
                <a:gd name="connsiteX70" fmla="*/ 370522 w 1310639"/>
                <a:gd name="connsiteY70" fmla="*/ 540068 h 727710"/>
                <a:gd name="connsiteX71" fmla="*/ 341947 w 1310639"/>
                <a:gd name="connsiteY71" fmla="*/ 522923 h 727710"/>
                <a:gd name="connsiteX72" fmla="*/ 334327 w 1310639"/>
                <a:gd name="connsiteY72" fmla="*/ 539115 h 727710"/>
                <a:gd name="connsiteX73" fmla="*/ 316230 w 1310639"/>
                <a:gd name="connsiteY73" fmla="*/ 556260 h 727710"/>
                <a:gd name="connsiteX74" fmla="*/ 294322 w 1310639"/>
                <a:gd name="connsiteY74" fmla="*/ 557213 h 727710"/>
                <a:gd name="connsiteX75" fmla="*/ 252413 w 1310639"/>
                <a:gd name="connsiteY75" fmla="*/ 535305 h 727710"/>
                <a:gd name="connsiteX76" fmla="*/ 251460 w 1310639"/>
                <a:gd name="connsiteY76" fmla="*/ 521017 h 727710"/>
                <a:gd name="connsiteX77" fmla="*/ 237172 w 1310639"/>
                <a:gd name="connsiteY77" fmla="*/ 514350 h 727710"/>
                <a:gd name="connsiteX78" fmla="*/ 244793 w 1310639"/>
                <a:gd name="connsiteY78" fmla="*/ 502920 h 727710"/>
                <a:gd name="connsiteX79" fmla="*/ 238125 w 1310639"/>
                <a:gd name="connsiteY79" fmla="*/ 497205 h 727710"/>
                <a:gd name="connsiteX80" fmla="*/ 191452 w 1310639"/>
                <a:gd name="connsiteY80" fmla="*/ 560070 h 727710"/>
                <a:gd name="connsiteX81" fmla="*/ 163830 w 1310639"/>
                <a:gd name="connsiteY81" fmla="*/ 569595 h 727710"/>
                <a:gd name="connsiteX82" fmla="*/ 135255 w 1310639"/>
                <a:gd name="connsiteY82" fmla="*/ 598170 h 727710"/>
                <a:gd name="connsiteX83" fmla="*/ 131445 w 1310639"/>
                <a:gd name="connsiteY83" fmla="*/ 619125 h 727710"/>
                <a:gd name="connsiteX84" fmla="*/ 111443 w 1310639"/>
                <a:gd name="connsiteY84" fmla="*/ 631508 h 727710"/>
                <a:gd name="connsiteX85" fmla="*/ 110490 w 1310639"/>
                <a:gd name="connsiteY85" fmla="*/ 647700 h 727710"/>
                <a:gd name="connsiteX86" fmla="*/ 97155 w 1310639"/>
                <a:gd name="connsiteY86" fmla="*/ 661035 h 727710"/>
                <a:gd name="connsiteX87" fmla="*/ 80010 w 1310639"/>
                <a:gd name="connsiteY87" fmla="*/ 665798 h 727710"/>
                <a:gd name="connsiteX88" fmla="*/ 75247 w 1310639"/>
                <a:gd name="connsiteY88" fmla="*/ 683895 h 727710"/>
                <a:gd name="connsiteX89" fmla="*/ 65722 w 1310639"/>
                <a:gd name="connsiteY89" fmla="*/ 687705 h 727710"/>
                <a:gd name="connsiteX90" fmla="*/ 0 w 1310639"/>
                <a:gd name="connsiteY90" fmla="*/ 727710 h 727710"/>
                <a:gd name="connsiteX91" fmla="*/ 275272 w 1310639"/>
                <a:gd name="connsiteY91" fmla="*/ 696277 h 727710"/>
                <a:gd name="connsiteX92" fmla="*/ 277177 w 1310639"/>
                <a:gd name="connsiteY92" fmla="*/ 686752 h 727710"/>
                <a:gd name="connsiteX93" fmla="*/ 320993 w 1310639"/>
                <a:gd name="connsiteY93" fmla="*/ 681990 h 727710"/>
                <a:gd name="connsiteX94" fmla="*/ 318135 w 1310639"/>
                <a:gd name="connsiteY94" fmla="*/ 688658 h 727710"/>
                <a:gd name="connsiteX95" fmla="*/ 598170 w 1310639"/>
                <a:gd name="connsiteY95" fmla="*/ 655320 h 727710"/>
                <a:gd name="connsiteX96" fmla="*/ 973455 w 1310639"/>
                <a:gd name="connsiteY96" fmla="*/ 585788 h 727710"/>
                <a:gd name="connsiteX97" fmla="*/ 1250632 w 1310639"/>
                <a:gd name="connsiteY97" fmla="*/ 527685 h 727710"/>
                <a:gd name="connsiteX98" fmla="*/ 1244918 w 1310639"/>
                <a:gd name="connsiteY98" fmla="*/ 516255 h 727710"/>
                <a:gd name="connsiteX99" fmla="*/ 1248727 w 1310639"/>
                <a:gd name="connsiteY99" fmla="*/ 515302 h 727710"/>
                <a:gd name="connsiteX100" fmla="*/ 1257300 w 1310639"/>
                <a:gd name="connsiteY100" fmla="*/ 523875 h 727710"/>
                <a:gd name="connsiteX101" fmla="*/ 1256347 w 1310639"/>
                <a:gd name="connsiteY101" fmla="*/ 510540 h 727710"/>
                <a:gd name="connsiteX102" fmla="*/ 1253490 w 1310639"/>
                <a:gd name="connsiteY102" fmla="*/ 492442 h 727710"/>
                <a:gd name="connsiteX103" fmla="*/ 1268730 w 1310639"/>
                <a:gd name="connsiteY103" fmla="*/ 503873 h 727710"/>
                <a:gd name="connsiteX104" fmla="*/ 1277302 w 1310639"/>
                <a:gd name="connsiteY104" fmla="*/ 523875 h 727710"/>
                <a:gd name="connsiteX105" fmla="*/ 1277302 w 1310639"/>
                <a:gd name="connsiteY105" fmla="*/ 511492 h 727710"/>
                <a:gd name="connsiteX106" fmla="*/ 1244918 w 1310639"/>
                <a:gd name="connsiteY106" fmla="*/ 459105 h 727710"/>
                <a:gd name="connsiteX107" fmla="*/ 1244918 w 1310639"/>
                <a:gd name="connsiteY107" fmla="*/ 447675 h 727710"/>
                <a:gd name="connsiteX108" fmla="*/ 1238250 w 1310639"/>
                <a:gd name="connsiteY108" fmla="*/ 440055 h 727710"/>
                <a:gd name="connsiteX109" fmla="*/ 1225868 w 1310639"/>
                <a:gd name="connsiteY109" fmla="*/ 446723 h 727710"/>
                <a:gd name="connsiteX110" fmla="*/ 1230630 w 1310639"/>
                <a:gd name="connsiteY110" fmla="*/ 460058 h 727710"/>
                <a:gd name="connsiteX111" fmla="*/ 1223010 w 1310639"/>
                <a:gd name="connsiteY111" fmla="*/ 460058 h 727710"/>
                <a:gd name="connsiteX112" fmla="*/ 1219200 w 1310639"/>
                <a:gd name="connsiteY112" fmla="*/ 450533 h 727710"/>
                <a:gd name="connsiteX113" fmla="*/ 1213485 w 1310639"/>
                <a:gd name="connsiteY113" fmla="*/ 459105 h 727710"/>
                <a:gd name="connsiteX114" fmla="*/ 1204913 w 1310639"/>
                <a:gd name="connsiteY114" fmla="*/ 448627 h 727710"/>
                <a:gd name="connsiteX115" fmla="*/ 1184910 w 1310639"/>
                <a:gd name="connsiteY115" fmla="*/ 447675 h 727710"/>
                <a:gd name="connsiteX116" fmla="*/ 1183005 w 1310639"/>
                <a:gd name="connsiteY116" fmla="*/ 454342 h 727710"/>
                <a:gd name="connsiteX117" fmla="*/ 1197293 w 1310639"/>
                <a:gd name="connsiteY117" fmla="*/ 474345 h 727710"/>
                <a:gd name="connsiteX118" fmla="*/ 1183957 w 1310639"/>
                <a:gd name="connsiteY118" fmla="*/ 467677 h 727710"/>
                <a:gd name="connsiteX119" fmla="*/ 1179195 w 1310639"/>
                <a:gd name="connsiteY119" fmla="*/ 458152 h 727710"/>
                <a:gd name="connsiteX120" fmla="*/ 1175385 w 1310639"/>
                <a:gd name="connsiteY120" fmla="*/ 465773 h 727710"/>
                <a:gd name="connsiteX121" fmla="*/ 1167765 w 1310639"/>
                <a:gd name="connsiteY121" fmla="*/ 466725 h 727710"/>
                <a:gd name="connsiteX122" fmla="*/ 1153477 w 1310639"/>
                <a:gd name="connsiteY122" fmla="*/ 482917 h 727710"/>
                <a:gd name="connsiteX123" fmla="*/ 1156335 w 1310639"/>
                <a:gd name="connsiteY123" fmla="*/ 467677 h 727710"/>
                <a:gd name="connsiteX124" fmla="*/ 1156335 w 1310639"/>
                <a:gd name="connsiteY124" fmla="*/ 454342 h 727710"/>
                <a:gd name="connsiteX125" fmla="*/ 1142047 w 1310639"/>
                <a:gd name="connsiteY125" fmla="*/ 447675 h 727710"/>
                <a:gd name="connsiteX126" fmla="*/ 1124902 w 1310639"/>
                <a:gd name="connsiteY126" fmla="*/ 442913 h 727710"/>
                <a:gd name="connsiteX127" fmla="*/ 1122997 w 1310639"/>
                <a:gd name="connsiteY127" fmla="*/ 426720 h 727710"/>
                <a:gd name="connsiteX128" fmla="*/ 1117282 w 1310639"/>
                <a:gd name="connsiteY128" fmla="*/ 414338 h 727710"/>
                <a:gd name="connsiteX129" fmla="*/ 1111568 w 1310639"/>
                <a:gd name="connsiteY129" fmla="*/ 424815 h 727710"/>
                <a:gd name="connsiteX130" fmla="*/ 1095375 w 1310639"/>
                <a:gd name="connsiteY130" fmla="*/ 415290 h 727710"/>
                <a:gd name="connsiteX131" fmla="*/ 1076325 w 1310639"/>
                <a:gd name="connsiteY131" fmla="*/ 418148 h 727710"/>
                <a:gd name="connsiteX132" fmla="*/ 1078230 w 1310639"/>
                <a:gd name="connsiteY132" fmla="*/ 409575 h 727710"/>
                <a:gd name="connsiteX133" fmla="*/ 1092518 w 1310639"/>
                <a:gd name="connsiteY133" fmla="*/ 407670 h 727710"/>
                <a:gd name="connsiteX134" fmla="*/ 1101090 w 1310639"/>
                <a:gd name="connsiteY134" fmla="*/ 412433 h 727710"/>
                <a:gd name="connsiteX135" fmla="*/ 1117282 w 1310639"/>
                <a:gd name="connsiteY135" fmla="*/ 404813 h 727710"/>
                <a:gd name="connsiteX136" fmla="*/ 1125855 w 1310639"/>
                <a:gd name="connsiteY136" fmla="*/ 408623 h 727710"/>
                <a:gd name="connsiteX137" fmla="*/ 1130618 w 1310639"/>
                <a:gd name="connsiteY137" fmla="*/ 418148 h 727710"/>
                <a:gd name="connsiteX138" fmla="*/ 1130618 w 1310639"/>
                <a:gd name="connsiteY138" fmla="*/ 424815 h 727710"/>
                <a:gd name="connsiteX139" fmla="*/ 1148715 w 1310639"/>
                <a:gd name="connsiteY139" fmla="*/ 428625 h 727710"/>
                <a:gd name="connsiteX140" fmla="*/ 1151572 w 1310639"/>
                <a:gd name="connsiteY140" fmla="*/ 437198 h 727710"/>
                <a:gd name="connsiteX141" fmla="*/ 1160145 w 1310639"/>
                <a:gd name="connsiteY141" fmla="*/ 441008 h 727710"/>
                <a:gd name="connsiteX142" fmla="*/ 1168718 w 1310639"/>
                <a:gd name="connsiteY142" fmla="*/ 452438 h 727710"/>
                <a:gd name="connsiteX143" fmla="*/ 1182052 w 1310639"/>
                <a:gd name="connsiteY143" fmla="*/ 437198 h 727710"/>
                <a:gd name="connsiteX144" fmla="*/ 1187768 w 1310639"/>
                <a:gd name="connsiteY144" fmla="*/ 437198 h 727710"/>
                <a:gd name="connsiteX145" fmla="*/ 1186815 w 1310639"/>
                <a:gd name="connsiteY145" fmla="*/ 417195 h 727710"/>
                <a:gd name="connsiteX146" fmla="*/ 1174432 w 1310639"/>
                <a:gd name="connsiteY146" fmla="*/ 426720 h 727710"/>
                <a:gd name="connsiteX147" fmla="*/ 1168718 w 1310639"/>
                <a:gd name="connsiteY147" fmla="*/ 418148 h 727710"/>
                <a:gd name="connsiteX148" fmla="*/ 1183005 w 1310639"/>
                <a:gd name="connsiteY148" fmla="*/ 416242 h 727710"/>
                <a:gd name="connsiteX149" fmla="*/ 1171575 w 1310639"/>
                <a:gd name="connsiteY149" fmla="*/ 407670 h 727710"/>
                <a:gd name="connsiteX150" fmla="*/ 1160145 w 1310639"/>
                <a:gd name="connsiteY150" fmla="*/ 413385 h 727710"/>
                <a:gd name="connsiteX151" fmla="*/ 1159193 w 1310639"/>
                <a:gd name="connsiteY151" fmla="*/ 397192 h 727710"/>
                <a:gd name="connsiteX152" fmla="*/ 1143000 w 1310639"/>
                <a:gd name="connsiteY152" fmla="*/ 399098 h 727710"/>
                <a:gd name="connsiteX153" fmla="*/ 1122045 w 1310639"/>
                <a:gd name="connsiteY153" fmla="*/ 388620 h 727710"/>
                <a:gd name="connsiteX154" fmla="*/ 1104900 w 1310639"/>
                <a:gd name="connsiteY154" fmla="*/ 367665 h 727710"/>
                <a:gd name="connsiteX155" fmla="*/ 1139190 w 1310639"/>
                <a:gd name="connsiteY155" fmla="*/ 388620 h 727710"/>
                <a:gd name="connsiteX156" fmla="*/ 1147763 w 1310639"/>
                <a:gd name="connsiteY156" fmla="*/ 391477 h 727710"/>
                <a:gd name="connsiteX157" fmla="*/ 1163955 w 1310639"/>
                <a:gd name="connsiteY157" fmla="*/ 383858 h 727710"/>
                <a:gd name="connsiteX158" fmla="*/ 1147763 w 1310639"/>
                <a:gd name="connsiteY158" fmla="*/ 375285 h 727710"/>
                <a:gd name="connsiteX159" fmla="*/ 1153477 w 1310639"/>
                <a:gd name="connsiteY159" fmla="*/ 369570 h 727710"/>
                <a:gd name="connsiteX160" fmla="*/ 1143952 w 1310639"/>
                <a:gd name="connsiteY160" fmla="*/ 364808 h 727710"/>
                <a:gd name="connsiteX161" fmla="*/ 1151572 w 1310639"/>
                <a:gd name="connsiteY161" fmla="*/ 362902 h 727710"/>
                <a:gd name="connsiteX162" fmla="*/ 1148715 w 1310639"/>
                <a:gd name="connsiteY162" fmla="*/ 354330 h 727710"/>
                <a:gd name="connsiteX163" fmla="*/ 1159193 w 1310639"/>
                <a:gd name="connsiteY163" fmla="*/ 362902 h 727710"/>
                <a:gd name="connsiteX164" fmla="*/ 1163002 w 1310639"/>
                <a:gd name="connsiteY164" fmla="*/ 355283 h 727710"/>
                <a:gd name="connsiteX165" fmla="*/ 1166813 w 1310639"/>
                <a:gd name="connsiteY165" fmla="*/ 367665 h 727710"/>
                <a:gd name="connsiteX166" fmla="*/ 1178243 w 1310639"/>
                <a:gd name="connsiteY166" fmla="*/ 375285 h 727710"/>
                <a:gd name="connsiteX167" fmla="*/ 1183957 w 1310639"/>
                <a:gd name="connsiteY167" fmla="*/ 370523 h 727710"/>
                <a:gd name="connsiteX168" fmla="*/ 1179195 w 1310639"/>
                <a:gd name="connsiteY168" fmla="*/ 364808 h 727710"/>
                <a:gd name="connsiteX169" fmla="*/ 1178243 w 1310639"/>
                <a:gd name="connsiteY169" fmla="*/ 340995 h 727710"/>
                <a:gd name="connsiteX170" fmla="*/ 1167765 w 1310639"/>
                <a:gd name="connsiteY170" fmla="*/ 340042 h 727710"/>
                <a:gd name="connsiteX171" fmla="*/ 1152525 w 1310639"/>
                <a:gd name="connsiteY171" fmla="*/ 332423 h 727710"/>
                <a:gd name="connsiteX172" fmla="*/ 1161097 w 1310639"/>
                <a:gd name="connsiteY172" fmla="*/ 321945 h 727710"/>
                <a:gd name="connsiteX173" fmla="*/ 1142047 w 1310639"/>
                <a:gd name="connsiteY173" fmla="*/ 320992 h 727710"/>
                <a:gd name="connsiteX174" fmla="*/ 1138238 w 1310639"/>
                <a:gd name="connsiteY174" fmla="*/ 316230 h 727710"/>
                <a:gd name="connsiteX175" fmla="*/ 1124902 w 1310639"/>
                <a:gd name="connsiteY175" fmla="*/ 321945 h 727710"/>
                <a:gd name="connsiteX176" fmla="*/ 1111568 w 1310639"/>
                <a:gd name="connsiteY176" fmla="*/ 314325 h 727710"/>
                <a:gd name="connsiteX177" fmla="*/ 1106805 w 1310639"/>
                <a:gd name="connsiteY177" fmla="*/ 302895 h 727710"/>
                <a:gd name="connsiteX178" fmla="*/ 1086802 w 1310639"/>
                <a:gd name="connsiteY178" fmla="*/ 291465 h 727710"/>
                <a:gd name="connsiteX179" fmla="*/ 1066800 w 1310639"/>
                <a:gd name="connsiteY179" fmla="*/ 274320 h 727710"/>
                <a:gd name="connsiteX180" fmla="*/ 1045845 w 1310639"/>
                <a:gd name="connsiteY180" fmla="*/ 256223 h 727710"/>
                <a:gd name="connsiteX181" fmla="*/ 1074420 w 1310639"/>
                <a:gd name="connsiteY181" fmla="*/ 268605 h 727710"/>
                <a:gd name="connsiteX182" fmla="*/ 1082993 w 1310639"/>
                <a:gd name="connsiteY182" fmla="*/ 280035 h 727710"/>
                <a:gd name="connsiteX183" fmla="*/ 1102995 w 1310639"/>
                <a:gd name="connsiteY183" fmla="*/ 286702 h 727710"/>
                <a:gd name="connsiteX184" fmla="*/ 1124902 w 1310639"/>
                <a:gd name="connsiteY184" fmla="*/ 310515 h 727710"/>
                <a:gd name="connsiteX185" fmla="*/ 1126807 w 1310639"/>
                <a:gd name="connsiteY185" fmla="*/ 294323 h 727710"/>
                <a:gd name="connsiteX186" fmla="*/ 1132522 w 1310639"/>
                <a:gd name="connsiteY186" fmla="*/ 306705 h 727710"/>
                <a:gd name="connsiteX187" fmla="*/ 1154430 w 1310639"/>
                <a:gd name="connsiteY187" fmla="*/ 311467 h 727710"/>
                <a:gd name="connsiteX188" fmla="*/ 1154430 w 1310639"/>
                <a:gd name="connsiteY188" fmla="*/ 273367 h 727710"/>
                <a:gd name="connsiteX189" fmla="*/ 1146810 w 1310639"/>
                <a:gd name="connsiteY189" fmla="*/ 262890 h 727710"/>
                <a:gd name="connsiteX190" fmla="*/ 1157288 w 1310639"/>
                <a:gd name="connsiteY190" fmla="*/ 266700 h 727710"/>
                <a:gd name="connsiteX191" fmla="*/ 1158240 w 1310639"/>
                <a:gd name="connsiteY191" fmla="*/ 251460 h 727710"/>
                <a:gd name="connsiteX192" fmla="*/ 1128713 w 1310639"/>
                <a:gd name="connsiteY192" fmla="*/ 238125 h 727710"/>
                <a:gd name="connsiteX193" fmla="*/ 1113472 w 1310639"/>
                <a:gd name="connsiteY193" fmla="*/ 236220 h 727710"/>
                <a:gd name="connsiteX194" fmla="*/ 1101090 w 1310639"/>
                <a:gd name="connsiteY194" fmla="*/ 234315 h 727710"/>
                <a:gd name="connsiteX195" fmla="*/ 1103947 w 1310639"/>
                <a:gd name="connsiteY195" fmla="*/ 222885 h 727710"/>
                <a:gd name="connsiteX196" fmla="*/ 1089660 w 1310639"/>
                <a:gd name="connsiteY196" fmla="*/ 220027 h 727710"/>
                <a:gd name="connsiteX197" fmla="*/ 1088707 w 1310639"/>
                <a:gd name="connsiteY197" fmla="*/ 214313 h 727710"/>
                <a:gd name="connsiteX198" fmla="*/ 1071563 w 1310639"/>
                <a:gd name="connsiteY198" fmla="*/ 214313 h 727710"/>
                <a:gd name="connsiteX199" fmla="*/ 1069657 w 1310639"/>
                <a:gd name="connsiteY199" fmla="*/ 221933 h 727710"/>
                <a:gd name="connsiteX200" fmla="*/ 1062990 w 1310639"/>
                <a:gd name="connsiteY200" fmla="*/ 212408 h 727710"/>
                <a:gd name="connsiteX201" fmla="*/ 1037272 w 1310639"/>
                <a:gd name="connsiteY201" fmla="*/ 212408 h 727710"/>
                <a:gd name="connsiteX202" fmla="*/ 1027747 w 1310639"/>
                <a:gd name="connsiteY202" fmla="*/ 208598 h 727710"/>
                <a:gd name="connsiteX203" fmla="*/ 1025843 w 1310639"/>
                <a:gd name="connsiteY203" fmla="*/ 199073 h 727710"/>
                <a:gd name="connsiteX204" fmla="*/ 1014413 w 1310639"/>
                <a:gd name="connsiteY204" fmla="*/ 193358 h 727710"/>
                <a:gd name="connsiteX205" fmla="*/ 1010602 w 1310639"/>
                <a:gd name="connsiteY205" fmla="*/ 179070 h 727710"/>
                <a:gd name="connsiteX206" fmla="*/ 1004888 w 1310639"/>
                <a:gd name="connsiteY206" fmla="*/ 175260 h 727710"/>
                <a:gd name="connsiteX207" fmla="*/ 998220 w 1310639"/>
                <a:gd name="connsiteY207" fmla="*/ 185738 h 727710"/>
                <a:gd name="connsiteX208" fmla="*/ 989647 w 1310639"/>
                <a:gd name="connsiteY208" fmla="*/ 187642 h 727710"/>
                <a:gd name="connsiteX209" fmla="*/ 981075 w 1310639"/>
                <a:gd name="connsiteY209" fmla="*/ 194310 h 727710"/>
                <a:gd name="connsiteX210" fmla="*/ 966788 w 1310639"/>
                <a:gd name="connsiteY210" fmla="*/ 194310 h 727710"/>
                <a:gd name="connsiteX211" fmla="*/ 958215 w 1310639"/>
                <a:gd name="connsiteY211" fmla="*/ 181927 h 727710"/>
                <a:gd name="connsiteX212" fmla="*/ 962025 w 1310639"/>
                <a:gd name="connsiteY212" fmla="*/ 152400 h 727710"/>
                <a:gd name="connsiteX213" fmla="*/ 966788 w 1310639"/>
                <a:gd name="connsiteY213" fmla="*/ 129540 h 727710"/>
                <a:gd name="connsiteX214" fmla="*/ 972502 w 1310639"/>
                <a:gd name="connsiteY214" fmla="*/ 134302 h 727710"/>
                <a:gd name="connsiteX215" fmla="*/ 1183957 w 1310639"/>
                <a:gd name="connsiteY215" fmla="*/ 240983 h 727710"/>
                <a:gd name="connsiteX216" fmla="*/ 1192530 w 1310639"/>
                <a:gd name="connsiteY216" fmla="*/ 240030 h 727710"/>
                <a:gd name="connsiteX217" fmla="*/ 1192530 w 1310639"/>
                <a:gd name="connsiteY217" fmla="*/ 234315 h 727710"/>
                <a:gd name="connsiteX218" fmla="*/ 1184910 w 1310639"/>
                <a:gd name="connsiteY218" fmla="*/ 235267 h 727710"/>
                <a:gd name="connsiteX219" fmla="*/ 1255395 w 1310639"/>
                <a:gd name="connsiteY219" fmla="*/ 376238 h 727710"/>
                <a:gd name="connsiteX220" fmla="*/ 1245870 w 1310639"/>
                <a:gd name="connsiteY220" fmla="*/ 401955 h 727710"/>
                <a:gd name="connsiteX221" fmla="*/ 1257300 w 1310639"/>
                <a:gd name="connsiteY221" fmla="*/ 389573 h 727710"/>
                <a:gd name="connsiteX222" fmla="*/ 1238250 w 1310639"/>
                <a:gd name="connsiteY222" fmla="*/ 230505 h 727710"/>
                <a:gd name="connsiteX223" fmla="*/ 1244918 w 1310639"/>
                <a:gd name="connsiteY223" fmla="*/ 233363 h 727710"/>
                <a:gd name="connsiteX224" fmla="*/ 1243013 w 1310639"/>
                <a:gd name="connsiteY224" fmla="*/ 251460 h 727710"/>
                <a:gd name="connsiteX225" fmla="*/ 1238250 w 1310639"/>
                <a:gd name="connsiteY225" fmla="*/ 246698 h 727710"/>
                <a:gd name="connsiteX226" fmla="*/ 1225868 w 1310639"/>
                <a:gd name="connsiteY226" fmla="*/ 256223 h 727710"/>
                <a:gd name="connsiteX227" fmla="*/ 1235393 w 1310639"/>
                <a:gd name="connsiteY227" fmla="*/ 260033 h 727710"/>
                <a:gd name="connsiteX228" fmla="*/ 1218247 w 1310639"/>
                <a:gd name="connsiteY228" fmla="*/ 301942 h 727710"/>
                <a:gd name="connsiteX229" fmla="*/ 1219200 w 1310639"/>
                <a:gd name="connsiteY229" fmla="*/ 379095 h 727710"/>
                <a:gd name="connsiteX230" fmla="*/ 1237297 w 1310639"/>
                <a:gd name="connsiteY230" fmla="*/ 408623 h 727710"/>
                <a:gd name="connsiteX231" fmla="*/ 1242060 w 1310639"/>
                <a:gd name="connsiteY231" fmla="*/ 394335 h 727710"/>
                <a:gd name="connsiteX232" fmla="*/ 1245870 w 1310639"/>
                <a:gd name="connsiteY232" fmla="*/ 368617 h 727710"/>
                <a:gd name="connsiteX233" fmla="*/ 1243013 w 1310639"/>
                <a:gd name="connsiteY233" fmla="*/ 346710 h 727710"/>
                <a:gd name="connsiteX234" fmla="*/ 1249680 w 1310639"/>
                <a:gd name="connsiteY234" fmla="*/ 338138 h 727710"/>
                <a:gd name="connsiteX235" fmla="*/ 1247775 w 1310639"/>
                <a:gd name="connsiteY235" fmla="*/ 324802 h 727710"/>
                <a:gd name="connsiteX236" fmla="*/ 1259205 w 1310639"/>
                <a:gd name="connsiteY236" fmla="*/ 319088 h 727710"/>
                <a:gd name="connsiteX237" fmla="*/ 1253490 w 1310639"/>
                <a:gd name="connsiteY237" fmla="*/ 314325 h 727710"/>
                <a:gd name="connsiteX238" fmla="*/ 1258252 w 1310639"/>
                <a:gd name="connsiteY238" fmla="*/ 307658 h 727710"/>
                <a:gd name="connsiteX239" fmla="*/ 1265872 w 1310639"/>
                <a:gd name="connsiteY239" fmla="*/ 318135 h 727710"/>
                <a:gd name="connsiteX240" fmla="*/ 1263968 w 1310639"/>
                <a:gd name="connsiteY240" fmla="*/ 328613 h 727710"/>
                <a:gd name="connsiteX241" fmla="*/ 1260157 w 1310639"/>
                <a:gd name="connsiteY241" fmla="*/ 365760 h 727710"/>
                <a:gd name="connsiteX242" fmla="*/ 1270635 w 1310639"/>
                <a:gd name="connsiteY242" fmla="*/ 344805 h 727710"/>
                <a:gd name="connsiteX243" fmla="*/ 1274445 w 1310639"/>
                <a:gd name="connsiteY243" fmla="*/ 315277 h 727710"/>
                <a:gd name="connsiteX244" fmla="*/ 1275397 w 1310639"/>
                <a:gd name="connsiteY244" fmla="*/ 286702 h 727710"/>
                <a:gd name="connsiteX245" fmla="*/ 1272540 w 1310639"/>
                <a:gd name="connsiteY245" fmla="*/ 267652 h 727710"/>
                <a:gd name="connsiteX246" fmla="*/ 1278255 w 1310639"/>
                <a:gd name="connsiteY246" fmla="*/ 245745 h 727710"/>
                <a:gd name="connsiteX247" fmla="*/ 1288732 w 1310639"/>
                <a:gd name="connsiteY247" fmla="*/ 228600 h 727710"/>
                <a:gd name="connsiteX248" fmla="*/ 1289685 w 1310639"/>
                <a:gd name="connsiteY248" fmla="*/ 207645 h 727710"/>
                <a:gd name="connsiteX249" fmla="*/ 1292543 w 1310639"/>
                <a:gd name="connsiteY249" fmla="*/ 199073 h 727710"/>
                <a:gd name="connsiteX250" fmla="*/ 1248727 w 1310639"/>
                <a:gd name="connsiteY250" fmla="*/ 214313 h 727710"/>
                <a:gd name="connsiteX251" fmla="*/ 1242060 w 1310639"/>
                <a:gd name="connsiteY251" fmla="*/ 221933 h 727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</a:cxnLst>
              <a:rect l="l" t="t" r="r" b="b"/>
              <a:pathLst>
                <a:path w="1310639" h="727710">
                  <a:moveTo>
                    <a:pt x="1304925" y="197167"/>
                  </a:moveTo>
                  <a:lnTo>
                    <a:pt x="1294447" y="223838"/>
                  </a:lnTo>
                  <a:lnTo>
                    <a:pt x="1299210" y="234315"/>
                  </a:lnTo>
                  <a:lnTo>
                    <a:pt x="1303020" y="223838"/>
                  </a:lnTo>
                  <a:lnTo>
                    <a:pt x="1310640" y="194310"/>
                  </a:lnTo>
                  <a:close/>
                  <a:moveTo>
                    <a:pt x="975360" y="130492"/>
                  </a:moveTo>
                  <a:lnTo>
                    <a:pt x="968693" y="120967"/>
                  </a:lnTo>
                  <a:lnTo>
                    <a:pt x="978218" y="120015"/>
                  </a:lnTo>
                  <a:lnTo>
                    <a:pt x="987743" y="111442"/>
                  </a:lnTo>
                  <a:lnTo>
                    <a:pt x="991552" y="94298"/>
                  </a:lnTo>
                  <a:lnTo>
                    <a:pt x="989647" y="89535"/>
                  </a:lnTo>
                  <a:lnTo>
                    <a:pt x="990600" y="84773"/>
                  </a:lnTo>
                  <a:lnTo>
                    <a:pt x="987743" y="78105"/>
                  </a:lnTo>
                  <a:lnTo>
                    <a:pt x="982027" y="73342"/>
                  </a:lnTo>
                  <a:lnTo>
                    <a:pt x="978218" y="72390"/>
                  </a:lnTo>
                  <a:lnTo>
                    <a:pt x="973455" y="68580"/>
                  </a:lnTo>
                  <a:lnTo>
                    <a:pt x="967740" y="62865"/>
                  </a:lnTo>
                  <a:lnTo>
                    <a:pt x="958215" y="62865"/>
                  </a:lnTo>
                  <a:lnTo>
                    <a:pt x="952500" y="61913"/>
                  </a:lnTo>
                  <a:lnTo>
                    <a:pt x="948690" y="58103"/>
                  </a:lnTo>
                  <a:lnTo>
                    <a:pt x="949643" y="53340"/>
                  </a:lnTo>
                  <a:lnTo>
                    <a:pt x="933450" y="47625"/>
                  </a:lnTo>
                  <a:lnTo>
                    <a:pt x="925830" y="50483"/>
                  </a:lnTo>
                  <a:lnTo>
                    <a:pt x="914400" y="49530"/>
                  </a:lnTo>
                  <a:lnTo>
                    <a:pt x="907732" y="42863"/>
                  </a:lnTo>
                  <a:lnTo>
                    <a:pt x="902970" y="40958"/>
                  </a:lnTo>
                  <a:lnTo>
                    <a:pt x="901065" y="34290"/>
                  </a:lnTo>
                  <a:lnTo>
                    <a:pt x="906780" y="26670"/>
                  </a:lnTo>
                  <a:lnTo>
                    <a:pt x="906780" y="18098"/>
                  </a:lnTo>
                  <a:lnTo>
                    <a:pt x="895350" y="16192"/>
                  </a:lnTo>
                  <a:lnTo>
                    <a:pt x="885825" y="7620"/>
                  </a:lnTo>
                  <a:lnTo>
                    <a:pt x="877252" y="8573"/>
                  </a:lnTo>
                  <a:lnTo>
                    <a:pt x="862013" y="5715"/>
                  </a:lnTo>
                  <a:lnTo>
                    <a:pt x="858202" y="12383"/>
                  </a:lnTo>
                  <a:lnTo>
                    <a:pt x="854393" y="27623"/>
                  </a:lnTo>
                  <a:lnTo>
                    <a:pt x="849630" y="49530"/>
                  </a:lnTo>
                  <a:lnTo>
                    <a:pt x="754380" y="0"/>
                  </a:lnTo>
                  <a:lnTo>
                    <a:pt x="752475" y="8573"/>
                  </a:lnTo>
                  <a:lnTo>
                    <a:pt x="761047" y="23813"/>
                  </a:lnTo>
                  <a:lnTo>
                    <a:pt x="753427" y="45720"/>
                  </a:lnTo>
                  <a:lnTo>
                    <a:pt x="754380" y="73342"/>
                  </a:lnTo>
                  <a:lnTo>
                    <a:pt x="742950" y="80963"/>
                  </a:lnTo>
                  <a:lnTo>
                    <a:pt x="738188" y="100965"/>
                  </a:lnTo>
                  <a:lnTo>
                    <a:pt x="729615" y="108585"/>
                  </a:lnTo>
                  <a:lnTo>
                    <a:pt x="716280" y="125730"/>
                  </a:lnTo>
                  <a:lnTo>
                    <a:pt x="707707" y="133350"/>
                  </a:lnTo>
                  <a:lnTo>
                    <a:pt x="698182" y="157163"/>
                  </a:lnTo>
                  <a:lnTo>
                    <a:pt x="675322" y="146685"/>
                  </a:lnTo>
                  <a:lnTo>
                    <a:pt x="653415" y="227648"/>
                  </a:lnTo>
                  <a:lnTo>
                    <a:pt x="641032" y="242888"/>
                  </a:lnTo>
                  <a:lnTo>
                    <a:pt x="614363" y="238125"/>
                  </a:lnTo>
                  <a:lnTo>
                    <a:pt x="601980" y="220027"/>
                  </a:lnTo>
                  <a:lnTo>
                    <a:pt x="580072" y="213360"/>
                  </a:lnTo>
                  <a:lnTo>
                    <a:pt x="579120" y="258127"/>
                  </a:lnTo>
                  <a:lnTo>
                    <a:pt x="565785" y="274320"/>
                  </a:lnTo>
                  <a:lnTo>
                    <a:pt x="569595" y="288608"/>
                  </a:lnTo>
                  <a:lnTo>
                    <a:pt x="549593" y="309563"/>
                  </a:lnTo>
                  <a:lnTo>
                    <a:pt x="553402" y="327660"/>
                  </a:lnTo>
                  <a:lnTo>
                    <a:pt x="518160" y="387667"/>
                  </a:lnTo>
                  <a:lnTo>
                    <a:pt x="508635" y="419100"/>
                  </a:lnTo>
                  <a:lnTo>
                    <a:pt x="522922" y="430530"/>
                  </a:lnTo>
                  <a:lnTo>
                    <a:pt x="508635" y="448627"/>
                  </a:lnTo>
                  <a:lnTo>
                    <a:pt x="509588" y="461963"/>
                  </a:lnTo>
                  <a:lnTo>
                    <a:pt x="487680" y="481013"/>
                  </a:lnTo>
                  <a:lnTo>
                    <a:pt x="481013" y="470535"/>
                  </a:lnTo>
                  <a:lnTo>
                    <a:pt x="440055" y="500063"/>
                  </a:lnTo>
                  <a:lnTo>
                    <a:pt x="425768" y="490538"/>
                  </a:lnTo>
                  <a:lnTo>
                    <a:pt x="420052" y="503873"/>
                  </a:lnTo>
                  <a:lnTo>
                    <a:pt x="427672" y="508635"/>
                  </a:lnTo>
                  <a:lnTo>
                    <a:pt x="422910" y="517208"/>
                  </a:lnTo>
                  <a:lnTo>
                    <a:pt x="370522" y="540068"/>
                  </a:lnTo>
                  <a:lnTo>
                    <a:pt x="341947" y="522923"/>
                  </a:lnTo>
                  <a:lnTo>
                    <a:pt x="334327" y="539115"/>
                  </a:lnTo>
                  <a:lnTo>
                    <a:pt x="316230" y="556260"/>
                  </a:lnTo>
                  <a:lnTo>
                    <a:pt x="294322" y="557213"/>
                  </a:lnTo>
                  <a:lnTo>
                    <a:pt x="252413" y="535305"/>
                  </a:lnTo>
                  <a:lnTo>
                    <a:pt x="251460" y="521017"/>
                  </a:lnTo>
                  <a:lnTo>
                    <a:pt x="237172" y="514350"/>
                  </a:lnTo>
                  <a:lnTo>
                    <a:pt x="244793" y="502920"/>
                  </a:lnTo>
                  <a:lnTo>
                    <a:pt x="238125" y="497205"/>
                  </a:lnTo>
                  <a:lnTo>
                    <a:pt x="191452" y="560070"/>
                  </a:lnTo>
                  <a:lnTo>
                    <a:pt x="163830" y="569595"/>
                  </a:lnTo>
                  <a:lnTo>
                    <a:pt x="135255" y="598170"/>
                  </a:lnTo>
                  <a:lnTo>
                    <a:pt x="131445" y="619125"/>
                  </a:lnTo>
                  <a:lnTo>
                    <a:pt x="111443" y="631508"/>
                  </a:lnTo>
                  <a:lnTo>
                    <a:pt x="110490" y="647700"/>
                  </a:lnTo>
                  <a:lnTo>
                    <a:pt x="97155" y="661035"/>
                  </a:lnTo>
                  <a:lnTo>
                    <a:pt x="80010" y="665798"/>
                  </a:lnTo>
                  <a:lnTo>
                    <a:pt x="75247" y="683895"/>
                  </a:lnTo>
                  <a:lnTo>
                    <a:pt x="65722" y="687705"/>
                  </a:lnTo>
                  <a:lnTo>
                    <a:pt x="0" y="727710"/>
                  </a:lnTo>
                  <a:lnTo>
                    <a:pt x="275272" y="696277"/>
                  </a:lnTo>
                  <a:lnTo>
                    <a:pt x="277177" y="686752"/>
                  </a:lnTo>
                  <a:lnTo>
                    <a:pt x="320993" y="681990"/>
                  </a:lnTo>
                  <a:lnTo>
                    <a:pt x="318135" y="688658"/>
                  </a:lnTo>
                  <a:lnTo>
                    <a:pt x="598170" y="655320"/>
                  </a:lnTo>
                  <a:lnTo>
                    <a:pt x="973455" y="585788"/>
                  </a:lnTo>
                  <a:lnTo>
                    <a:pt x="1250632" y="527685"/>
                  </a:lnTo>
                  <a:lnTo>
                    <a:pt x="1244918" y="516255"/>
                  </a:lnTo>
                  <a:lnTo>
                    <a:pt x="1248727" y="515302"/>
                  </a:lnTo>
                  <a:lnTo>
                    <a:pt x="1257300" y="523875"/>
                  </a:lnTo>
                  <a:lnTo>
                    <a:pt x="1256347" y="510540"/>
                  </a:lnTo>
                  <a:lnTo>
                    <a:pt x="1253490" y="492442"/>
                  </a:lnTo>
                  <a:lnTo>
                    <a:pt x="1268730" y="503873"/>
                  </a:lnTo>
                  <a:lnTo>
                    <a:pt x="1277302" y="523875"/>
                  </a:lnTo>
                  <a:lnTo>
                    <a:pt x="1277302" y="511492"/>
                  </a:lnTo>
                  <a:lnTo>
                    <a:pt x="1244918" y="459105"/>
                  </a:lnTo>
                  <a:lnTo>
                    <a:pt x="1244918" y="447675"/>
                  </a:lnTo>
                  <a:lnTo>
                    <a:pt x="1238250" y="440055"/>
                  </a:lnTo>
                  <a:lnTo>
                    <a:pt x="1225868" y="446723"/>
                  </a:lnTo>
                  <a:lnTo>
                    <a:pt x="1230630" y="460058"/>
                  </a:lnTo>
                  <a:lnTo>
                    <a:pt x="1223010" y="460058"/>
                  </a:lnTo>
                  <a:lnTo>
                    <a:pt x="1219200" y="450533"/>
                  </a:lnTo>
                  <a:lnTo>
                    <a:pt x="1213485" y="459105"/>
                  </a:lnTo>
                  <a:lnTo>
                    <a:pt x="1204913" y="448627"/>
                  </a:lnTo>
                  <a:lnTo>
                    <a:pt x="1184910" y="447675"/>
                  </a:lnTo>
                  <a:lnTo>
                    <a:pt x="1183005" y="454342"/>
                  </a:lnTo>
                  <a:lnTo>
                    <a:pt x="1197293" y="474345"/>
                  </a:lnTo>
                  <a:lnTo>
                    <a:pt x="1183957" y="467677"/>
                  </a:lnTo>
                  <a:lnTo>
                    <a:pt x="1179195" y="458152"/>
                  </a:lnTo>
                  <a:lnTo>
                    <a:pt x="1175385" y="465773"/>
                  </a:lnTo>
                  <a:lnTo>
                    <a:pt x="1167765" y="466725"/>
                  </a:lnTo>
                  <a:lnTo>
                    <a:pt x="1153477" y="482917"/>
                  </a:lnTo>
                  <a:lnTo>
                    <a:pt x="1156335" y="467677"/>
                  </a:lnTo>
                  <a:lnTo>
                    <a:pt x="1156335" y="454342"/>
                  </a:lnTo>
                  <a:lnTo>
                    <a:pt x="1142047" y="447675"/>
                  </a:lnTo>
                  <a:lnTo>
                    <a:pt x="1124902" y="442913"/>
                  </a:lnTo>
                  <a:lnTo>
                    <a:pt x="1122997" y="426720"/>
                  </a:lnTo>
                  <a:lnTo>
                    <a:pt x="1117282" y="414338"/>
                  </a:lnTo>
                  <a:lnTo>
                    <a:pt x="1111568" y="424815"/>
                  </a:lnTo>
                  <a:lnTo>
                    <a:pt x="1095375" y="415290"/>
                  </a:lnTo>
                  <a:lnTo>
                    <a:pt x="1076325" y="418148"/>
                  </a:lnTo>
                  <a:lnTo>
                    <a:pt x="1078230" y="409575"/>
                  </a:lnTo>
                  <a:lnTo>
                    <a:pt x="1092518" y="407670"/>
                  </a:lnTo>
                  <a:lnTo>
                    <a:pt x="1101090" y="412433"/>
                  </a:lnTo>
                  <a:lnTo>
                    <a:pt x="1117282" y="404813"/>
                  </a:lnTo>
                  <a:lnTo>
                    <a:pt x="1125855" y="408623"/>
                  </a:lnTo>
                  <a:lnTo>
                    <a:pt x="1130618" y="418148"/>
                  </a:lnTo>
                  <a:lnTo>
                    <a:pt x="1130618" y="424815"/>
                  </a:lnTo>
                  <a:lnTo>
                    <a:pt x="1148715" y="428625"/>
                  </a:lnTo>
                  <a:lnTo>
                    <a:pt x="1151572" y="437198"/>
                  </a:lnTo>
                  <a:lnTo>
                    <a:pt x="1160145" y="441008"/>
                  </a:lnTo>
                  <a:lnTo>
                    <a:pt x="1168718" y="452438"/>
                  </a:lnTo>
                  <a:lnTo>
                    <a:pt x="1182052" y="437198"/>
                  </a:lnTo>
                  <a:lnTo>
                    <a:pt x="1187768" y="437198"/>
                  </a:lnTo>
                  <a:lnTo>
                    <a:pt x="1186815" y="417195"/>
                  </a:lnTo>
                  <a:lnTo>
                    <a:pt x="1174432" y="426720"/>
                  </a:lnTo>
                  <a:lnTo>
                    <a:pt x="1168718" y="418148"/>
                  </a:lnTo>
                  <a:lnTo>
                    <a:pt x="1183005" y="416242"/>
                  </a:lnTo>
                  <a:lnTo>
                    <a:pt x="1171575" y="407670"/>
                  </a:lnTo>
                  <a:lnTo>
                    <a:pt x="1160145" y="413385"/>
                  </a:lnTo>
                  <a:lnTo>
                    <a:pt x="1159193" y="397192"/>
                  </a:lnTo>
                  <a:lnTo>
                    <a:pt x="1143000" y="399098"/>
                  </a:lnTo>
                  <a:lnTo>
                    <a:pt x="1122045" y="388620"/>
                  </a:lnTo>
                  <a:lnTo>
                    <a:pt x="1104900" y="367665"/>
                  </a:lnTo>
                  <a:lnTo>
                    <a:pt x="1139190" y="388620"/>
                  </a:lnTo>
                  <a:lnTo>
                    <a:pt x="1147763" y="391477"/>
                  </a:lnTo>
                  <a:lnTo>
                    <a:pt x="1163955" y="383858"/>
                  </a:lnTo>
                  <a:lnTo>
                    <a:pt x="1147763" y="375285"/>
                  </a:lnTo>
                  <a:lnTo>
                    <a:pt x="1153477" y="369570"/>
                  </a:lnTo>
                  <a:lnTo>
                    <a:pt x="1143952" y="364808"/>
                  </a:lnTo>
                  <a:lnTo>
                    <a:pt x="1151572" y="362902"/>
                  </a:lnTo>
                  <a:lnTo>
                    <a:pt x="1148715" y="354330"/>
                  </a:lnTo>
                  <a:lnTo>
                    <a:pt x="1159193" y="362902"/>
                  </a:lnTo>
                  <a:lnTo>
                    <a:pt x="1163002" y="355283"/>
                  </a:lnTo>
                  <a:lnTo>
                    <a:pt x="1166813" y="367665"/>
                  </a:lnTo>
                  <a:lnTo>
                    <a:pt x="1178243" y="375285"/>
                  </a:lnTo>
                  <a:lnTo>
                    <a:pt x="1183957" y="370523"/>
                  </a:lnTo>
                  <a:lnTo>
                    <a:pt x="1179195" y="364808"/>
                  </a:lnTo>
                  <a:lnTo>
                    <a:pt x="1178243" y="340995"/>
                  </a:lnTo>
                  <a:lnTo>
                    <a:pt x="1167765" y="340042"/>
                  </a:lnTo>
                  <a:lnTo>
                    <a:pt x="1152525" y="332423"/>
                  </a:lnTo>
                  <a:lnTo>
                    <a:pt x="1161097" y="321945"/>
                  </a:lnTo>
                  <a:lnTo>
                    <a:pt x="1142047" y="320992"/>
                  </a:lnTo>
                  <a:lnTo>
                    <a:pt x="1138238" y="316230"/>
                  </a:lnTo>
                  <a:lnTo>
                    <a:pt x="1124902" y="321945"/>
                  </a:lnTo>
                  <a:lnTo>
                    <a:pt x="1111568" y="314325"/>
                  </a:lnTo>
                  <a:lnTo>
                    <a:pt x="1106805" y="302895"/>
                  </a:lnTo>
                  <a:lnTo>
                    <a:pt x="1086802" y="291465"/>
                  </a:lnTo>
                  <a:lnTo>
                    <a:pt x="1066800" y="274320"/>
                  </a:lnTo>
                  <a:lnTo>
                    <a:pt x="1045845" y="256223"/>
                  </a:lnTo>
                  <a:lnTo>
                    <a:pt x="1074420" y="268605"/>
                  </a:lnTo>
                  <a:lnTo>
                    <a:pt x="1082993" y="280035"/>
                  </a:lnTo>
                  <a:lnTo>
                    <a:pt x="1102995" y="286702"/>
                  </a:lnTo>
                  <a:lnTo>
                    <a:pt x="1124902" y="310515"/>
                  </a:lnTo>
                  <a:lnTo>
                    <a:pt x="1126807" y="294323"/>
                  </a:lnTo>
                  <a:lnTo>
                    <a:pt x="1132522" y="306705"/>
                  </a:lnTo>
                  <a:lnTo>
                    <a:pt x="1154430" y="311467"/>
                  </a:lnTo>
                  <a:lnTo>
                    <a:pt x="1154430" y="273367"/>
                  </a:lnTo>
                  <a:lnTo>
                    <a:pt x="1146810" y="262890"/>
                  </a:lnTo>
                  <a:lnTo>
                    <a:pt x="1157288" y="266700"/>
                  </a:lnTo>
                  <a:lnTo>
                    <a:pt x="1158240" y="251460"/>
                  </a:lnTo>
                  <a:lnTo>
                    <a:pt x="1128713" y="238125"/>
                  </a:lnTo>
                  <a:lnTo>
                    <a:pt x="1113472" y="236220"/>
                  </a:lnTo>
                  <a:lnTo>
                    <a:pt x="1101090" y="234315"/>
                  </a:lnTo>
                  <a:lnTo>
                    <a:pt x="1103947" y="222885"/>
                  </a:lnTo>
                  <a:lnTo>
                    <a:pt x="1089660" y="220027"/>
                  </a:lnTo>
                  <a:lnTo>
                    <a:pt x="1088707" y="214313"/>
                  </a:lnTo>
                  <a:lnTo>
                    <a:pt x="1071563" y="214313"/>
                  </a:lnTo>
                  <a:lnTo>
                    <a:pt x="1069657" y="221933"/>
                  </a:lnTo>
                  <a:lnTo>
                    <a:pt x="1062990" y="212408"/>
                  </a:lnTo>
                  <a:lnTo>
                    <a:pt x="1037272" y="212408"/>
                  </a:lnTo>
                  <a:lnTo>
                    <a:pt x="1027747" y="208598"/>
                  </a:lnTo>
                  <a:lnTo>
                    <a:pt x="1025843" y="199073"/>
                  </a:lnTo>
                  <a:lnTo>
                    <a:pt x="1014413" y="193358"/>
                  </a:lnTo>
                  <a:lnTo>
                    <a:pt x="1010602" y="179070"/>
                  </a:lnTo>
                  <a:lnTo>
                    <a:pt x="1004888" y="175260"/>
                  </a:lnTo>
                  <a:lnTo>
                    <a:pt x="998220" y="185738"/>
                  </a:lnTo>
                  <a:lnTo>
                    <a:pt x="989647" y="187642"/>
                  </a:lnTo>
                  <a:lnTo>
                    <a:pt x="981075" y="194310"/>
                  </a:lnTo>
                  <a:lnTo>
                    <a:pt x="966788" y="194310"/>
                  </a:lnTo>
                  <a:lnTo>
                    <a:pt x="958215" y="181927"/>
                  </a:lnTo>
                  <a:lnTo>
                    <a:pt x="962025" y="152400"/>
                  </a:lnTo>
                  <a:lnTo>
                    <a:pt x="966788" y="129540"/>
                  </a:lnTo>
                  <a:lnTo>
                    <a:pt x="972502" y="134302"/>
                  </a:lnTo>
                  <a:close/>
                  <a:moveTo>
                    <a:pt x="1183957" y="240983"/>
                  </a:moveTo>
                  <a:lnTo>
                    <a:pt x="1192530" y="240030"/>
                  </a:lnTo>
                  <a:lnTo>
                    <a:pt x="1192530" y="234315"/>
                  </a:lnTo>
                  <a:lnTo>
                    <a:pt x="1184910" y="235267"/>
                  </a:lnTo>
                  <a:close/>
                  <a:moveTo>
                    <a:pt x="1255395" y="376238"/>
                  </a:moveTo>
                  <a:lnTo>
                    <a:pt x="1245870" y="401955"/>
                  </a:lnTo>
                  <a:lnTo>
                    <a:pt x="1257300" y="389573"/>
                  </a:lnTo>
                  <a:close/>
                  <a:moveTo>
                    <a:pt x="1238250" y="230505"/>
                  </a:moveTo>
                  <a:lnTo>
                    <a:pt x="1244918" y="233363"/>
                  </a:lnTo>
                  <a:lnTo>
                    <a:pt x="1243013" y="251460"/>
                  </a:lnTo>
                  <a:lnTo>
                    <a:pt x="1238250" y="246698"/>
                  </a:lnTo>
                  <a:lnTo>
                    <a:pt x="1225868" y="256223"/>
                  </a:lnTo>
                  <a:lnTo>
                    <a:pt x="1235393" y="260033"/>
                  </a:lnTo>
                  <a:lnTo>
                    <a:pt x="1218247" y="301942"/>
                  </a:lnTo>
                  <a:lnTo>
                    <a:pt x="1219200" y="379095"/>
                  </a:lnTo>
                  <a:lnTo>
                    <a:pt x="1237297" y="408623"/>
                  </a:lnTo>
                  <a:lnTo>
                    <a:pt x="1242060" y="394335"/>
                  </a:lnTo>
                  <a:lnTo>
                    <a:pt x="1245870" y="368617"/>
                  </a:lnTo>
                  <a:lnTo>
                    <a:pt x="1243013" y="346710"/>
                  </a:lnTo>
                  <a:lnTo>
                    <a:pt x="1249680" y="338138"/>
                  </a:lnTo>
                  <a:lnTo>
                    <a:pt x="1247775" y="324802"/>
                  </a:lnTo>
                  <a:lnTo>
                    <a:pt x="1259205" y="319088"/>
                  </a:lnTo>
                  <a:lnTo>
                    <a:pt x="1253490" y="314325"/>
                  </a:lnTo>
                  <a:lnTo>
                    <a:pt x="1258252" y="307658"/>
                  </a:lnTo>
                  <a:lnTo>
                    <a:pt x="1265872" y="318135"/>
                  </a:lnTo>
                  <a:lnTo>
                    <a:pt x="1263968" y="328613"/>
                  </a:lnTo>
                  <a:lnTo>
                    <a:pt x="1260157" y="365760"/>
                  </a:lnTo>
                  <a:lnTo>
                    <a:pt x="1270635" y="344805"/>
                  </a:lnTo>
                  <a:lnTo>
                    <a:pt x="1274445" y="315277"/>
                  </a:lnTo>
                  <a:lnTo>
                    <a:pt x="1275397" y="286702"/>
                  </a:lnTo>
                  <a:lnTo>
                    <a:pt x="1272540" y="267652"/>
                  </a:lnTo>
                  <a:lnTo>
                    <a:pt x="1278255" y="245745"/>
                  </a:lnTo>
                  <a:lnTo>
                    <a:pt x="1288732" y="228600"/>
                  </a:lnTo>
                  <a:lnTo>
                    <a:pt x="1289685" y="207645"/>
                  </a:lnTo>
                  <a:lnTo>
                    <a:pt x="1292543" y="199073"/>
                  </a:lnTo>
                  <a:lnTo>
                    <a:pt x="1248727" y="214313"/>
                  </a:lnTo>
                  <a:lnTo>
                    <a:pt x="1242060" y="221933"/>
                  </a:lnTo>
                  <a:close/>
                </a:path>
              </a:pathLst>
            </a:custGeom>
            <a:solidFill>
              <a:srgbClr val="D0D0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1C0754E3-8963-754E-8D94-C33D9B8FBAAD}"/>
                </a:ext>
              </a:extLst>
            </p:cNvPr>
            <p:cNvSpPr/>
            <p:nvPr/>
          </p:nvSpPr>
          <p:spPr>
            <a:xfrm>
              <a:off x="2075497" y="802004"/>
              <a:ext cx="1116330" cy="825817"/>
            </a:xfrm>
            <a:custGeom>
              <a:avLst/>
              <a:gdLst>
                <a:gd name="connsiteX0" fmla="*/ 995362 w 1116330"/>
                <a:gd name="connsiteY0" fmla="*/ 746760 h 825817"/>
                <a:gd name="connsiteX1" fmla="*/ 1002030 w 1116330"/>
                <a:gd name="connsiteY1" fmla="*/ 784860 h 825817"/>
                <a:gd name="connsiteX2" fmla="*/ 991553 w 1116330"/>
                <a:gd name="connsiteY2" fmla="*/ 825818 h 825817"/>
                <a:gd name="connsiteX3" fmla="*/ 702945 w 1116330"/>
                <a:gd name="connsiteY3" fmla="*/ 756285 h 825817"/>
                <a:gd name="connsiteX4" fmla="*/ 676275 w 1116330"/>
                <a:gd name="connsiteY4" fmla="*/ 765810 h 825817"/>
                <a:gd name="connsiteX5" fmla="*/ 624840 w 1116330"/>
                <a:gd name="connsiteY5" fmla="*/ 757238 h 825817"/>
                <a:gd name="connsiteX6" fmla="*/ 607695 w 1116330"/>
                <a:gd name="connsiteY6" fmla="*/ 748665 h 825817"/>
                <a:gd name="connsiteX7" fmla="*/ 593407 w 1116330"/>
                <a:gd name="connsiteY7" fmla="*/ 760095 h 825817"/>
                <a:gd name="connsiteX8" fmla="*/ 561975 w 1116330"/>
                <a:gd name="connsiteY8" fmla="*/ 756285 h 825817"/>
                <a:gd name="connsiteX9" fmla="*/ 519113 w 1116330"/>
                <a:gd name="connsiteY9" fmla="*/ 761048 h 825817"/>
                <a:gd name="connsiteX10" fmla="*/ 510540 w 1116330"/>
                <a:gd name="connsiteY10" fmla="*/ 767715 h 825817"/>
                <a:gd name="connsiteX11" fmla="*/ 470535 w 1116330"/>
                <a:gd name="connsiteY11" fmla="*/ 763905 h 825817"/>
                <a:gd name="connsiteX12" fmla="*/ 462915 w 1116330"/>
                <a:gd name="connsiteY12" fmla="*/ 748665 h 825817"/>
                <a:gd name="connsiteX13" fmla="*/ 451485 w 1116330"/>
                <a:gd name="connsiteY13" fmla="*/ 746760 h 825817"/>
                <a:gd name="connsiteX14" fmla="*/ 409575 w 1116330"/>
                <a:gd name="connsiteY14" fmla="*/ 759143 h 825817"/>
                <a:gd name="connsiteX15" fmla="*/ 394335 w 1116330"/>
                <a:gd name="connsiteY15" fmla="*/ 748665 h 825817"/>
                <a:gd name="connsiteX16" fmla="*/ 373380 w 1116330"/>
                <a:gd name="connsiteY16" fmla="*/ 756285 h 825817"/>
                <a:gd name="connsiteX17" fmla="*/ 371475 w 1116330"/>
                <a:gd name="connsiteY17" fmla="*/ 739140 h 825817"/>
                <a:gd name="connsiteX18" fmla="*/ 349567 w 1116330"/>
                <a:gd name="connsiteY18" fmla="*/ 727710 h 825817"/>
                <a:gd name="connsiteX19" fmla="*/ 335280 w 1116330"/>
                <a:gd name="connsiteY19" fmla="*/ 725805 h 825817"/>
                <a:gd name="connsiteX20" fmla="*/ 325755 w 1116330"/>
                <a:gd name="connsiteY20" fmla="*/ 715328 h 825817"/>
                <a:gd name="connsiteX21" fmla="*/ 297180 w 1116330"/>
                <a:gd name="connsiteY21" fmla="*/ 718185 h 825817"/>
                <a:gd name="connsiteX22" fmla="*/ 285750 w 1116330"/>
                <a:gd name="connsiteY22" fmla="*/ 710565 h 825817"/>
                <a:gd name="connsiteX23" fmla="*/ 274320 w 1116330"/>
                <a:gd name="connsiteY23" fmla="*/ 710565 h 825817"/>
                <a:gd name="connsiteX24" fmla="*/ 262890 w 1116330"/>
                <a:gd name="connsiteY24" fmla="*/ 719138 h 825817"/>
                <a:gd name="connsiteX25" fmla="*/ 210502 w 1116330"/>
                <a:gd name="connsiteY25" fmla="*/ 725805 h 825817"/>
                <a:gd name="connsiteX26" fmla="*/ 147638 w 1116330"/>
                <a:gd name="connsiteY26" fmla="*/ 685800 h 825817"/>
                <a:gd name="connsiteX27" fmla="*/ 158115 w 1116330"/>
                <a:gd name="connsiteY27" fmla="*/ 632460 h 825817"/>
                <a:gd name="connsiteX28" fmla="*/ 154305 w 1116330"/>
                <a:gd name="connsiteY28" fmla="*/ 593408 h 825817"/>
                <a:gd name="connsiteX29" fmla="*/ 123825 w 1116330"/>
                <a:gd name="connsiteY29" fmla="*/ 558165 h 825817"/>
                <a:gd name="connsiteX30" fmla="*/ 88582 w 1116330"/>
                <a:gd name="connsiteY30" fmla="*/ 559118 h 825817"/>
                <a:gd name="connsiteX31" fmla="*/ 84773 w 1116330"/>
                <a:gd name="connsiteY31" fmla="*/ 548640 h 825817"/>
                <a:gd name="connsiteX32" fmla="*/ 88582 w 1116330"/>
                <a:gd name="connsiteY32" fmla="*/ 537210 h 825817"/>
                <a:gd name="connsiteX33" fmla="*/ 81915 w 1116330"/>
                <a:gd name="connsiteY33" fmla="*/ 529590 h 825817"/>
                <a:gd name="connsiteX34" fmla="*/ 72390 w 1116330"/>
                <a:gd name="connsiteY34" fmla="*/ 530543 h 825817"/>
                <a:gd name="connsiteX35" fmla="*/ 52388 w 1116330"/>
                <a:gd name="connsiteY35" fmla="*/ 516255 h 825817"/>
                <a:gd name="connsiteX36" fmla="*/ 40957 w 1116330"/>
                <a:gd name="connsiteY36" fmla="*/ 520065 h 825817"/>
                <a:gd name="connsiteX37" fmla="*/ 21907 w 1116330"/>
                <a:gd name="connsiteY37" fmla="*/ 519113 h 825817"/>
                <a:gd name="connsiteX38" fmla="*/ 15240 w 1116330"/>
                <a:gd name="connsiteY38" fmla="*/ 504825 h 825817"/>
                <a:gd name="connsiteX39" fmla="*/ 0 w 1116330"/>
                <a:gd name="connsiteY39" fmla="*/ 501968 h 825817"/>
                <a:gd name="connsiteX40" fmla="*/ 23813 w 1116330"/>
                <a:gd name="connsiteY40" fmla="*/ 430530 h 825817"/>
                <a:gd name="connsiteX41" fmla="*/ 17145 w 1116330"/>
                <a:gd name="connsiteY41" fmla="*/ 487680 h 825817"/>
                <a:gd name="connsiteX42" fmla="*/ 21907 w 1116330"/>
                <a:gd name="connsiteY42" fmla="*/ 492443 h 825817"/>
                <a:gd name="connsiteX43" fmla="*/ 21907 w 1116330"/>
                <a:gd name="connsiteY43" fmla="*/ 473393 h 825817"/>
                <a:gd name="connsiteX44" fmla="*/ 29527 w 1116330"/>
                <a:gd name="connsiteY44" fmla="*/ 471488 h 825817"/>
                <a:gd name="connsiteX45" fmla="*/ 40005 w 1116330"/>
                <a:gd name="connsiteY45" fmla="*/ 493395 h 825817"/>
                <a:gd name="connsiteX46" fmla="*/ 35242 w 1116330"/>
                <a:gd name="connsiteY46" fmla="*/ 472440 h 825817"/>
                <a:gd name="connsiteX47" fmla="*/ 46672 w 1116330"/>
                <a:gd name="connsiteY47" fmla="*/ 432435 h 825817"/>
                <a:gd name="connsiteX48" fmla="*/ 63817 w 1116330"/>
                <a:gd name="connsiteY48" fmla="*/ 436245 h 825817"/>
                <a:gd name="connsiteX49" fmla="*/ 53340 w 1116330"/>
                <a:gd name="connsiteY49" fmla="*/ 417195 h 825817"/>
                <a:gd name="connsiteX50" fmla="*/ 43815 w 1116330"/>
                <a:gd name="connsiteY50" fmla="*/ 420053 h 825817"/>
                <a:gd name="connsiteX51" fmla="*/ 29527 w 1116330"/>
                <a:gd name="connsiteY51" fmla="*/ 416243 h 825817"/>
                <a:gd name="connsiteX52" fmla="*/ 31432 w 1116330"/>
                <a:gd name="connsiteY52" fmla="*/ 376238 h 825817"/>
                <a:gd name="connsiteX53" fmla="*/ 33338 w 1116330"/>
                <a:gd name="connsiteY53" fmla="*/ 390525 h 825817"/>
                <a:gd name="connsiteX54" fmla="*/ 41910 w 1116330"/>
                <a:gd name="connsiteY54" fmla="*/ 395288 h 825817"/>
                <a:gd name="connsiteX55" fmla="*/ 47625 w 1116330"/>
                <a:gd name="connsiteY55" fmla="*/ 380048 h 825817"/>
                <a:gd name="connsiteX56" fmla="*/ 78105 w 1116330"/>
                <a:gd name="connsiteY56" fmla="*/ 380048 h 825817"/>
                <a:gd name="connsiteX57" fmla="*/ 57150 w 1116330"/>
                <a:gd name="connsiteY57" fmla="*/ 368618 h 825817"/>
                <a:gd name="connsiteX58" fmla="*/ 40957 w 1116330"/>
                <a:gd name="connsiteY58" fmla="*/ 350520 h 825817"/>
                <a:gd name="connsiteX59" fmla="*/ 27622 w 1116330"/>
                <a:gd name="connsiteY59" fmla="*/ 365760 h 825817"/>
                <a:gd name="connsiteX60" fmla="*/ 39052 w 1116330"/>
                <a:gd name="connsiteY60" fmla="*/ 336233 h 825817"/>
                <a:gd name="connsiteX61" fmla="*/ 36195 w 1116330"/>
                <a:gd name="connsiteY61" fmla="*/ 292418 h 825817"/>
                <a:gd name="connsiteX62" fmla="*/ 34290 w 1116330"/>
                <a:gd name="connsiteY62" fmla="*/ 258128 h 825817"/>
                <a:gd name="connsiteX63" fmla="*/ 42863 w 1116330"/>
                <a:gd name="connsiteY63" fmla="*/ 200025 h 825817"/>
                <a:gd name="connsiteX64" fmla="*/ 38100 w 1116330"/>
                <a:gd name="connsiteY64" fmla="*/ 180975 h 825817"/>
                <a:gd name="connsiteX65" fmla="*/ 24765 w 1116330"/>
                <a:gd name="connsiteY65" fmla="*/ 160973 h 825817"/>
                <a:gd name="connsiteX66" fmla="*/ 25717 w 1116330"/>
                <a:gd name="connsiteY66" fmla="*/ 122873 h 825817"/>
                <a:gd name="connsiteX67" fmla="*/ 29527 w 1116330"/>
                <a:gd name="connsiteY67" fmla="*/ 97155 h 825817"/>
                <a:gd name="connsiteX68" fmla="*/ 48577 w 1116330"/>
                <a:gd name="connsiteY68" fmla="*/ 75248 h 825817"/>
                <a:gd name="connsiteX69" fmla="*/ 41910 w 1116330"/>
                <a:gd name="connsiteY69" fmla="*/ 61913 h 825817"/>
                <a:gd name="connsiteX70" fmla="*/ 43815 w 1116330"/>
                <a:gd name="connsiteY70" fmla="*/ 56198 h 825817"/>
                <a:gd name="connsiteX71" fmla="*/ 52388 w 1116330"/>
                <a:gd name="connsiteY71" fmla="*/ 57150 h 825817"/>
                <a:gd name="connsiteX72" fmla="*/ 126682 w 1116330"/>
                <a:gd name="connsiteY72" fmla="*/ 129540 h 825817"/>
                <a:gd name="connsiteX73" fmla="*/ 171450 w 1116330"/>
                <a:gd name="connsiteY73" fmla="*/ 147638 h 825817"/>
                <a:gd name="connsiteX74" fmla="*/ 220027 w 1116330"/>
                <a:gd name="connsiteY74" fmla="*/ 171450 h 825817"/>
                <a:gd name="connsiteX75" fmla="*/ 250507 w 1116330"/>
                <a:gd name="connsiteY75" fmla="*/ 170498 h 825817"/>
                <a:gd name="connsiteX76" fmla="*/ 252413 w 1116330"/>
                <a:gd name="connsiteY76" fmla="*/ 199073 h 825817"/>
                <a:gd name="connsiteX77" fmla="*/ 261938 w 1116330"/>
                <a:gd name="connsiteY77" fmla="*/ 183833 h 825817"/>
                <a:gd name="connsiteX78" fmla="*/ 268605 w 1116330"/>
                <a:gd name="connsiteY78" fmla="*/ 183833 h 825817"/>
                <a:gd name="connsiteX79" fmla="*/ 274320 w 1116330"/>
                <a:gd name="connsiteY79" fmla="*/ 209550 h 825817"/>
                <a:gd name="connsiteX80" fmla="*/ 279082 w 1116330"/>
                <a:gd name="connsiteY80" fmla="*/ 184785 h 825817"/>
                <a:gd name="connsiteX81" fmla="*/ 292417 w 1116330"/>
                <a:gd name="connsiteY81" fmla="*/ 182880 h 825817"/>
                <a:gd name="connsiteX82" fmla="*/ 297180 w 1116330"/>
                <a:gd name="connsiteY82" fmla="*/ 189548 h 825817"/>
                <a:gd name="connsiteX83" fmla="*/ 286703 w 1116330"/>
                <a:gd name="connsiteY83" fmla="*/ 195263 h 825817"/>
                <a:gd name="connsiteX84" fmla="*/ 287655 w 1116330"/>
                <a:gd name="connsiteY84" fmla="*/ 210503 h 825817"/>
                <a:gd name="connsiteX85" fmla="*/ 294323 w 1116330"/>
                <a:gd name="connsiteY85" fmla="*/ 196215 h 825817"/>
                <a:gd name="connsiteX86" fmla="*/ 304800 w 1116330"/>
                <a:gd name="connsiteY86" fmla="*/ 196215 h 825817"/>
                <a:gd name="connsiteX87" fmla="*/ 300990 w 1116330"/>
                <a:gd name="connsiteY87" fmla="*/ 220980 h 825817"/>
                <a:gd name="connsiteX88" fmla="*/ 290513 w 1116330"/>
                <a:gd name="connsiteY88" fmla="*/ 213360 h 825817"/>
                <a:gd name="connsiteX89" fmla="*/ 294323 w 1116330"/>
                <a:gd name="connsiteY89" fmla="*/ 226695 h 825817"/>
                <a:gd name="connsiteX90" fmla="*/ 293370 w 1116330"/>
                <a:gd name="connsiteY90" fmla="*/ 240983 h 825817"/>
                <a:gd name="connsiteX91" fmla="*/ 285750 w 1116330"/>
                <a:gd name="connsiteY91" fmla="*/ 247650 h 825817"/>
                <a:gd name="connsiteX92" fmla="*/ 261938 w 1116330"/>
                <a:gd name="connsiteY92" fmla="*/ 275273 h 825817"/>
                <a:gd name="connsiteX93" fmla="*/ 273367 w 1116330"/>
                <a:gd name="connsiteY93" fmla="*/ 242888 h 825817"/>
                <a:gd name="connsiteX94" fmla="*/ 258127 w 1116330"/>
                <a:gd name="connsiteY94" fmla="*/ 246698 h 825817"/>
                <a:gd name="connsiteX95" fmla="*/ 254317 w 1116330"/>
                <a:gd name="connsiteY95" fmla="*/ 266700 h 825817"/>
                <a:gd name="connsiteX96" fmla="*/ 218123 w 1116330"/>
                <a:gd name="connsiteY96" fmla="*/ 293370 h 825817"/>
                <a:gd name="connsiteX97" fmla="*/ 214313 w 1116330"/>
                <a:gd name="connsiteY97" fmla="*/ 302895 h 825817"/>
                <a:gd name="connsiteX98" fmla="*/ 194310 w 1116330"/>
                <a:gd name="connsiteY98" fmla="*/ 323850 h 825817"/>
                <a:gd name="connsiteX99" fmla="*/ 193357 w 1116330"/>
                <a:gd name="connsiteY99" fmla="*/ 333375 h 825817"/>
                <a:gd name="connsiteX100" fmla="*/ 214313 w 1116330"/>
                <a:gd name="connsiteY100" fmla="*/ 333375 h 825817"/>
                <a:gd name="connsiteX101" fmla="*/ 237173 w 1116330"/>
                <a:gd name="connsiteY101" fmla="*/ 331470 h 825817"/>
                <a:gd name="connsiteX102" fmla="*/ 241935 w 1116330"/>
                <a:gd name="connsiteY102" fmla="*/ 322898 h 825817"/>
                <a:gd name="connsiteX103" fmla="*/ 204788 w 1116330"/>
                <a:gd name="connsiteY103" fmla="*/ 327660 h 825817"/>
                <a:gd name="connsiteX104" fmla="*/ 204788 w 1116330"/>
                <a:gd name="connsiteY104" fmla="*/ 321945 h 825817"/>
                <a:gd name="connsiteX105" fmla="*/ 229552 w 1116330"/>
                <a:gd name="connsiteY105" fmla="*/ 295275 h 825817"/>
                <a:gd name="connsiteX106" fmla="*/ 246698 w 1116330"/>
                <a:gd name="connsiteY106" fmla="*/ 287655 h 825817"/>
                <a:gd name="connsiteX107" fmla="*/ 264795 w 1116330"/>
                <a:gd name="connsiteY107" fmla="*/ 285750 h 825817"/>
                <a:gd name="connsiteX108" fmla="*/ 274320 w 1116330"/>
                <a:gd name="connsiteY108" fmla="*/ 270510 h 825817"/>
                <a:gd name="connsiteX109" fmla="*/ 302895 w 1116330"/>
                <a:gd name="connsiteY109" fmla="*/ 248603 h 825817"/>
                <a:gd name="connsiteX110" fmla="*/ 302895 w 1116330"/>
                <a:gd name="connsiteY110" fmla="*/ 235268 h 825817"/>
                <a:gd name="connsiteX111" fmla="*/ 313373 w 1116330"/>
                <a:gd name="connsiteY111" fmla="*/ 235268 h 825817"/>
                <a:gd name="connsiteX112" fmla="*/ 314325 w 1116330"/>
                <a:gd name="connsiteY112" fmla="*/ 273368 h 825817"/>
                <a:gd name="connsiteX113" fmla="*/ 300038 w 1116330"/>
                <a:gd name="connsiteY113" fmla="*/ 273368 h 825817"/>
                <a:gd name="connsiteX114" fmla="*/ 294323 w 1116330"/>
                <a:gd name="connsiteY114" fmla="*/ 280988 h 825817"/>
                <a:gd name="connsiteX115" fmla="*/ 283845 w 1116330"/>
                <a:gd name="connsiteY115" fmla="*/ 272415 h 825817"/>
                <a:gd name="connsiteX116" fmla="*/ 286703 w 1116330"/>
                <a:gd name="connsiteY116" fmla="*/ 282893 h 825817"/>
                <a:gd name="connsiteX117" fmla="*/ 286703 w 1116330"/>
                <a:gd name="connsiteY117" fmla="*/ 299085 h 825817"/>
                <a:gd name="connsiteX118" fmla="*/ 280035 w 1116330"/>
                <a:gd name="connsiteY118" fmla="*/ 305753 h 825817"/>
                <a:gd name="connsiteX119" fmla="*/ 277178 w 1116330"/>
                <a:gd name="connsiteY119" fmla="*/ 290513 h 825817"/>
                <a:gd name="connsiteX120" fmla="*/ 269557 w 1116330"/>
                <a:gd name="connsiteY120" fmla="*/ 298133 h 825817"/>
                <a:gd name="connsiteX121" fmla="*/ 276225 w 1116330"/>
                <a:gd name="connsiteY121" fmla="*/ 303848 h 825817"/>
                <a:gd name="connsiteX122" fmla="*/ 267653 w 1116330"/>
                <a:gd name="connsiteY122" fmla="*/ 314325 h 825817"/>
                <a:gd name="connsiteX123" fmla="*/ 280035 w 1116330"/>
                <a:gd name="connsiteY123" fmla="*/ 314325 h 825817"/>
                <a:gd name="connsiteX124" fmla="*/ 286703 w 1116330"/>
                <a:gd name="connsiteY124" fmla="*/ 309563 h 825817"/>
                <a:gd name="connsiteX125" fmla="*/ 287655 w 1116330"/>
                <a:gd name="connsiteY125" fmla="*/ 328613 h 825817"/>
                <a:gd name="connsiteX126" fmla="*/ 278130 w 1116330"/>
                <a:gd name="connsiteY126" fmla="*/ 346710 h 825817"/>
                <a:gd name="connsiteX127" fmla="*/ 269557 w 1116330"/>
                <a:gd name="connsiteY127" fmla="*/ 356235 h 825817"/>
                <a:gd name="connsiteX128" fmla="*/ 268605 w 1116330"/>
                <a:gd name="connsiteY128" fmla="*/ 373380 h 825817"/>
                <a:gd name="connsiteX129" fmla="*/ 259080 w 1116330"/>
                <a:gd name="connsiteY129" fmla="*/ 371475 h 825817"/>
                <a:gd name="connsiteX130" fmla="*/ 257175 w 1116330"/>
                <a:gd name="connsiteY130" fmla="*/ 358140 h 825817"/>
                <a:gd name="connsiteX131" fmla="*/ 265748 w 1116330"/>
                <a:gd name="connsiteY131" fmla="*/ 347663 h 825817"/>
                <a:gd name="connsiteX132" fmla="*/ 258127 w 1116330"/>
                <a:gd name="connsiteY132" fmla="*/ 342900 h 825817"/>
                <a:gd name="connsiteX133" fmla="*/ 250507 w 1116330"/>
                <a:gd name="connsiteY133" fmla="*/ 349568 h 825817"/>
                <a:gd name="connsiteX134" fmla="*/ 243840 w 1116330"/>
                <a:gd name="connsiteY134" fmla="*/ 370523 h 825817"/>
                <a:gd name="connsiteX135" fmla="*/ 236220 w 1116330"/>
                <a:gd name="connsiteY135" fmla="*/ 379095 h 825817"/>
                <a:gd name="connsiteX136" fmla="*/ 235267 w 1116330"/>
                <a:gd name="connsiteY136" fmla="*/ 360045 h 825817"/>
                <a:gd name="connsiteX137" fmla="*/ 242888 w 1116330"/>
                <a:gd name="connsiteY137" fmla="*/ 349568 h 825817"/>
                <a:gd name="connsiteX138" fmla="*/ 240982 w 1116330"/>
                <a:gd name="connsiteY138" fmla="*/ 339090 h 825817"/>
                <a:gd name="connsiteX139" fmla="*/ 229552 w 1116330"/>
                <a:gd name="connsiteY139" fmla="*/ 350520 h 825817"/>
                <a:gd name="connsiteX140" fmla="*/ 230505 w 1116330"/>
                <a:gd name="connsiteY140" fmla="*/ 371475 h 825817"/>
                <a:gd name="connsiteX141" fmla="*/ 224790 w 1116330"/>
                <a:gd name="connsiteY141" fmla="*/ 375285 h 825817"/>
                <a:gd name="connsiteX142" fmla="*/ 204788 w 1116330"/>
                <a:gd name="connsiteY142" fmla="*/ 371475 h 825817"/>
                <a:gd name="connsiteX143" fmla="*/ 192405 w 1116330"/>
                <a:gd name="connsiteY143" fmla="*/ 382905 h 825817"/>
                <a:gd name="connsiteX144" fmla="*/ 213360 w 1116330"/>
                <a:gd name="connsiteY144" fmla="*/ 377190 h 825817"/>
                <a:gd name="connsiteX145" fmla="*/ 211455 w 1116330"/>
                <a:gd name="connsiteY145" fmla="*/ 398145 h 825817"/>
                <a:gd name="connsiteX146" fmla="*/ 220980 w 1116330"/>
                <a:gd name="connsiteY146" fmla="*/ 381000 h 825817"/>
                <a:gd name="connsiteX147" fmla="*/ 224790 w 1116330"/>
                <a:gd name="connsiteY147" fmla="*/ 394335 h 825817"/>
                <a:gd name="connsiteX148" fmla="*/ 229552 w 1116330"/>
                <a:gd name="connsiteY148" fmla="*/ 384810 h 825817"/>
                <a:gd name="connsiteX149" fmla="*/ 236220 w 1116330"/>
                <a:gd name="connsiteY149" fmla="*/ 401955 h 825817"/>
                <a:gd name="connsiteX150" fmla="*/ 242888 w 1116330"/>
                <a:gd name="connsiteY150" fmla="*/ 401955 h 825817"/>
                <a:gd name="connsiteX151" fmla="*/ 249555 w 1116330"/>
                <a:gd name="connsiteY151" fmla="*/ 394335 h 825817"/>
                <a:gd name="connsiteX152" fmla="*/ 255270 w 1116330"/>
                <a:gd name="connsiteY152" fmla="*/ 393383 h 825817"/>
                <a:gd name="connsiteX153" fmla="*/ 274320 w 1116330"/>
                <a:gd name="connsiteY153" fmla="*/ 375285 h 825817"/>
                <a:gd name="connsiteX154" fmla="*/ 276225 w 1116330"/>
                <a:gd name="connsiteY154" fmla="*/ 363855 h 825817"/>
                <a:gd name="connsiteX155" fmla="*/ 283845 w 1116330"/>
                <a:gd name="connsiteY155" fmla="*/ 369570 h 825817"/>
                <a:gd name="connsiteX156" fmla="*/ 286703 w 1116330"/>
                <a:gd name="connsiteY156" fmla="*/ 378143 h 825817"/>
                <a:gd name="connsiteX157" fmla="*/ 293370 w 1116330"/>
                <a:gd name="connsiteY157" fmla="*/ 375285 h 825817"/>
                <a:gd name="connsiteX158" fmla="*/ 294323 w 1116330"/>
                <a:gd name="connsiteY158" fmla="*/ 363855 h 825817"/>
                <a:gd name="connsiteX159" fmla="*/ 306705 w 1116330"/>
                <a:gd name="connsiteY159" fmla="*/ 363855 h 825817"/>
                <a:gd name="connsiteX160" fmla="*/ 308610 w 1116330"/>
                <a:gd name="connsiteY160" fmla="*/ 336233 h 825817"/>
                <a:gd name="connsiteX161" fmla="*/ 307657 w 1116330"/>
                <a:gd name="connsiteY161" fmla="*/ 310515 h 825817"/>
                <a:gd name="connsiteX162" fmla="*/ 316230 w 1116330"/>
                <a:gd name="connsiteY162" fmla="*/ 313373 h 825817"/>
                <a:gd name="connsiteX163" fmla="*/ 309563 w 1116330"/>
                <a:gd name="connsiteY163" fmla="*/ 293370 h 825817"/>
                <a:gd name="connsiteX164" fmla="*/ 322898 w 1116330"/>
                <a:gd name="connsiteY164" fmla="*/ 285750 h 825817"/>
                <a:gd name="connsiteX165" fmla="*/ 324803 w 1116330"/>
                <a:gd name="connsiteY165" fmla="*/ 262890 h 825817"/>
                <a:gd name="connsiteX166" fmla="*/ 346710 w 1116330"/>
                <a:gd name="connsiteY166" fmla="*/ 241935 h 825817"/>
                <a:gd name="connsiteX167" fmla="*/ 356235 w 1116330"/>
                <a:gd name="connsiteY167" fmla="*/ 242888 h 825817"/>
                <a:gd name="connsiteX168" fmla="*/ 359092 w 1116330"/>
                <a:gd name="connsiteY168" fmla="*/ 229553 h 825817"/>
                <a:gd name="connsiteX169" fmla="*/ 347663 w 1116330"/>
                <a:gd name="connsiteY169" fmla="*/ 216218 h 825817"/>
                <a:gd name="connsiteX170" fmla="*/ 346710 w 1116330"/>
                <a:gd name="connsiteY170" fmla="*/ 182880 h 825817"/>
                <a:gd name="connsiteX171" fmla="*/ 339090 w 1116330"/>
                <a:gd name="connsiteY171" fmla="*/ 191453 h 825817"/>
                <a:gd name="connsiteX172" fmla="*/ 345757 w 1116330"/>
                <a:gd name="connsiteY172" fmla="*/ 219075 h 825817"/>
                <a:gd name="connsiteX173" fmla="*/ 340042 w 1116330"/>
                <a:gd name="connsiteY173" fmla="*/ 220028 h 825817"/>
                <a:gd name="connsiteX174" fmla="*/ 334328 w 1116330"/>
                <a:gd name="connsiteY174" fmla="*/ 201930 h 825817"/>
                <a:gd name="connsiteX175" fmla="*/ 328613 w 1116330"/>
                <a:gd name="connsiteY175" fmla="*/ 197168 h 825817"/>
                <a:gd name="connsiteX176" fmla="*/ 331470 w 1116330"/>
                <a:gd name="connsiteY176" fmla="*/ 175260 h 825817"/>
                <a:gd name="connsiteX177" fmla="*/ 348615 w 1116330"/>
                <a:gd name="connsiteY177" fmla="*/ 174308 h 825817"/>
                <a:gd name="connsiteX178" fmla="*/ 351473 w 1116330"/>
                <a:gd name="connsiteY178" fmla="*/ 180975 h 825817"/>
                <a:gd name="connsiteX179" fmla="*/ 354330 w 1116330"/>
                <a:gd name="connsiteY179" fmla="*/ 165735 h 825817"/>
                <a:gd name="connsiteX180" fmla="*/ 339090 w 1116330"/>
                <a:gd name="connsiteY180" fmla="*/ 149543 h 825817"/>
                <a:gd name="connsiteX181" fmla="*/ 333375 w 1116330"/>
                <a:gd name="connsiteY181" fmla="*/ 134303 h 825817"/>
                <a:gd name="connsiteX182" fmla="*/ 331470 w 1116330"/>
                <a:gd name="connsiteY182" fmla="*/ 153353 h 825817"/>
                <a:gd name="connsiteX183" fmla="*/ 340042 w 1116330"/>
                <a:gd name="connsiteY183" fmla="*/ 163830 h 825817"/>
                <a:gd name="connsiteX184" fmla="*/ 333375 w 1116330"/>
                <a:gd name="connsiteY184" fmla="*/ 167640 h 825817"/>
                <a:gd name="connsiteX185" fmla="*/ 323850 w 1116330"/>
                <a:gd name="connsiteY185" fmla="*/ 160020 h 825817"/>
                <a:gd name="connsiteX186" fmla="*/ 306705 w 1116330"/>
                <a:gd name="connsiteY186" fmla="*/ 172403 h 825817"/>
                <a:gd name="connsiteX187" fmla="*/ 320992 w 1116330"/>
                <a:gd name="connsiteY187" fmla="*/ 177165 h 825817"/>
                <a:gd name="connsiteX188" fmla="*/ 322898 w 1116330"/>
                <a:gd name="connsiteY188" fmla="*/ 200025 h 825817"/>
                <a:gd name="connsiteX189" fmla="*/ 320040 w 1116330"/>
                <a:gd name="connsiteY189" fmla="*/ 217170 h 825817"/>
                <a:gd name="connsiteX190" fmla="*/ 328613 w 1116330"/>
                <a:gd name="connsiteY190" fmla="*/ 204788 h 825817"/>
                <a:gd name="connsiteX191" fmla="*/ 341948 w 1116330"/>
                <a:gd name="connsiteY191" fmla="*/ 226695 h 825817"/>
                <a:gd name="connsiteX192" fmla="*/ 338138 w 1116330"/>
                <a:gd name="connsiteY192" fmla="*/ 244793 h 825817"/>
                <a:gd name="connsiteX193" fmla="*/ 323850 w 1116330"/>
                <a:gd name="connsiteY193" fmla="*/ 244793 h 825817"/>
                <a:gd name="connsiteX194" fmla="*/ 323850 w 1116330"/>
                <a:gd name="connsiteY194" fmla="*/ 233363 h 825817"/>
                <a:gd name="connsiteX195" fmla="*/ 309563 w 1116330"/>
                <a:gd name="connsiteY195" fmla="*/ 221933 h 825817"/>
                <a:gd name="connsiteX196" fmla="*/ 314325 w 1116330"/>
                <a:gd name="connsiteY196" fmla="*/ 193358 h 825817"/>
                <a:gd name="connsiteX197" fmla="*/ 296228 w 1116330"/>
                <a:gd name="connsiteY197" fmla="*/ 168593 h 825817"/>
                <a:gd name="connsiteX198" fmla="*/ 321945 w 1116330"/>
                <a:gd name="connsiteY198" fmla="*/ 140018 h 825817"/>
                <a:gd name="connsiteX199" fmla="*/ 327660 w 1116330"/>
                <a:gd name="connsiteY199" fmla="*/ 100965 h 825817"/>
                <a:gd name="connsiteX200" fmla="*/ 336232 w 1116330"/>
                <a:gd name="connsiteY200" fmla="*/ 100965 h 825817"/>
                <a:gd name="connsiteX201" fmla="*/ 349567 w 1116330"/>
                <a:gd name="connsiteY201" fmla="*/ 131445 h 825817"/>
                <a:gd name="connsiteX202" fmla="*/ 349567 w 1116330"/>
                <a:gd name="connsiteY202" fmla="*/ 106680 h 825817"/>
                <a:gd name="connsiteX203" fmla="*/ 360998 w 1116330"/>
                <a:gd name="connsiteY203" fmla="*/ 109538 h 825817"/>
                <a:gd name="connsiteX204" fmla="*/ 360998 w 1116330"/>
                <a:gd name="connsiteY204" fmla="*/ 78105 h 825817"/>
                <a:gd name="connsiteX205" fmla="*/ 352425 w 1116330"/>
                <a:gd name="connsiteY205" fmla="*/ 70485 h 825817"/>
                <a:gd name="connsiteX206" fmla="*/ 340995 w 1116330"/>
                <a:gd name="connsiteY206" fmla="*/ 94298 h 825817"/>
                <a:gd name="connsiteX207" fmla="*/ 331470 w 1116330"/>
                <a:gd name="connsiteY207" fmla="*/ 65723 h 825817"/>
                <a:gd name="connsiteX208" fmla="*/ 343853 w 1116330"/>
                <a:gd name="connsiteY208" fmla="*/ 64770 h 825817"/>
                <a:gd name="connsiteX209" fmla="*/ 329565 w 1116330"/>
                <a:gd name="connsiteY209" fmla="*/ 18098 h 825817"/>
                <a:gd name="connsiteX210" fmla="*/ 347663 w 1116330"/>
                <a:gd name="connsiteY210" fmla="*/ 12383 h 825817"/>
                <a:gd name="connsiteX211" fmla="*/ 589598 w 1116330"/>
                <a:gd name="connsiteY211" fmla="*/ 83820 h 825817"/>
                <a:gd name="connsiteX212" fmla="*/ 891540 w 1116330"/>
                <a:gd name="connsiteY212" fmla="*/ 160020 h 825817"/>
                <a:gd name="connsiteX213" fmla="*/ 1116330 w 1116330"/>
                <a:gd name="connsiteY213" fmla="*/ 212408 h 825817"/>
                <a:gd name="connsiteX214" fmla="*/ 245745 w 1116330"/>
                <a:gd name="connsiteY214" fmla="*/ 371475 h 825817"/>
                <a:gd name="connsiteX215" fmla="*/ 250507 w 1116330"/>
                <a:gd name="connsiteY215" fmla="*/ 371475 h 825817"/>
                <a:gd name="connsiteX216" fmla="*/ 251460 w 1116330"/>
                <a:gd name="connsiteY216" fmla="*/ 379095 h 825817"/>
                <a:gd name="connsiteX217" fmla="*/ 246698 w 1116330"/>
                <a:gd name="connsiteY217" fmla="*/ 381953 h 825817"/>
                <a:gd name="connsiteX218" fmla="*/ 247650 w 1116330"/>
                <a:gd name="connsiteY218" fmla="*/ 387668 h 825817"/>
                <a:gd name="connsiteX219" fmla="*/ 240982 w 1116330"/>
                <a:gd name="connsiteY219" fmla="*/ 391478 h 825817"/>
                <a:gd name="connsiteX220" fmla="*/ 239077 w 1116330"/>
                <a:gd name="connsiteY220" fmla="*/ 382905 h 825817"/>
                <a:gd name="connsiteX221" fmla="*/ 243840 w 1116330"/>
                <a:gd name="connsiteY221" fmla="*/ 379095 h 825817"/>
                <a:gd name="connsiteX222" fmla="*/ 293370 w 1116330"/>
                <a:gd name="connsiteY222" fmla="*/ 330518 h 825817"/>
                <a:gd name="connsiteX223" fmla="*/ 281940 w 1116330"/>
                <a:gd name="connsiteY223" fmla="*/ 348615 h 825817"/>
                <a:gd name="connsiteX224" fmla="*/ 280988 w 1116330"/>
                <a:gd name="connsiteY224" fmla="*/ 356235 h 825817"/>
                <a:gd name="connsiteX225" fmla="*/ 284798 w 1116330"/>
                <a:gd name="connsiteY225" fmla="*/ 358140 h 825817"/>
                <a:gd name="connsiteX226" fmla="*/ 289560 w 1116330"/>
                <a:gd name="connsiteY226" fmla="*/ 352425 h 825817"/>
                <a:gd name="connsiteX227" fmla="*/ 300038 w 1116330"/>
                <a:gd name="connsiteY227" fmla="*/ 353378 h 825817"/>
                <a:gd name="connsiteX228" fmla="*/ 289560 w 1116330"/>
                <a:gd name="connsiteY228" fmla="*/ 124777 h 825817"/>
                <a:gd name="connsiteX229" fmla="*/ 294323 w 1116330"/>
                <a:gd name="connsiteY229" fmla="*/ 130493 h 825817"/>
                <a:gd name="connsiteX230" fmla="*/ 306705 w 1116330"/>
                <a:gd name="connsiteY230" fmla="*/ 127635 h 825817"/>
                <a:gd name="connsiteX231" fmla="*/ 308610 w 1116330"/>
                <a:gd name="connsiteY231" fmla="*/ 118110 h 825817"/>
                <a:gd name="connsiteX232" fmla="*/ 320040 w 1116330"/>
                <a:gd name="connsiteY232" fmla="*/ 100965 h 825817"/>
                <a:gd name="connsiteX233" fmla="*/ 310515 w 1116330"/>
                <a:gd name="connsiteY233" fmla="*/ 97155 h 825817"/>
                <a:gd name="connsiteX234" fmla="*/ 303848 w 1116330"/>
                <a:gd name="connsiteY234" fmla="*/ 112395 h 825817"/>
                <a:gd name="connsiteX235" fmla="*/ 302895 w 1116330"/>
                <a:gd name="connsiteY235" fmla="*/ 97155 h 825817"/>
                <a:gd name="connsiteX236" fmla="*/ 292417 w 1116330"/>
                <a:gd name="connsiteY236" fmla="*/ 99060 h 825817"/>
                <a:gd name="connsiteX237" fmla="*/ 285750 w 1116330"/>
                <a:gd name="connsiteY237" fmla="*/ 112395 h 825817"/>
                <a:gd name="connsiteX238" fmla="*/ 320040 w 1116330"/>
                <a:gd name="connsiteY238" fmla="*/ 72390 h 825817"/>
                <a:gd name="connsiteX239" fmla="*/ 326707 w 1116330"/>
                <a:gd name="connsiteY239" fmla="*/ 86678 h 825817"/>
                <a:gd name="connsiteX240" fmla="*/ 318135 w 1116330"/>
                <a:gd name="connsiteY240" fmla="*/ 88583 h 825817"/>
                <a:gd name="connsiteX241" fmla="*/ 310515 w 1116330"/>
                <a:gd name="connsiteY241" fmla="*/ 92393 h 825817"/>
                <a:gd name="connsiteX242" fmla="*/ 308610 w 1116330"/>
                <a:gd name="connsiteY242" fmla="*/ 69533 h 825817"/>
                <a:gd name="connsiteX243" fmla="*/ 294323 w 1116330"/>
                <a:gd name="connsiteY243" fmla="*/ 57150 h 825817"/>
                <a:gd name="connsiteX244" fmla="*/ 283845 w 1116330"/>
                <a:gd name="connsiteY244" fmla="*/ 55245 h 825817"/>
                <a:gd name="connsiteX245" fmla="*/ 288607 w 1116330"/>
                <a:gd name="connsiteY245" fmla="*/ 68580 h 825817"/>
                <a:gd name="connsiteX246" fmla="*/ 284798 w 1116330"/>
                <a:gd name="connsiteY246" fmla="*/ 80963 h 825817"/>
                <a:gd name="connsiteX247" fmla="*/ 292417 w 1116330"/>
                <a:gd name="connsiteY247" fmla="*/ 84773 h 825817"/>
                <a:gd name="connsiteX248" fmla="*/ 288607 w 1116330"/>
                <a:gd name="connsiteY248" fmla="*/ 95250 h 825817"/>
                <a:gd name="connsiteX249" fmla="*/ 304800 w 1116330"/>
                <a:gd name="connsiteY249" fmla="*/ 90488 h 825817"/>
                <a:gd name="connsiteX250" fmla="*/ 302895 w 1116330"/>
                <a:gd name="connsiteY250" fmla="*/ 69533 h 825817"/>
                <a:gd name="connsiteX251" fmla="*/ 294323 w 1116330"/>
                <a:gd name="connsiteY251" fmla="*/ 67628 h 825817"/>
                <a:gd name="connsiteX252" fmla="*/ 259080 w 1116330"/>
                <a:gd name="connsiteY252" fmla="*/ 77153 h 825817"/>
                <a:gd name="connsiteX253" fmla="*/ 261938 w 1116330"/>
                <a:gd name="connsiteY253" fmla="*/ 102870 h 825817"/>
                <a:gd name="connsiteX254" fmla="*/ 277178 w 1116330"/>
                <a:gd name="connsiteY254" fmla="*/ 115252 h 825817"/>
                <a:gd name="connsiteX255" fmla="*/ 282892 w 1116330"/>
                <a:gd name="connsiteY255" fmla="*/ 97155 h 825817"/>
                <a:gd name="connsiteX256" fmla="*/ 272415 w 1116330"/>
                <a:gd name="connsiteY256" fmla="*/ 76200 h 825817"/>
                <a:gd name="connsiteX257" fmla="*/ 277178 w 1116330"/>
                <a:gd name="connsiteY257" fmla="*/ 66675 h 825817"/>
                <a:gd name="connsiteX258" fmla="*/ 266700 w 1116330"/>
                <a:gd name="connsiteY258" fmla="*/ 57150 h 825817"/>
                <a:gd name="connsiteX259" fmla="*/ 258127 w 1116330"/>
                <a:gd name="connsiteY259" fmla="*/ 58103 h 825817"/>
                <a:gd name="connsiteX260" fmla="*/ 275273 w 1116330"/>
                <a:gd name="connsiteY260" fmla="*/ 72390 h 825817"/>
                <a:gd name="connsiteX261" fmla="*/ 307657 w 1116330"/>
                <a:gd name="connsiteY261" fmla="*/ 0 h 825817"/>
                <a:gd name="connsiteX262" fmla="*/ 296228 w 1116330"/>
                <a:gd name="connsiteY262" fmla="*/ 0 h 825817"/>
                <a:gd name="connsiteX263" fmla="*/ 296228 w 1116330"/>
                <a:gd name="connsiteY263" fmla="*/ 7620 h 825817"/>
                <a:gd name="connsiteX264" fmla="*/ 307657 w 1116330"/>
                <a:gd name="connsiteY264" fmla="*/ 13335 h 825817"/>
                <a:gd name="connsiteX265" fmla="*/ 299085 w 1116330"/>
                <a:gd name="connsiteY265" fmla="*/ 309563 h 825817"/>
                <a:gd name="connsiteX266" fmla="*/ 302895 w 1116330"/>
                <a:gd name="connsiteY266" fmla="*/ 283845 h 825817"/>
                <a:gd name="connsiteX267" fmla="*/ 292417 w 1116330"/>
                <a:gd name="connsiteY267" fmla="*/ 283845 h 825817"/>
                <a:gd name="connsiteX268" fmla="*/ 290513 w 1116330"/>
                <a:gd name="connsiteY268" fmla="*/ 301943 h 825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</a:cxnLst>
              <a:rect l="l" t="t" r="r" b="b"/>
              <a:pathLst>
                <a:path w="1116330" h="825817">
                  <a:moveTo>
                    <a:pt x="995362" y="746760"/>
                  </a:moveTo>
                  <a:lnTo>
                    <a:pt x="1002030" y="784860"/>
                  </a:lnTo>
                  <a:lnTo>
                    <a:pt x="991553" y="825818"/>
                  </a:lnTo>
                  <a:lnTo>
                    <a:pt x="702945" y="756285"/>
                  </a:lnTo>
                  <a:lnTo>
                    <a:pt x="676275" y="765810"/>
                  </a:lnTo>
                  <a:lnTo>
                    <a:pt x="624840" y="757238"/>
                  </a:lnTo>
                  <a:lnTo>
                    <a:pt x="607695" y="748665"/>
                  </a:lnTo>
                  <a:lnTo>
                    <a:pt x="593407" y="760095"/>
                  </a:lnTo>
                  <a:lnTo>
                    <a:pt x="561975" y="756285"/>
                  </a:lnTo>
                  <a:lnTo>
                    <a:pt x="519113" y="761048"/>
                  </a:lnTo>
                  <a:lnTo>
                    <a:pt x="510540" y="767715"/>
                  </a:lnTo>
                  <a:lnTo>
                    <a:pt x="470535" y="763905"/>
                  </a:lnTo>
                  <a:lnTo>
                    <a:pt x="462915" y="748665"/>
                  </a:lnTo>
                  <a:lnTo>
                    <a:pt x="451485" y="746760"/>
                  </a:lnTo>
                  <a:lnTo>
                    <a:pt x="409575" y="759143"/>
                  </a:lnTo>
                  <a:lnTo>
                    <a:pt x="394335" y="748665"/>
                  </a:lnTo>
                  <a:lnTo>
                    <a:pt x="373380" y="756285"/>
                  </a:lnTo>
                  <a:lnTo>
                    <a:pt x="371475" y="739140"/>
                  </a:lnTo>
                  <a:lnTo>
                    <a:pt x="349567" y="727710"/>
                  </a:lnTo>
                  <a:lnTo>
                    <a:pt x="335280" y="725805"/>
                  </a:lnTo>
                  <a:lnTo>
                    <a:pt x="325755" y="715328"/>
                  </a:lnTo>
                  <a:lnTo>
                    <a:pt x="297180" y="718185"/>
                  </a:lnTo>
                  <a:lnTo>
                    <a:pt x="285750" y="710565"/>
                  </a:lnTo>
                  <a:lnTo>
                    <a:pt x="274320" y="710565"/>
                  </a:lnTo>
                  <a:lnTo>
                    <a:pt x="262890" y="719138"/>
                  </a:lnTo>
                  <a:lnTo>
                    <a:pt x="210502" y="725805"/>
                  </a:lnTo>
                  <a:lnTo>
                    <a:pt x="147638" y="685800"/>
                  </a:lnTo>
                  <a:lnTo>
                    <a:pt x="158115" y="632460"/>
                  </a:lnTo>
                  <a:lnTo>
                    <a:pt x="154305" y="593408"/>
                  </a:lnTo>
                  <a:lnTo>
                    <a:pt x="123825" y="558165"/>
                  </a:lnTo>
                  <a:lnTo>
                    <a:pt x="88582" y="559118"/>
                  </a:lnTo>
                  <a:lnTo>
                    <a:pt x="84773" y="548640"/>
                  </a:lnTo>
                  <a:lnTo>
                    <a:pt x="88582" y="537210"/>
                  </a:lnTo>
                  <a:lnTo>
                    <a:pt x="81915" y="529590"/>
                  </a:lnTo>
                  <a:lnTo>
                    <a:pt x="72390" y="530543"/>
                  </a:lnTo>
                  <a:lnTo>
                    <a:pt x="52388" y="516255"/>
                  </a:lnTo>
                  <a:lnTo>
                    <a:pt x="40957" y="520065"/>
                  </a:lnTo>
                  <a:lnTo>
                    <a:pt x="21907" y="519113"/>
                  </a:lnTo>
                  <a:lnTo>
                    <a:pt x="15240" y="504825"/>
                  </a:lnTo>
                  <a:lnTo>
                    <a:pt x="0" y="501968"/>
                  </a:lnTo>
                  <a:lnTo>
                    <a:pt x="23813" y="430530"/>
                  </a:lnTo>
                  <a:lnTo>
                    <a:pt x="17145" y="487680"/>
                  </a:lnTo>
                  <a:lnTo>
                    <a:pt x="21907" y="492443"/>
                  </a:lnTo>
                  <a:lnTo>
                    <a:pt x="21907" y="473393"/>
                  </a:lnTo>
                  <a:lnTo>
                    <a:pt x="29527" y="471488"/>
                  </a:lnTo>
                  <a:lnTo>
                    <a:pt x="40005" y="493395"/>
                  </a:lnTo>
                  <a:lnTo>
                    <a:pt x="35242" y="472440"/>
                  </a:lnTo>
                  <a:lnTo>
                    <a:pt x="46672" y="432435"/>
                  </a:lnTo>
                  <a:lnTo>
                    <a:pt x="63817" y="436245"/>
                  </a:lnTo>
                  <a:lnTo>
                    <a:pt x="53340" y="417195"/>
                  </a:lnTo>
                  <a:lnTo>
                    <a:pt x="43815" y="420053"/>
                  </a:lnTo>
                  <a:lnTo>
                    <a:pt x="29527" y="416243"/>
                  </a:lnTo>
                  <a:lnTo>
                    <a:pt x="31432" y="376238"/>
                  </a:lnTo>
                  <a:lnTo>
                    <a:pt x="33338" y="390525"/>
                  </a:lnTo>
                  <a:lnTo>
                    <a:pt x="41910" y="395288"/>
                  </a:lnTo>
                  <a:lnTo>
                    <a:pt x="47625" y="380048"/>
                  </a:lnTo>
                  <a:lnTo>
                    <a:pt x="78105" y="380048"/>
                  </a:lnTo>
                  <a:lnTo>
                    <a:pt x="57150" y="368618"/>
                  </a:lnTo>
                  <a:lnTo>
                    <a:pt x="40957" y="350520"/>
                  </a:lnTo>
                  <a:lnTo>
                    <a:pt x="27622" y="365760"/>
                  </a:lnTo>
                  <a:lnTo>
                    <a:pt x="39052" y="336233"/>
                  </a:lnTo>
                  <a:lnTo>
                    <a:pt x="36195" y="292418"/>
                  </a:lnTo>
                  <a:lnTo>
                    <a:pt x="34290" y="258128"/>
                  </a:lnTo>
                  <a:lnTo>
                    <a:pt x="42863" y="200025"/>
                  </a:lnTo>
                  <a:lnTo>
                    <a:pt x="38100" y="180975"/>
                  </a:lnTo>
                  <a:lnTo>
                    <a:pt x="24765" y="160973"/>
                  </a:lnTo>
                  <a:lnTo>
                    <a:pt x="25717" y="122873"/>
                  </a:lnTo>
                  <a:lnTo>
                    <a:pt x="29527" y="97155"/>
                  </a:lnTo>
                  <a:lnTo>
                    <a:pt x="48577" y="75248"/>
                  </a:lnTo>
                  <a:lnTo>
                    <a:pt x="41910" y="61913"/>
                  </a:lnTo>
                  <a:lnTo>
                    <a:pt x="43815" y="56198"/>
                  </a:lnTo>
                  <a:lnTo>
                    <a:pt x="52388" y="57150"/>
                  </a:lnTo>
                  <a:lnTo>
                    <a:pt x="126682" y="129540"/>
                  </a:lnTo>
                  <a:lnTo>
                    <a:pt x="171450" y="147638"/>
                  </a:lnTo>
                  <a:lnTo>
                    <a:pt x="220027" y="171450"/>
                  </a:lnTo>
                  <a:lnTo>
                    <a:pt x="250507" y="170498"/>
                  </a:lnTo>
                  <a:lnTo>
                    <a:pt x="252413" y="199073"/>
                  </a:lnTo>
                  <a:lnTo>
                    <a:pt x="261938" y="183833"/>
                  </a:lnTo>
                  <a:lnTo>
                    <a:pt x="268605" y="183833"/>
                  </a:lnTo>
                  <a:lnTo>
                    <a:pt x="274320" y="209550"/>
                  </a:lnTo>
                  <a:lnTo>
                    <a:pt x="279082" y="184785"/>
                  </a:lnTo>
                  <a:lnTo>
                    <a:pt x="292417" y="182880"/>
                  </a:lnTo>
                  <a:lnTo>
                    <a:pt x="297180" y="189548"/>
                  </a:lnTo>
                  <a:lnTo>
                    <a:pt x="286703" y="195263"/>
                  </a:lnTo>
                  <a:lnTo>
                    <a:pt x="287655" y="210503"/>
                  </a:lnTo>
                  <a:lnTo>
                    <a:pt x="294323" y="196215"/>
                  </a:lnTo>
                  <a:lnTo>
                    <a:pt x="304800" y="196215"/>
                  </a:lnTo>
                  <a:lnTo>
                    <a:pt x="300990" y="220980"/>
                  </a:lnTo>
                  <a:lnTo>
                    <a:pt x="290513" y="213360"/>
                  </a:lnTo>
                  <a:lnTo>
                    <a:pt x="294323" y="226695"/>
                  </a:lnTo>
                  <a:lnTo>
                    <a:pt x="293370" y="240983"/>
                  </a:lnTo>
                  <a:lnTo>
                    <a:pt x="285750" y="247650"/>
                  </a:lnTo>
                  <a:lnTo>
                    <a:pt x="261938" y="275273"/>
                  </a:lnTo>
                  <a:lnTo>
                    <a:pt x="273367" y="242888"/>
                  </a:lnTo>
                  <a:lnTo>
                    <a:pt x="258127" y="246698"/>
                  </a:lnTo>
                  <a:lnTo>
                    <a:pt x="254317" y="266700"/>
                  </a:lnTo>
                  <a:lnTo>
                    <a:pt x="218123" y="293370"/>
                  </a:lnTo>
                  <a:lnTo>
                    <a:pt x="214313" y="302895"/>
                  </a:lnTo>
                  <a:lnTo>
                    <a:pt x="194310" y="323850"/>
                  </a:lnTo>
                  <a:lnTo>
                    <a:pt x="193357" y="333375"/>
                  </a:lnTo>
                  <a:lnTo>
                    <a:pt x="214313" y="333375"/>
                  </a:lnTo>
                  <a:lnTo>
                    <a:pt x="237173" y="331470"/>
                  </a:lnTo>
                  <a:lnTo>
                    <a:pt x="241935" y="322898"/>
                  </a:lnTo>
                  <a:lnTo>
                    <a:pt x="204788" y="327660"/>
                  </a:lnTo>
                  <a:lnTo>
                    <a:pt x="204788" y="321945"/>
                  </a:lnTo>
                  <a:lnTo>
                    <a:pt x="229552" y="295275"/>
                  </a:lnTo>
                  <a:lnTo>
                    <a:pt x="246698" y="287655"/>
                  </a:lnTo>
                  <a:lnTo>
                    <a:pt x="264795" y="285750"/>
                  </a:lnTo>
                  <a:lnTo>
                    <a:pt x="274320" y="270510"/>
                  </a:lnTo>
                  <a:lnTo>
                    <a:pt x="302895" y="248603"/>
                  </a:lnTo>
                  <a:lnTo>
                    <a:pt x="302895" y="235268"/>
                  </a:lnTo>
                  <a:lnTo>
                    <a:pt x="313373" y="235268"/>
                  </a:lnTo>
                  <a:lnTo>
                    <a:pt x="314325" y="273368"/>
                  </a:lnTo>
                  <a:lnTo>
                    <a:pt x="300038" y="273368"/>
                  </a:lnTo>
                  <a:lnTo>
                    <a:pt x="294323" y="280988"/>
                  </a:lnTo>
                  <a:lnTo>
                    <a:pt x="283845" y="272415"/>
                  </a:lnTo>
                  <a:lnTo>
                    <a:pt x="286703" y="282893"/>
                  </a:lnTo>
                  <a:lnTo>
                    <a:pt x="286703" y="299085"/>
                  </a:lnTo>
                  <a:lnTo>
                    <a:pt x="280035" y="305753"/>
                  </a:lnTo>
                  <a:lnTo>
                    <a:pt x="277178" y="290513"/>
                  </a:lnTo>
                  <a:lnTo>
                    <a:pt x="269557" y="298133"/>
                  </a:lnTo>
                  <a:lnTo>
                    <a:pt x="276225" y="303848"/>
                  </a:lnTo>
                  <a:lnTo>
                    <a:pt x="267653" y="314325"/>
                  </a:lnTo>
                  <a:lnTo>
                    <a:pt x="280035" y="314325"/>
                  </a:lnTo>
                  <a:lnTo>
                    <a:pt x="286703" y="309563"/>
                  </a:lnTo>
                  <a:lnTo>
                    <a:pt x="287655" y="328613"/>
                  </a:lnTo>
                  <a:lnTo>
                    <a:pt x="278130" y="346710"/>
                  </a:lnTo>
                  <a:lnTo>
                    <a:pt x="269557" y="356235"/>
                  </a:lnTo>
                  <a:lnTo>
                    <a:pt x="268605" y="373380"/>
                  </a:lnTo>
                  <a:lnTo>
                    <a:pt x="259080" y="371475"/>
                  </a:lnTo>
                  <a:lnTo>
                    <a:pt x="257175" y="358140"/>
                  </a:lnTo>
                  <a:lnTo>
                    <a:pt x="265748" y="347663"/>
                  </a:lnTo>
                  <a:lnTo>
                    <a:pt x="258127" y="342900"/>
                  </a:lnTo>
                  <a:lnTo>
                    <a:pt x="250507" y="349568"/>
                  </a:lnTo>
                  <a:lnTo>
                    <a:pt x="243840" y="370523"/>
                  </a:lnTo>
                  <a:lnTo>
                    <a:pt x="236220" y="379095"/>
                  </a:lnTo>
                  <a:lnTo>
                    <a:pt x="235267" y="360045"/>
                  </a:lnTo>
                  <a:lnTo>
                    <a:pt x="242888" y="349568"/>
                  </a:lnTo>
                  <a:lnTo>
                    <a:pt x="240982" y="339090"/>
                  </a:lnTo>
                  <a:lnTo>
                    <a:pt x="229552" y="350520"/>
                  </a:lnTo>
                  <a:lnTo>
                    <a:pt x="230505" y="371475"/>
                  </a:lnTo>
                  <a:lnTo>
                    <a:pt x="224790" y="375285"/>
                  </a:lnTo>
                  <a:lnTo>
                    <a:pt x="204788" y="371475"/>
                  </a:lnTo>
                  <a:lnTo>
                    <a:pt x="192405" y="382905"/>
                  </a:lnTo>
                  <a:lnTo>
                    <a:pt x="213360" y="377190"/>
                  </a:lnTo>
                  <a:lnTo>
                    <a:pt x="211455" y="398145"/>
                  </a:lnTo>
                  <a:lnTo>
                    <a:pt x="220980" y="381000"/>
                  </a:lnTo>
                  <a:lnTo>
                    <a:pt x="224790" y="394335"/>
                  </a:lnTo>
                  <a:lnTo>
                    <a:pt x="229552" y="384810"/>
                  </a:lnTo>
                  <a:lnTo>
                    <a:pt x="236220" y="401955"/>
                  </a:lnTo>
                  <a:lnTo>
                    <a:pt x="242888" y="401955"/>
                  </a:lnTo>
                  <a:lnTo>
                    <a:pt x="249555" y="394335"/>
                  </a:lnTo>
                  <a:lnTo>
                    <a:pt x="255270" y="393383"/>
                  </a:lnTo>
                  <a:lnTo>
                    <a:pt x="274320" y="375285"/>
                  </a:lnTo>
                  <a:lnTo>
                    <a:pt x="276225" y="363855"/>
                  </a:lnTo>
                  <a:lnTo>
                    <a:pt x="283845" y="369570"/>
                  </a:lnTo>
                  <a:lnTo>
                    <a:pt x="286703" y="378143"/>
                  </a:lnTo>
                  <a:lnTo>
                    <a:pt x="293370" y="375285"/>
                  </a:lnTo>
                  <a:lnTo>
                    <a:pt x="294323" y="363855"/>
                  </a:lnTo>
                  <a:lnTo>
                    <a:pt x="306705" y="363855"/>
                  </a:lnTo>
                  <a:lnTo>
                    <a:pt x="308610" y="336233"/>
                  </a:lnTo>
                  <a:lnTo>
                    <a:pt x="307657" y="310515"/>
                  </a:lnTo>
                  <a:lnTo>
                    <a:pt x="316230" y="313373"/>
                  </a:lnTo>
                  <a:lnTo>
                    <a:pt x="309563" y="293370"/>
                  </a:lnTo>
                  <a:lnTo>
                    <a:pt x="322898" y="285750"/>
                  </a:lnTo>
                  <a:lnTo>
                    <a:pt x="324803" y="262890"/>
                  </a:lnTo>
                  <a:lnTo>
                    <a:pt x="346710" y="241935"/>
                  </a:lnTo>
                  <a:lnTo>
                    <a:pt x="356235" y="242888"/>
                  </a:lnTo>
                  <a:lnTo>
                    <a:pt x="359092" y="229553"/>
                  </a:lnTo>
                  <a:lnTo>
                    <a:pt x="347663" y="216218"/>
                  </a:lnTo>
                  <a:lnTo>
                    <a:pt x="346710" y="182880"/>
                  </a:lnTo>
                  <a:lnTo>
                    <a:pt x="339090" y="191453"/>
                  </a:lnTo>
                  <a:lnTo>
                    <a:pt x="345757" y="219075"/>
                  </a:lnTo>
                  <a:lnTo>
                    <a:pt x="340042" y="220028"/>
                  </a:lnTo>
                  <a:lnTo>
                    <a:pt x="334328" y="201930"/>
                  </a:lnTo>
                  <a:lnTo>
                    <a:pt x="328613" y="197168"/>
                  </a:lnTo>
                  <a:lnTo>
                    <a:pt x="331470" y="175260"/>
                  </a:lnTo>
                  <a:lnTo>
                    <a:pt x="348615" y="174308"/>
                  </a:lnTo>
                  <a:lnTo>
                    <a:pt x="351473" y="180975"/>
                  </a:lnTo>
                  <a:lnTo>
                    <a:pt x="354330" y="165735"/>
                  </a:lnTo>
                  <a:lnTo>
                    <a:pt x="339090" y="149543"/>
                  </a:lnTo>
                  <a:lnTo>
                    <a:pt x="333375" y="134303"/>
                  </a:lnTo>
                  <a:lnTo>
                    <a:pt x="331470" y="153353"/>
                  </a:lnTo>
                  <a:lnTo>
                    <a:pt x="340042" y="163830"/>
                  </a:lnTo>
                  <a:lnTo>
                    <a:pt x="333375" y="167640"/>
                  </a:lnTo>
                  <a:lnTo>
                    <a:pt x="323850" y="160020"/>
                  </a:lnTo>
                  <a:lnTo>
                    <a:pt x="306705" y="172403"/>
                  </a:lnTo>
                  <a:lnTo>
                    <a:pt x="320992" y="177165"/>
                  </a:lnTo>
                  <a:lnTo>
                    <a:pt x="322898" y="200025"/>
                  </a:lnTo>
                  <a:lnTo>
                    <a:pt x="320040" y="217170"/>
                  </a:lnTo>
                  <a:lnTo>
                    <a:pt x="328613" y="204788"/>
                  </a:lnTo>
                  <a:lnTo>
                    <a:pt x="341948" y="226695"/>
                  </a:lnTo>
                  <a:lnTo>
                    <a:pt x="338138" y="244793"/>
                  </a:lnTo>
                  <a:lnTo>
                    <a:pt x="323850" y="244793"/>
                  </a:lnTo>
                  <a:lnTo>
                    <a:pt x="323850" y="233363"/>
                  </a:lnTo>
                  <a:lnTo>
                    <a:pt x="309563" y="221933"/>
                  </a:lnTo>
                  <a:lnTo>
                    <a:pt x="314325" y="193358"/>
                  </a:lnTo>
                  <a:lnTo>
                    <a:pt x="296228" y="168593"/>
                  </a:lnTo>
                  <a:lnTo>
                    <a:pt x="321945" y="140018"/>
                  </a:lnTo>
                  <a:lnTo>
                    <a:pt x="327660" y="100965"/>
                  </a:lnTo>
                  <a:lnTo>
                    <a:pt x="336232" y="100965"/>
                  </a:lnTo>
                  <a:lnTo>
                    <a:pt x="349567" y="131445"/>
                  </a:lnTo>
                  <a:lnTo>
                    <a:pt x="349567" y="106680"/>
                  </a:lnTo>
                  <a:lnTo>
                    <a:pt x="360998" y="109538"/>
                  </a:lnTo>
                  <a:lnTo>
                    <a:pt x="360998" y="78105"/>
                  </a:lnTo>
                  <a:lnTo>
                    <a:pt x="352425" y="70485"/>
                  </a:lnTo>
                  <a:lnTo>
                    <a:pt x="340995" y="94298"/>
                  </a:lnTo>
                  <a:lnTo>
                    <a:pt x="331470" y="65723"/>
                  </a:lnTo>
                  <a:lnTo>
                    <a:pt x="343853" y="64770"/>
                  </a:lnTo>
                  <a:lnTo>
                    <a:pt x="329565" y="18098"/>
                  </a:lnTo>
                  <a:lnTo>
                    <a:pt x="347663" y="12383"/>
                  </a:lnTo>
                  <a:lnTo>
                    <a:pt x="589598" y="83820"/>
                  </a:lnTo>
                  <a:lnTo>
                    <a:pt x="891540" y="160020"/>
                  </a:lnTo>
                  <a:lnTo>
                    <a:pt x="1116330" y="212408"/>
                  </a:lnTo>
                  <a:close/>
                  <a:moveTo>
                    <a:pt x="245745" y="371475"/>
                  </a:moveTo>
                  <a:lnTo>
                    <a:pt x="250507" y="371475"/>
                  </a:lnTo>
                  <a:lnTo>
                    <a:pt x="251460" y="379095"/>
                  </a:lnTo>
                  <a:lnTo>
                    <a:pt x="246698" y="381953"/>
                  </a:lnTo>
                  <a:lnTo>
                    <a:pt x="247650" y="387668"/>
                  </a:lnTo>
                  <a:lnTo>
                    <a:pt x="240982" y="391478"/>
                  </a:lnTo>
                  <a:lnTo>
                    <a:pt x="239077" y="382905"/>
                  </a:lnTo>
                  <a:lnTo>
                    <a:pt x="243840" y="379095"/>
                  </a:lnTo>
                  <a:close/>
                  <a:moveTo>
                    <a:pt x="293370" y="330518"/>
                  </a:moveTo>
                  <a:lnTo>
                    <a:pt x="281940" y="348615"/>
                  </a:lnTo>
                  <a:lnTo>
                    <a:pt x="280988" y="356235"/>
                  </a:lnTo>
                  <a:lnTo>
                    <a:pt x="284798" y="358140"/>
                  </a:lnTo>
                  <a:lnTo>
                    <a:pt x="289560" y="352425"/>
                  </a:lnTo>
                  <a:lnTo>
                    <a:pt x="300038" y="353378"/>
                  </a:lnTo>
                  <a:close/>
                  <a:moveTo>
                    <a:pt x="289560" y="124777"/>
                  </a:moveTo>
                  <a:lnTo>
                    <a:pt x="294323" y="130493"/>
                  </a:lnTo>
                  <a:lnTo>
                    <a:pt x="306705" y="127635"/>
                  </a:lnTo>
                  <a:lnTo>
                    <a:pt x="308610" y="118110"/>
                  </a:lnTo>
                  <a:lnTo>
                    <a:pt x="320040" y="100965"/>
                  </a:lnTo>
                  <a:lnTo>
                    <a:pt x="310515" y="97155"/>
                  </a:lnTo>
                  <a:lnTo>
                    <a:pt x="303848" y="112395"/>
                  </a:lnTo>
                  <a:lnTo>
                    <a:pt x="302895" y="97155"/>
                  </a:lnTo>
                  <a:lnTo>
                    <a:pt x="292417" y="99060"/>
                  </a:lnTo>
                  <a:lnTo>
                    <a:pt x="285750" y="112395"/>
                  </a:lnTo>
                  <a:close/>
                  <a:moveTo>
                    <a:pt x="320040" y="72390"/>
                  </a:moveTo>
                  <a:lnTo>
                    <a:pt x="326707" y="86678"/>
                  </a:lnTo>
                  <a:lnTo>
                    <a:pt x="318135" y="88583"/>
                  </a:lnTo>
                  <a:lnTo>
                    <a:pt x="310515" y="92393"/>
                  </a:lnTo>
                  <a:lnTo>
                    <a:pt x="308610" y="69533"/>
                  </a:lnTo>
                  <a:close/>
                  <a:moveTo>
                    <a:pt x="294323" y="57150"/>
                  </a:moveTo>
                  <a:lnTo>
                    <a:pt x="283845" y="55245"/>
                  </a:lnTo>
                  <a:lnTo>
                    <a:pt x="288607" y="68580"/>
                  </a:lnTo>
                  <a:close/>
                  <a:moveTo>
                    <a:pt x="284798" y="80963"/>
                  </a:moveTo>
                  <a:lnTo>
                    <a:pt x="292417" y="84773"/>
                  </a:lnTo>
                  <a:lnTo>
                    <a:pt x="288607" y="95250"/>
                  </a:lnTo>
                  <a:lnTo>
                    <a:pt x="304800" y="90488"/>
                  </a:lnTo>
                  <a:lnTo>
                    <a:pt x="302895" y="69533"/>
                  </a:lnTo>
                  <a:lnTo>
                    <a:pt x="294323" y="67628"/>
                  </a:lnTo>
                  <a:close/>
                  <a:moveTo>
                    <a:pt x="259080" y="77153"/>
                  </a:moveTo>
                  <a:lnTo>
                    <a:pt x="261938" y="102870"/>
                  </a:lnTo>
                  <a:lnTo>
                    <a:pt x="277178" y="115252"/>
                  </a:lnTo>
                  <a:lnTo>
                    <a:pt x="282892" y="97155"/>
                  </a:lnTo>
                  <a:lnTo>
                    <a:pt x="272415" y="76200"/>
                  </a:lnTo>
                  <a:close/>
                  <a:moveTo>
                    <a:pt x="277178" y="66675"/>
                  </a:moveTo>
                  <a:lnTo>
                    <a:pt x="266700" y="57150"/>
                  </a:lnTo>
                  <a:lnTo>
                    <a:pt x="258127" y="58103"/>
                  </a:lnTo>
                  <a:lnTo>
                    <a:pt x="275273" y="72390"/>
                  </a:lnTo>
                  <a:close/>
                  <a:moveTo>
                    <a:pt x="307657" y="0"/>
                  </a:moveTo>
                  <a:lnTo>
                    <a:pt x="296228" y="0"/>
                  </a:lnTo>
                  <a:lnTo>
                    <a:pt x="296228" y="7620"/>
                  </a:lnTo>
                  <a:lnTo>
                    <a:pt x="307657" y="13335"/>
                  </a:lnTo>
                  <a:close/>
                  <a:moveTo>
                    <a:pt x="299085" y="309563"/>
                  </a:moveTo>
                  <a:lnTo>
                    <a:pt x="302895" y="283845"/>
                  </a:lnTo>
                  <a:lnTo>
                    <a:pt x="292417" y="283845"/>
                  </a:lnTo>
                  <a:lnTo>
                    <a:pt x="290513" y="301943"/>
                  </a:lnTo>
                  <a:close/>
                </a:path>
              </a:pathLst>
            </a:custGeom>
            <a:solidFill>
              <a:srgbClr val="D0D0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048" name="Freeform: Shape 2047">
              <a:extLst>
                <a:ext uri="{FF2B5EF4-FFF2-40B4-BE49-F238E27FC236}">
                  <a16:creationId xmlns:a16="http://schemas.microsoft.com/office/drawing/2014/main" id="{CB05CFC8-622B-0972-9DF8-B2CD2EF5E515}"/>
                </a:ext>
              </a:extLst>
            </p:cNvPr>
            <p:cNvSpPr/>
            <p:nvPr/>
          </p:nvSpPr>
          <p:spPr>
            <a:xfrm>
              <a:off x="8283892" y="2896552"/>
              <a:ext cx="752475" cy="743902"/>
            </a:xfrm>
            <a:custGeom>
              <a:avLst/>
              <a:gdLst>
                <a:gd name="connsiteX0" fmla="*/ 135255 w 752475"/>
                <a:gd name="connsiteY0" fmla="*/ 689610 h 743902"/>
                <a:gd name="connsiteX1" fmla="*/ 127635 w 752475"/>
                <a:gd name="connsiteY1" fmla="*/ 701040 h 743902"/>
                <a:gd name="connsiteX2" fmla="*/ 141922 w 752475"/>
                <a:gd name="connsiteY2" fmla="*/ 707707 h 743902"/>
                <a:gd name="connsiteX3" fmla="*/ 142875 w 752475"/>
                <a:gd name="connsiteY3" fmla="*/ 721995 h 743902"/>
                <a:gd name="connsiteX4" fmla="*/ 184785 w 752475"/>
                <a:gd name="connsiteY4" fmla="*/ 743903 h 743902"/>
                <a:gd name="connsiteX5" fmla="*/ 206693 w 752475"/>
                <a:gd name="connsiteY5" fmla="*/ 742950 h 743902"/>
                <a:gd name="connsiteX6" fmla="*/ 224790 w 752475"/>
                <a:gd name="connsiteY6" fmla="*/ 725805 h 743902"/>
                <a:gd name="connsiteX7" fmla="*/ 232410 w 752475"/>
                <a:gd name="connsiteY7" fmla="*/ 709613 h 743902"/>
                <a:gd name="connsiteX8" fmla="*/ 260985 w 752475"/>
                <a:gd name="connsiteY8" fmla="*/ 726757 h 743902"/>
                <a:gd name="connsiteX9" fmla="*/ 313372 w 752475"/>
                <a:gd name="connsiteY9" fmla="*/ 703897 h 743902"/>
                <a:gd name="connsiteX10" fmla="*/ 318135 w 752475"/>
                <a:gd name="connsiteY10" fmla="*/ 695325 h 743902"/>
                <a:gd name="connsiteX11" fmla="*/ 310515 w 752475"/>
                <a:gd name="connsiteY11" fmla="*/ 690563 h 743902"/>
                <a:gd name="connsiteX12" fmla="*/ 316230 w 752475"/>
                <a:gd name="connsiteY12" fmla="*/ 677228 h 743902"/>
                <a:gd name="connsiteX13" fmla="*/ 330518 w 752475"/>
                <a:gd name="connsiteY13" fmla="*/ 686753 h 743902"/>
                <a:gd name="connsiteX14" fmla="*/ 371475 w 752475"/>
                <a:gd name="connsiteY14" fmla="*/ 657225 h 743902"/>
                <a:gd name="connsiteX15" fmla="*/ 378143 w 752475"/>
                <a:gd name="connsiteY15" fmla="*/ 667703 h 743902"/>
                <a:gd name="connsiteX16" fmla="*/ 400050 w 752475"/>
                <a:gd name="connsiteY16" fmla="*/ 648653 h 743902"/>
                <a:gd name="connsiteX17" fmla="*/ 399097 w 752475"/>
                <a:gd name="connsiteY17" fmla="*/ 635317 h 743902"/>
                <a:gd name="connsiteX18" fmla="*/ 413385 w 752475"/>
                <a:gd name="connsiteY18" fmla="*/ 617220 h 743902"/>
                <a:gd name="connsiteX19" fmla="*/ 399097 w 752475"/>
                <a:gd name="connsiteY19" fmla="*/ 605790 h 743902"/>
                <a:gd name="connsiteX20" fmla="*/ 408622 w 752475"/>
                <a:gd name="connsiteY20" fmla="*/ 574357 h 743902"/>
                <a:gd name="connsiteX21" fmla="*/ 443865 w 752475"/>
                <a:gd name="connsiteY21" fmla="*/ 514350 h 743902"/>
                <a:gd name="connsiteX22" fmla="*/ 440055 w 752475"/>
                <a:gd name="connsiteY22" fmla="*/ 496253 h 743902"/>
                <a:gd name="connsiteX23" fmla="*/ 460057 w 752475"/>
                <a:gd name="connsiteY23" fmla="*/ 475297 h 743902"/>
                <a:gd name="connsiteX24" fmla="*/ 456247 w 752475"/>
                <a:gd name="connsiteY24" fmla="*/ 461010 h 743902"/>
                <a:gd name="connsiteX25" fmla="*/ 469582 w 752475"/>
                <a:gd name="connsiteY25" fmla="*/ 444817 h 743902"/>
                <a:gd name="connsiteX26" fmla="*/ 470535 w 752475"/>
                <a:gd name="connsiteY26" fmla="*/ 400050 h 743902"/>
                <a:gd name="connsiteX27" fmla="*/ 492443 w 752475"/>
                <a:gd name="connsiteY27" fmla="*/ 406717 h 743902"/>
                <a:gd name="connsiteX28" fmla="*/ 504825 w 752475"/>
                <a:gd name="connsiteY28" fmla="*/ 424815 h 743902"/>
                <a:gd name="connsiteX29" fmla="*/ 531495 w 752475"/>
                <a:gd name="connsiteY29" fmla="*/ 429578 h 743902"/>
                <a:gd name="connsiteX30" fmla="*/ 543877 w 752475"/>
                <a:gd name="connsiteY30" fmla="*/ 414338 h 743902"/>
                <a:gd name="connsiteX31" fmla="*/ 565785 w 752475"/>
                <a:gd name="connsiteY31" fmla="*/ 333375 h 743902"/>
                <a:gd name="connsiteX32" fmla="*/ 588645 w 752475"/>
                <a:gd name="connsiteY32" fmla="*/ 343853 h 743902"/>
                <a:gd name="connsiteX33" fmla="*/ 598170 w 752475"/>
                <a:gd name="connsiteY33" fmla="*/ 320040 h 743902"/>
                <a:gd name="connsiteX34" fmla="*/ 606743 w 752475"/>
                <a:gd name="connsiteY34" fmla="*/ 312420 h 743902"/>
                <a:gd name="connsiteX35" fmla="*/ 620077 w 752475"/>
                <a:gd name="connsiteY35" fmla="*/ 295275 h 743902"/>
                <a:gd name="connsiteX36" fmla="*/ 628650 w 752475"/>
                <a:gd name="connsiteY36" fmla="*/ 287655 h 743902"/>
                <a:gd name="connsiteX37" fmla="*/ 633413 w 752475"/>
                <a:gd name="connsiteY37" fmla="*/ 267652 h 743902"/>
                <a:gd name="connsiteX38" fmla="*/ 644843 w 752475"/>
                <a:gd name="connsiteY38" fmla="*/ 260032 h 743902"/>
                <a:gd name="connsiteX39" fmla="*/ 643890 w 752475"/>
                <a:gd name="connsiteY39" fmla="*/ 232410 h 743902"/>
                <a:gd name="connsiteX40" fmla="*/ 651510 w 752475"/>
                <a:gd name="connsiteY40" fmla="*/ 210502 h 743902"/>
                <a:gd name="connsiteX41" fmla="*/ 642938 w 752475"/>
                <a:gd name="connsiteY41" fmla="*/ 195263 h 743902"/>
                <a:gd name="connsiteX42" fmla="*/ 644843 w 752475"/>
                <a:gd name="connsiteY42" fmla="*/ 186690 h 743902"/>
                <a:gd name="connsiteX43" fmla="*/ 740093 w 752475"/>
                <a:gd name="connsiteY43" fmla="*/ 236220 h 743902"/>
                <a:gd name="connsiteX44" fmla="*/ 744855 w 752475"/>
                <a:gd name="connsiteY44" fmla="*/ 214313 h 743902"/>
                <a:gd name="connsiteX45" fmla="*/ 748665 w 752475"/>
                <a:gd name="connsiteY45" fmla="*/ 199072 h 743902"/>
                <a:gd name="connsiteX46" fmla="*/ 752475 w 752475"/>
                <a:gd name="connsiteY46" fmla="*/ 192405 h 743902"/>
                <a:gd name="connsiteX47" fmla="*/ 743902 w 752475"/>
                <a:gd name="connsiteY47" fmla="*/ 188595 h 743902"/>
                <a:gd name="connsiteX48" fmla="*/ 745807 w 752475"/>
                <a:gd name="connsiteY48" fmla="*/ 173355 h 743902"/>
                <a:gd name="connsiteX49" fmla="*/ 736282 w 752475"/>
                <a:gd name="connsiteY49" fmla="*/ 168592 h 743902"/>
                <a:gd name="connsiteX50" fmla="*/ 734377 w 752475"/>
                <a:gd name="connsiteY50" fmla="*/ 161925 h 743902"/>
                <a:gd name="connsiteX51" fmla="*/ 727710 w 752475"/>
                <a:gd name="connsiteY51" fmla="*/ 161925 h 743902"/>
                <a:gd name="connsiteX52" fmla="*/ 720090 w 752475"/>
                <a:gd name="connsiteY52" fmla="*/ 150495 h 743902"/>
                <a:gd name="connsiteX53" fmla="*/ 721995 w 752475"/>
                <a:gd name="connsiteY53" fmla="*/ 140970 h 743902"/>
                <a:gd name="connsiteX54" fmla="*/ 697230 w 752475"/>
                <a:gd name="connsiteY54" fmla="*/ 144780 h 743902"/>
                <a:gd name="connsiteX55" fmla="*/ 676275 w 752475"/>
                <a:gd name="connsiteY55" fmla="*/ 129540 h 743902"/>
                <a:gd name="connsiteX56" fmla="*/ 662940 w 752475"/>
                <a:gd name="connsiteY56" fmla="*/ 132397 h 743902"/>
                <a:gd name="connsiteX57" fmla="*/ 654368 w 752475"/>
                <a:gd name="connsiteY57" fmla="*/ 145732 h 743902"/>
                <a:gd name="connsiteX58" fmla="*/ 641985 w 752475"/>
                <a:gd name="connsiteY58" fmla="*/ 145732 h 743902"/>
                <a:gd name="connsiteX59" fmla="*/ 625793 w 752475"/>
                <a:gd name="connsiteY59" fmla="*/ 173355 h 743902"/>
                <a:gd name="connsiteX60" fmla="*/ 594360 w 752475"/>
                <a:gd name="connsiteY60" fmla="*/ 177165 h 743902"/>
                <a:gd name="connsiteX61" fmla="*/ 576263 w 752475"/>
                <a:gd name="connsiteY61" fmla="*/ 167640 h 743902"/>
                <a:gd name="connsiteX62" fmla="*/ 551497 w 752475"/>
                <a:gd name="connsiteY62" fmla="*/ 203835 h 743902"/>
                <a:gd name="connsiteX63" fmla="*/ 530543 w 752475"/>
                <a:gd name="connsiteY63" fmla="*/ 200977 h 743902"/>
                <a:gd name="connsiteX64" fmla="*/ 501015 w 752475"/>
                <a:gd name="connsiteY64" fmla="*/ 238125 h 743902"/>
                <a:gd name="connsiteX65" fmla="*/ 492443 w 752475"/>
                <a:gd name="connsiteY65" fmla="*/ 253365 h 743902"/>
                <a:gd name="connsiteX66" fmla="*/ 475297 w 752475"/>
                <a:gd name="connsiteY66" fmla="*/ 268605 h 743902"/>
                <a:gd name="connsiteX67" fmla="*/ 459105 w 752475"/>
                <a:gd name="connsiteY67" fmla="*/ 160020 h 743902"/>
                <a:gd name="connsiteX68" fmla="*/ 293370 w 752475"/>
                <a:gd name="connsiteY68" fmla="*/ 187642 h 743902"/>
                <a:gd name="connsiteX69" fmla="*/ 262890 w 752475"/>
                <a:gd name="connsiteY69" fmla="*/ 0 h 743902"/>
                <a:gd name="connsiteX70" fmla="*/ 241935 w 752475"/>
                <a:gd name="connsiteY70" fmla="*/ 11430 h 743902"/>
                <a:gd name="connsiteX71" fmla="*/ 255270 w 752475"/>
                <a:gd name="connsiteY71" fmla="*/ 31432 h 743902"/>
                <a:gd name="connsiteX72" fmla="*/ 254318 w 752475"/>
                <a:gd name="connsiteY72" fmla="*/ 52388 h 743902"/>
                <a:gd name="connsiteX73" fmla="*/ 260032 w 752475"/>
                <a:gd name="connsiteY73" fmla="*/ 71438 h 743902"/>
                <a:gd name="connsiteX74" fmla="*/ 249555 w 752475"/>
                <a:gd name="connsiteY74" fmla="*/ 103822 h 743902"/>
                <a:gd name="connsiteX75" fmla="*/ 248602 w 752475"/>
                <a:gd name="connsiteY75" fmla="*/ 155257 h 743902"/>
                <a:gd name="connsiteX76" fmla="*/ 239077 w 752475"/>
                <a:gd name="connsiteY76" fmla="*/ 189547 h 743902"/>
                <a:gd name="connsiteX77" fmla="*/ 243840 w 752475"/>
                <a:gd name="connsiteY77" fmla="*/ 200025 h 743902"/>
                <a:gd name="connsiteX78" fmla="*/ 240030 w 752475"/>
                <a:gd name="connsiteY78" fmla="*/ 220980 h 743902"/>
                <a:gd name="connsiteX79" fmla="*/ 229552 w 752475"/>
                <a:gd name="connsiteY79" fmla="*/ 225742 h 743902"/>
                <a:gd name="connsiteX80" fmla="*/ 210502 w 752475"/>
                <a:gd name="connsiteY80" fmla="*/ 257175 h 743902"/>
                <a:gd name="connsiteX81" fmla="*/ 193357 w 752475"/>
                <a:gd name="connsiteY81" fmla="*/ 276225 h 743902"/>
                <a:gd name="connsiteX82" fmla="*/ 187643 w 752475"/>
                <a:gd name="connsiteY82" fmla="*/ 276225 h 743902"/>
                <a:gd name="connsiteX83" fmla="*/ 170497 w 752475"/>
                <a:gd name="connsiteY83" fmla="*/ 292417 h 743902"/>
                <a:gd name="connsiteX84" fmla="*/ 158115 w 752475"/>
                <a:gd name="connsiteY84" fmla="*/ 280988 h 743902"/>
                <a:gd name="connsiteX85" fmla="*/ 143827 w 752475"/>
                <a:gd name="connsiteY85" fmla="*/ 298132 h 743902"/>
                <a:gd name="connsiteX86" fmla="*/ 140970 w 752475"/>
                <a:gd name="connsiteY86" fmla="*/ 309563 h 743902"/>
                <a:gd name="connsiteX87" fmla="*/ 128588 w 752475"/>
                <a:gd name="connsiteY87" fmla="*/ 309563 h 743902"/>
                <a:gd name="connsiteX88" fmla="*/ 116205 w 752475"/>
                <a:gd name="connsiteY88" fmla="*/ 330517 h 743902"/>
                <a:gd name="connsiteX89" fmla="*/ 117157 w 752475"/>
                <a:gd name="connsiteY89" fmla="*/ 350520 h 743902"/>
                <a:gd name="connsiteX90" fmla="*/ 107632 w 752475"/>
                <a:gd name="connsiteY90" fmla="*/ 355282 h 743902"/>
                <a:gd name="connsiteX91" fmla="*/ 120968 w 752475"/>
                <a:gd name="connsiteY91" fmla="*/ 365760 h 743902"/>
                <a:gd name="connsiteX92" fmla="*/ 120968 w 752475"/>
                <a:gd name="connsiteY92" fmla="*/ 383857 h 743902"/>
                <a:gd name="connsiteX93" fmla="*/ 111443 w 752475"/>
                <a:gd name="connsiteY93" fmla="*/ 385763 h 743902"/>
                <a:gd name="connsiteX94" fmla="*/ 104775 w 752475"/>
                <a:gd name="connsiteY94" fmla="*/ 393382 h 743902"/>
                <a:gd name="connsiteX95" fmla="*/ 95250 w 752475"/>
                <a:gd name="connsiteY95" fmla="*/ 398145 h 743902"/>
                <a:gd name="connsiteX96" fmla="*/ 89535 w 752475"/>
                <a:gd name="connsiteY96" fmla="*/ 378142 h 743902"/>
                <a:gd name="connsiteX97" fmla="*/ 74295 w 752475"/>
                <a:gd name="connsiteY97" fmla="*/ 373380 h 743902"/>
                <a:gd name="connsiteX98" fmla="*/ 64770 w 752475"/>
                <a:gd name="connsiteY98" fmla="*/ 395288 h 743902"/>
                <a:gd name="connsiteX99" fmla="*/ 61913 w 752475"/>
                <a:gd name="connsiteY99" fmla="*/ 416242 h 743902"/>
                <a:gd name="connsiteX100" fmla="*/ 51435 w 752475"/>
                <a:gd name="connsiteY100" fmla="*/ 428625 h 743902"/>
                <a:gd name="connsiteX101" fmla="*/ 63818 w 752475"/>
                <a:gd name="connsiteY101" fmla="*/ 462915 h 743902"/>
                <a:gd name="connsiteX102" fmla="*/ 49530 w 752475"/>
                <a:gd name="connsiteY102" fmla="*/ 470535 h 743902"/>
                <a:gd name="connsiteX103" fmla="*/ 45720 w 752475"/>
                <a:gd name="connsiteY103" fmla="*/ 503872 h 743902"/>
                <a:gd name="connsiteX104" fmla="*/ 31432 w 752475"/>
                <a:gd name="connsiteY104" fmla="*/ 503872 h 743902"/>
                <a:gd name="connsiteX105" fmla="*/ 952 w 752475"/>
                <a:gd name="connsiteY105" fmla="*/ 517207 h 743902"/>
                <a:gd name="connsiteX106" fmla="*/ 0 w 752475"/>
                <a:gd name="connsiteY106" fmla="*/ 527685 h 743902"/>
                <a:gd name="connsiteX107" fmla="*/ 5715 w 752475"/>
                <a:gd name="connsiteY107" fmla="*/ 537210 h 743902"/>
                <a:gd name="connsiteX108" fmla="*/ 0 w 752475"/>
                <a:gd name="connsiteY108" fmla="*/ 571500 h 743902"/>
                <a:gd name="connsiteX109" fmla="*/ 18097 w 752475"/>
                <a:gd name="connsiteY109" fmla="*/ 586740 h 743902"/>
                <a:gd name="connsiteX110" fmla="*/ 25718 w 752475"/>
                <a:gd name="connsiteY110" fmla="*/ 597217 h 743902"/>
                <a:gd name="connsiteX111" fmla="*/ 35243 w 752475"/>
                <a:gd name="connsiteY111" fmla="*/ 602932 h 743902"/>
                <a:gd name="connsiteX112" fmla="*/ 34290 w 752475"/>
                <a:gd name="connsiteY112" fmla="*/ 611505 h 743902"/>
                <a:gd name="connsiteX113" fmla="*/ 76200 w 752475"/>
                <a:gd name="connsiteY113" fmla="*/ 664845 h 743902"/>
                <a:gd name="connsiteX114" fmla="*/ 89535 w 752475"/>
                <a:gd name="connsiteY114" fmla="*/ 664845 h 743902"/>
                <a:gd name="connsiteX115" fmla="*/ 103822 w 752475"/>
                <a:gd name="connsiteY115" fmla="*/ 681990 h 743902"/>
                <a:gd name="connsiteX116" fmla="*/ 115252 w 752475"/>
                <a:gd name="connsiteY116" fmla="*/ 684847 h 743902"/>
                <a:gd name="connsiteX117" fmla="*/ 128588 w 752475"/>
                <a:gd name="connsiteY117" fmla="*/ 683895 h 743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</a:cxnLst>
              <a:rect l="l" t="t" r="r" b="b"/>
              <a:pathLst>
                <a:path w="752475" h="743902">
                  <a:moveTo>
                    <a:pt x="135255" y="689610"/>
                  </a:moveTo>
                  <a:lnTo>
                    <a:pt x="127635" y="701040"/>
                  </a:lnTo>
                  <a:lnTo>
                    <a:pt x="141922" y="707707"/>
                  </a:lnTo>
                  <a:lnTo>
                    <a:pt x="142875" y="721995"/>
                  </a:lnTo>
                  <a:lnTo>
                    <a:pt x="184785" y="743903"/>
                  </a:lnTo>
                  <a:lnTo>
                    <a:pt x="206693" y="742950"/>
                  </a:lnTo>
                  <a:lnTo>
                    <a:pt x="224790" y="725805"/>
                  </a:lnTo>
                  <a:lnTo>
                    <a:pt x="232410" y="709613"/>
                  </a:lnTo>
                  <a:lnTo>
                    <a:pt x="260985" y="726757"/>
                  </a:lnTo>
                  <a:lnTo>
                    <a:pt x="313372" y="703897"/>
                  </a:lnTo>
                  <a:lnTo>
                    <a:pt x="318135" y="695325"/>
                  </a:lnTo>
                  <a:lnTo>
                    <a:pt x="310515" y="690563"/>
                  </a:lnTo>
                  <a:lnTo>
                    <a:pt x="316230" y="677228"/>
                  </a:lnTo>
                  <a:lnTo>
                    <a:pt x="330518" y="686753"/>
                  </a:lnTo>
                  <a:lnTo>
                    <a:pt x="371475" y="657225"/>
                  </a:lnTo>
                  <a:lnTo>
                    <a:pt x="378143" y="667703"/>
                  </a:lnTo>
                  <a:lnTo>
                    <a:pt x="400050" y="648653"/>
                  </a:lnTo>
                  <a:lnTo>
                    <a:pt x="399097" y="635317"/>
                  </a:lnTo>
                  <a:lnTo>
                    <a:pt x="413385" y="617220"/>
                  </a:lnTo>
                  <a:lnTo>
                    <a:pt x="399097" y="605790"/>
                  </a:lnTo>
                  <a:lnTo>
                    <a:pt x="408622" y="574357"/>
                  </a:lnTo>
                  <a:lnTo>
                    <a:pt x="443865" y="514350"/>
                  </a:lnTo>
                  <a:lnTo>
                    <a:pt x="440055" y="496253"/>
                  </a:lnTo>
                  <a:lnTo>
                    <a:pt x="460057" y="475297"/>
                  </a:lnTo>
                  <a:lnTo>
                    <a:pt x="456247" y="461010"/>
                  </a:lnTo>
                  <a:lnTo>
                    <a:pt x="469582" y="444817"/>
                  </a:lnTo>
                  <a:lnTo>
                    <a:pt x="470535" y="400050"/>
                  </a:lnTo>
                  <a:lnTo>
                    <a:pt x="492443" y="406717"/>
                  </a:lnTo>
                  <a:lnTo>
                    <a:pt x="504825" y="424815"/>
                  </a:lnTo>
                  <a:lnTo>
                    <a:pt x="531495" y="429578"/>
                  </a:lnTo>
                  <a:lnTo>
                    <a:pt x="543877" y="414338"/>
                  </a:lnTo>
                  <a:lnTo>
                    <a:pt x="565785" y="333375"/>
                  </a:lnTo>
                  <a:lnTo>
                    <a:pt x="588645" y="343853"/>
                  </a:lnTo>
                  <a:lnTo>
                    <a:pt x="598170" y="320040"/>
                  </a:lnTo>
                  <a:lnTo>
                    <a:pt x="606743" y="312420"/>
                  </a:lnTo>
                  <a:lnTo>
                    <a:pt x="620077" y="295275"/>
                  </a:lnTo>
                  <a:lnTo>
                    <a:pt x="628650" y="287655"/>
                  </a:lnTo>
                  <a:lnTo>
                    <a:pt x="633413" y="267652"/>
                  </a:lnTo>
                  <a:lnTo>
                    <a:pt x="644843" y="260032"/>
                  </a:lnTo>
                  <a:lnTo>
                    <a:pt x="643890" y="232410"/>
                  </a:lnTo>
                  <a:lnTo>
                    <a:pt x="651510" y="210502"/>
                  </a:lnTo>
                  <a:lnTo>
                    <a:pt x="642938" y="195263"/>
                  </a:lnTo>
                  <a:lnTo>
                    <a:pt x="644843" y="186690"/>
                  </a:lnTo>
                  <a:lnTo>
                    <a:pt x="740093" y="236220"/>
                  </a:lnTo>
                  <a:lnTo>
                    <a:pt x="744855" y="214313"/>
                  </a:lnTo>
                  <a:lnTo>
                    <a:pt x="748665" y="199072"/>
                  </a:lnTo>
                  <a:lnTo>
                    <a:pt x="752475" y="192405"/>
                  </a:lnTo>
                  <a:lnTo>
                    <a:pt x="743902" y="188595"/>
                  </a:lnTo>
                  <a:lnTo>
                    <a:pt x="745807" y="173355"/>
                  </a:lnTo>
                  <a:lnTo>
                    <a:pt x="736282" y="168592"/>
                  </a:lnTo>
                  <a:lnTo>
                    <a:pt x="734377" y="161925"/>
                  </a:lnTo>
                  <a:lnTo>
                    <a:pt x="727710" y="161925"/>
                  </a:lnTo>
                  <a:lnTo>
                    <a:pt x="720090" y="150495"/>
                  </a:lnTo>
                  <a:lnTo>
                    <a:pt x="721995" y="140970"/>
                  </a:lnTo>
                  <a:lnTo>
                    <a:pt x="697230" y="144780"/>
                  </a:lnTo>
                  <a:lnTo>
                    <a:pt x="676275" y="129540"/>
                  </a:lnTo>
                  <a:lnTo>
                    <a:pt x="662940" y="132397"/>
                  </a:lnTo>
                  <a:lnTo>
                    <a:pt x="654368" y="145732"/>
                  </a:lnTo>
                  <a:lnTo>
                    <a:pt x="641985" y="145732"/>
                  </a:lnTo>
                  <a:lnTo>
                    <a:pt x="625793" y="173355"/>
                  </a:lnTo>
                  <a:lnTo>
                    <a:pt x="594360" y="177165"/>
                  </a:lnTo>
                  <a:lnTo>
                    <a:pt x="576263" y="167640"/>
                  </a:lnTo>
                  <a:lnTo>
                    <a:pt x="551497" y="203835"/>
                  </a:lnTo>
                  <a:lnTo>
                    <a:pt x="530543" y="200977"/>
                  </a:lnTo>
                  <a:lnTo>
                    <a:pt x="501015" y="238125"/>
                  </a:lnTo>
                  <a:lnTo>
                    <a:pt x="492443" y="253365"/>
                  </a:lnTo>
                  <a:lnTo>
                    <a:pt x="475297" y="268605"/>
                  </a:lnTo>
                  <a:lnTo>
                    <a:pt x="459105" y="160020"/>
                  </a:lnTo>
                  <a:lnTo>
                    <a:pt x="293370" y="187642"/>
                  </a:lnTo>
                  <a:lnTo>
                    <a:pt x="262890" y="0"/>
                  </a:lnTo>
                  <a:lnTo>
                    <a:pt x="241935" y="11430"/>
                  </a:lnTo>
                  <a:lnTo>
                    <a:pt x="255270" y="31432"/>
                  </a:lnTo>
                  <a:lnTo>
                    <a:pt x="254318" y="52388"/>
                  </a:lnTo>
                  <a:lnTo>
                    <a:pt x="260032" y="71438"/>
                  </a:lnTo>
                  <a:lnTo>
                    <a:pt x="249555" y="103822"/>
                  </a:lnTo>
                  <a:lnTo>
                    <a:pt x="248602" y="155257"/>
                  </a:lnTo>
                  <a:lnTo>
                    <a:pt x="239077" y="189547"/>
                  </a:lnTo>
                  <a:lnTo>
                    <a:pt x="243840" y="200025"/>
                  </a:lnTo>
                  <a:lnTo>
                    <a:pt x="240030" y="220980"/>
                  </a:lnTo>
                  <a:lnTo>
                    <a:pt x="229552" y="225742"/>
                  </a:lnTo>
                  <a:lnTo>
                    <a:pt x="210502" y="257175"/>
                  </a:lnTo>
                  <a:lnTo>
                    <a:pt x="193357" y="276225"/>
                  </a:lnTo>
                  <a:lnTo>
                    <a:pt x="187643" y="276225"/>
                  </a:lnTo>
                  <a:lnTo>
                    <a:pt x="170497" y="292417"/>
                  </a:lnTo>
                  <a:lnTo>
                    <a:pt x="158115" y="280988"/>
                  </a:lnTo>
                  <a:lnTo>
                    <a:pt x="143827" y="298132"/>
                  </a:lnTo>
                  <a:lnTo>
                    <a:pt x="140970" y="309563"/>
                  </a:lnTo>
                  <a:lnTo>
                    <a:pt x="128588" y="309563"/>
                  </a:lnTo>
                  <a:lnTo>
                    <a:pt x="116205" y="330517"/>
                  </a:lnTo>
                  <a:lnTo>
                    <a:pt x="117157" y="350520"/>
                  </a:lnTo>
                  <a:lnTo>
                    <a:pt x="107632" y="355282"/>
                  </a:lnTo>
                  <a:lnTo>
                    <a:pt x="120968" y="365760"/>
                  </a:lnTo>
                  <a:lnTo>
                    <a:pt x="120968" y="383857"/>
                  </a:lnTo>
                  <a:lnTo>
                    <a:pt x="111443" y="385763"/>
                  </a:lnTo>
                  <a:lnTo>
                    <a:pt x="104775" y="393382"/>
                  </a:lnTo>
                  <a:lnTo>
                    <a:pt x="95250" y="398145"/>
                  </a:lnTo>
                  <a:lnTo>
                    <a:pt x="89535" y="378142"/>
                  </a:lnTo>
                  <a:lnTo>
                    <a:pt x="74295" y="373380"/>
                  </a:lnTo>
                  <a:lnTo>
                    <a:pt x="64770" y="395288"/>
                  </a:lnTo>
                  <a:lnTo>
                    <a:pt x="61913" y="416242"/>
                  </a:lnTo>
                  <a:lnTo>
                    <a:pt x="51435" y="428625"/>
                  </a:lnTo>
                  <a:lnTo>
                    <a:pt x="63818" y="462915"/>
                  </a:lnTo>
                  <a:lnTo>
                    <a:pt x="49530" y="470535"/>
                  </a:lnTo>
                  <a:lnTo>
                    <a:pt x="45720" y="503872"/>
                  </a:lnTo>
                  <a:lnTo>
                    <a:pt x="31432" y="503872"/>
                  </a:lnTo>
                  <a:lnTo>
                    <a:pt x="952" y="517207"/>
                  </a:lnTo>
                  <a:lnTo>
                    <a:pt x="0" y="527685"/>
                  </a:lnTo>
                  <a:lnTo>
                    <a:pt x="5715" y="537210"/>
                  </a:lnTo>
                  <a:lnTo>
                    <a:pt x="0" y="571500"/>
                  </a:lnTo>
                  <a:lnTo>
                    <a:pt x="18097" y="586740"/>
                  </a:lnTo>
                  <a:lnTo>
                    <a:pt x="25718" y="597217"/>
                  </a:lnTo>
                  <a:lnTo>
                    <a:pt x="35243" y="602932"/>
                  </a:lnTo>
                  <a:lnTo>
                    <a:pt x="34290" y="611505"/>
                  </a:lnTo>
                  <a:lnTo>
                    <a:pt x="76200" y="664845"/>
                  </a:lnTo>
                  <a:lnTo>
                    <a:pt x="89535" y="664845"/>
                  </a:lnTo>
                  <a:lnTo>
                    <a:pt x="103822" y="681990"/>
                  </a:lnTo>
                  <a:lnTo>
                    <a:pt x="115252" y="684847"/>
                  </a:lnTo>
                  <a:lnTo>
                    <a:pt x="128588" y="683895"/>
                  </a:lnTo>
                  <a:close/>
                </a:path>
              </a:pathLst>
            </a:custGeom>
            <a:solidFill>
              <a:srgbClr val="D0D0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049" name="Freeform: Shape 2048">
              <a:extLst>
                <a:ext uri="{FF2B5EF4-FFF2-40B4-BE49-F238E27FC236}">
                  <a16:creationId xmlns:a16="http://schemas.microsoft.com/office/drawing/2014/main" id="{DC98E9C9-B4BB-F01D-CD77-2FD7D161D195}"/>
                </a:ext>
              </a:extLst>
            </p:cNvPr>
            <p:cNvSpPr/>
            <p:nvPr/>
          </p:nvSpPr>
          <p:spPr>
            <a:xfrm>
              <a:off x="6563676" y="1714500"/>
              <a:ext cx="898207" cy="962025"/>
            </a:xfrm>
            <a:custGeom>
              <a:avLst/>
              <a:gdLst>
                <a:gd name="connsiteX0" fmla="*/ 784860 w 898207"/>
                <a:gd name="connsiteY0" fmla="*/ 409575 h 962025"/>
                <a:gd name="connsiteX1" fmla="*/ 757238 w 898207"/>
                <a:gd name="connsiteY1" fmla="*/ 417195 h 962025"/>
                <a:gd name="connsiteX2" fmla="*/ 759143 w 898207"/>
                <a:gd name="connsiteY2" fmla="*/ 439103 h 962025"/>
                <a:gd name="connsiteX3" fmla="*/ 736283 w 898207"/>
                <a:gd name="connsiteY3" fmla="*/ 471488 h 962025"/>
                <a:gd name="connsiteX4" fmla="*/ 734378 w 898207"/>
                <a:gd name="connsiteY4" fmla="*/ 501015 h 962025"/>
                <a:gd name="connsiteX5" fmla="*/ 740093 w 898207"/>
                <a:gd name="connsiteY5" fmla="*/ 507683 h 962025"/>
                <a:gd name="connsiteX6" fmla="*/ 747713 w 898207"/>
                <a:gd name="connsiteY6" fmla="*/ 501015 h 962025"/>
                <a:gd name="connsiteX7" fmla="*/ 752475 w 898207"/>
                <a:gd name="connsiteY7" fmla="*/ 485775 h 962025"/>
                <a:gd name="connsiteX8" fmla="*/ 771525 w 898207"/>
                <a:gd name="connsiteY8" fmla="*/ 475297 h 962025"/>
                <a:gd name="connsiteX9" fmla="*/ 786765 w 898207"/>
                <a:gd name="connsiteY9" fmla="*/ 435292 h 962025"/>
                <a:gd name="connsiteX10" fmla="*/ 820103 w 898207"/>
                <a:gd name="connsiteY10" fmla="*/ 424815 h 962025"/>
                <a:gd name="connsiteX11" fmla="*/ 827723 w 898207"/>
                <a:gd name="connsiteY11" fmla="*/ 393383 h 962025"/>
                <a:gd name="connsiteX12" fmla="*/ 834390 w 898207"/>
                <a:gd name="connsiteY12" fmla="*/ 384810 h 962025"/>
                <a:gd name="connsiteX13" fmla="*/ 838200 w 898207"/>
                <a:gd name="connsiteY13" fmla="*/ 364808 h 962025"/>
                <a:gd name="connsiteX14" fmla="*/ 855345 w 898207"/>
                <a:gd name="connsiteY14" fmla="*/ 354330 h 962025"/>
                <a:gd name="connsiteX15" fmla="*/ 855345 w 898207"/>
                <a:gd name="connsiteY15" fmla="*/ 340042 h 962025"/>
                <a:gd name="connsiteX16" fmla="*/ 864870 w 898207"/>
                <a:gd name="connsiteY16" fmla="*/ 331470 h 962025"/>
                <a:gd name="connsiteX17" fmla="*/ 878205 w 898207"/>
                <a:gd name="connsiteY17" fmla="*/ 332422 h 962025"/>
                <a:gd name="connsiteX18" fmla="*/ 878205 w 898207"/>
                <a:gd name="connsiteY18" fmla="*/ 351472 h 962025"/>
                <a:gd name="connsiteX19" fmla="*/ 868680 w 898207"/>
                <a:gd name="connsiteY19" fmla="*/ 352425 h 962025"/>
                <a:gd name="connsiteX20" fmla="*/ 873443 w 898207"/>
                <a:gd name="connsiteY20" fmla="*/ 363855 h 962025"/>
                <a:gd name="connsiteX21" fmla="*/ 866775 w 898207"/>
                <a:gd name="connsiteY21" fmla="*/ 384810 h 962025"/>
                <a:gd name="connsiteX22" fmla="*/ 861060 w 898207"/>
                <a:gd name="connsiteY22" fmla="*/ 385763 h 962025"/>
                <a:gd name="connsiteX23" fmla="*/ 849630 w 898207"/>
                <a:gd name="connsiteY23" fmla="*/ 428625 h 962025"/>
                <a:gd name="connsiteX24" fmla="*/ 842963 w 898207"/>
                <a:gd name="connsiteY24" fmla="*/ 433388 h 962025"/>
                <a:gd name="connsiteX25" fmla="*/ 816293 w 898207"/>
                <a:gd name="connsiteY25" fmla="*/ 501967 h 962025"/>
                <a:gd name="connsiteX26" fmla="*/ 813435 w 898207"/>
                <a:gd name="connsiteY26" fmla="*/ 541972 h 962025"/>
                <a:gd name="connsiteX27" fmla="*/ 819150 w 898207"/>
                <a:gd name="connsiteY27" fmla="*/ 561022 h 962025"/>
                <a:gd name="connsiteX28" fmla="*/ 820103 w 898207"/>
                <a:gd name="connsiteY28" fmla="*/ 573405 h 962025"/>
                <a:gd name="connsiteX29" fmla="*/ 797243 w 898207"/>
                <a:gd name="connsiteY29" fmla="*/ 591503 h 962025"/>
                <a:gd name="connsiteX30" fmla="*/ 800100 w 898207"/>
                <a:gd name="connsiteY30" fmla="*/ 609600 h 962025"/>
                <a:gd name="connsiteX31" fmla="*/ 791528 w 898207"/>
                <a:gd name="connsiteY31" fmla="*/ 639128 h 962025"/>
                <a:gd name="connsiteX32" fmla="*/ 794385 w 898207"/>
                <a:gd name="connsiteY32" fmla="*/ 654368 h 962025"/>
                <a:gd name="connsiteX33" fmla="*/ 798195 w 898207"/>
                <a:gd name="connsiteY33" fmla="*/ 689610 h 962025"/>
                <a:gd name="connsiteX34" fmla="*/ 787718 w 898207"/>
                <a:gd name="connsiteY34" fmla="*/ 728663 h 962025"/>
                <a:gd name="connsiteX35" fmla="*/ 773430 w 898207"/>
                <a:gd name="connsiteY35" fmla="*/ 776288 h 962025"/>
                <a:gd name="connsiteX36" fmla="*/ 782955 w 898207"/>
                <a:gd name="connsiteY36" fmla="*/ 790575 h 962025"/>
                <a:gd name="connsiteX37" fmla="*/ 780098 w 898207"/>
                <a:gd name="connsiteY37" fmla="*/ 793433 h 962025"/>
                <a:gd name="connsiteX38" fmla="*/ 787718 w 898207"/>
                <a:gd name="connsiteY38" fmla="*/ 809625 h 962025"/>
                <a:gd name="connsiteX39" fmla="*/ 782955 w 898207"/>
                <a:gd name="connsiteY39" fmla="*/ 820103 h 962025"/>
                <a:gd name="connsiteX40" fmla="*/ 793433 w 898207"/>
                <a:gd name="connsiteY40" fmla="*/ 828675 h 962025"/>
                <a:gd name="connsiteX41" fmla="*/ 793433 w 898207"/>
                <a:gd name="connsiteY41" fmla="*/ 854393 h 962025"/>
                <a:gd name="connsiteX42" fmla="*/ 805815 w 898207"/>
                <a:gd name="connsiteY42" fmla="*/ 868680 h 962025"/>
                <a:gd name="connsiteX43" fmla="*/ 802005 w 898207"/>
                <a:gd name="connsiteY43" fmla="*/ 897255 h 962025"/>
                <a:gd name="connsiteX44" fmla="*/ 804863 w 898207"/>
                <a:gd name="connsiteY44" fmla="*/ 935355 h 962025"/>
                <a:gd name="connsiteX45" fmla="*/ 367665 w 898207"/>
                <a:gd name="connsiteY45" fmla="*/ 962025 h 962025"/>
                <a:gd name="connsiteX46" fmla="*/ 355283 w 898207"/>
                <a:gd name="connsiteY46" fmla="*/ 935355 h 962025"/>
                <a:gd name="connsiteX47" fmla="*/ 323850 w 898207"/>
                <a:gd name="connsiteY47" fmla="*/ 928688 h 962025"/>
                <a:gd name="connsiteX48" fmla="*/ 298133 w 898207"/>
                <a:gd name="connsiteY48" fmla="*/ 914400 h 962025"/>
                <a:gd name="connsiteX49" fmla="*/ 279083 w 898207"/>
                <a:gd name="connsiteY49" fmla="*/ 862013 h 962025"/>
                <a:gd name="connsiteX50" fmla="*/ 280035 w 898207"/>
                <a:gd name="connsiteY50" fmla="*/ 838200 h 962025"/>
                <a:gd name="connsiteX51" fmla="*/ 295275 w 898207"/>
                <a:gd name="connsiteY51" fmla="*/ 806768 h 962025"/>
                <a:gd name="connsiteX52" fmla="*/ 289560 w 898207"/>
                <a:gd name="connsiteY52" fmla="*/ 796290 h 962025"/>
                <a:gd name="connsiteX53" fmla="*/ 269558 w 898207"/>
                <a:gd name="connsiteY53" fmla="*/ 781050 h 962025"/>
                <a:gd name="connsiteX54" fmla="*/ 267653 w 898207"/>
                <a:gd name="connsiteY54" fmla="*/ 756285 h 962025"/>
                <a:gd name="connsiteX55" fmla="*/ 257175 w 898207"/>
                <a:gd name="connsiteY55" fmla="*/ 713422 h 962025"/>
                <a:gd name="connsiteX56" fmla="*/ 255270 w 898207"/>
                <a:gd name="connsiteY56" fmla="*/ 684847 h 962025"/>
                <a:gd name="connsiteX57" fmla="*/ 234315 w 898207"/>
                <a:gd name="connsiteY57" fmla="*/ 656272 h 962025"/>
                <a:gd name="connsiteX58" fmla="*/ 207645 w 898207"/>
                <a:gd name="connsiteY58" fmla="*/ 649605 h 962025"/>
                <a:gd name="connsiteX59" fmla="*/ 158115 w 898207"/>
                <a:gd name="connsiteY59" fmla="*/ 615315 h 962025"/>
                <a:gd name="connsiteX60" fmla="*/ 152400 w 898207"/>
                <a:gd name="connsiteY60" fmla="*/ 583883 h 962025"/>
                <a:gd name="connsiteX61" fmla="*/ 92393 w 898207"/>
                <a:gd name="connsiteY61" fmla="*/ 554355 h 962025"/>
                <a:gd name="connsiteX62" fmla="*/ 90488 w 898207"/>
                <a:gd name="connsiteY62" fmla="*/ 541972 h 962025"/>
                <a:gd name="connsiteX63" fmla="*/ 59055 w 898207"/>
                <a:gd name="connsiteY63" fmla="*/ 541972 h 962025"/>
                <a:gd name="connsiteX64" fmla="*/ 38100 w 898207"/>
                <a:gd name="connsiteY64" fmla="*/ 517208 h 962025"/>
                <a:gd name="connsiteX65" fmla="*/ 19050 w 898207"/>
                <a:gd name="connsiteY65" fmla="*/ 504825 h 962025"/>
                <a:gd name="connsiteX66" fmla="*/ 25718 w 898207"/>
                <a:gd name="connsiteY66" fmla="*/ 456247 h 962025"/>
                <a:gd name="connsiteX67" fmla="*/ 17145 w 898207"/>
                <a:gd name="connsiteY67" fmla="*/ 441008 h 962025"/>
                <a:gd name="connsiteX68" fmla="*/ 21908 w 898207"/>
                <a:gd name="connsiteY68" fmla="*/ 389572 h 962025"/>
                <a:gd name="connsiteX69" fmla="*/ 31433 w 898207"/>
                <a:gd name="connsiteY69" fmla="*/ 372428 h 962025"/>
                <a:gd name="connsiteX70" fmla="*/ 28575 w 898207"/>
                <a:gd name="connsiteY70" fmla="*/ 346710 h 962025"/>
                <a:gd name="connsiteX71" fmla="*/ 17145 w 898207"/>
                <a:gd name="connsiteY71" fmla="*/ 334328 h 962025"/>
                <a:gd name="connsiteX72" fmla="*/ 0 w 898207"/>
                <a:gd name="connsiteY72" fmla="*/ 331470 h 962025"/>
                <a:gd name="connsiteX73" fmla="*/ 0 w 898207"/>
                <a:gd name="connsiteY73" fmla="*/ 315278 h 962025"/>
                <a:gd name="connsiteX74" fmla="*/ 26670 w 898207"/>
                <a:gd name="connsiteY74" fmla="*/ 260033 h 962025"/>
                <a:gd name="connsiteX75" fmla="*/ 82868 w 898207"/>
                <a:gd name="connsiteY75" fmla="*/ 222885 h 962025"/>
                <a:gd name="connsiteX76" fmla="*/ 79058 w 898207"/>
                <a:gd name="connsiteY76" fmla="*/ 99060 h 962025"/>
                <a:gd name="connsiteX77" fmla="*/ 87630 w 898207"/>
                <a:gd name="connsiteY77" fmla="*/ 102870 h 962025"/>
                <a:gd name="connsiteX78" fmla="*/ 93345 w 898207"/>
                <a:gd name="connsiteY78" fmla="*/ 98108 h 962025"/>
                <a:gd name="connsiteX79" fmla="*/ 94298 w 898207"/>
                <a:gd name="connsiteY79" fmla="*/ 87630 h 962025"/>
                <a:gd name="connsiteX80" fmla="*/ 102870 w 898207"/>
                <a:gd name="connsiteY80" fmla="*/ 81915 h 962025"/>
                <a:gd name="connsiteX81" fmla="*/ 116205 w 898207"/>
                <a:gd name="connsiteY81" fmla="*/ 93345 h 962025"/>
                <a:gd name="connsiteX82" fmla="*/ 122873 w 898207"/>
                <a:gd name="connsiteY82" fmla="*/ 92392 h 962025"/>
                <a:gd name="connsiteX83" fmla="*/ 147638 w 898207"/>
                <a:gd name="connsiteY83" fmla="*/ 92392 h 962025"/>
                <a:gd name="connsiteX84" fmla="*/ 212408 w 898207"/>
                <a:gd name="connsiteY84" fmla="*/ 67627 h 962025"/>
                <a:gd name="connsiteX85" fmla="*/ 215265 w 898207"/>
                <a:gd name="connsiteY85" fmla="*/ 58102 h 962025"/>
                <a:gd name="connsiteX86" fmla="*/ 226695 w 898207"/>
                <a:gd name="connsiteY86" fmla="*/ 58102 h 962025"/>
                <a:gd name="connsiteX87" fmla="*/ 233363 w 898207"/>
                <a:gd name="connsiteY87" fmla="*/ 46673 h 962025"/>
                <a:gd name="connsiteX88" fmla="*/ 237173 w 898207"/>
                <a:gd name="connsiteY88" fmla="*/ 54292 h 962025"/>
                <a:gd name="connsiteX89" fmla="*/ 254318 w 898207"/>
                <a:gd name="connsiteY89" fmla="*/ 45720 h 962025"/>
                <a:gd name="connsiteX90" fmla="*/ 271463 w 898207"/>
                <a:gd name="connsiteY90" fmla="*/ 29527 h 962025"/>
                <a:gd name="connsiteX91" fmla="*/ 274320 w 898207"/>
                <a:gd name="connsiteY91" fmla="*/ 34290 h 962025"/>
                <a:gd name="connsiteX92" fmla="*/ 283845 w 898207"/>
                <a:gd name="connsiteY92" fmla="*/ 24765 h 962025"/>
                <a:gd name="connsiteX93" fmla="*/ 304800 w 898207"/>
                <a:gd name="connsiteY93" fmla="*/ 40005 h 962025"/>
                <a:gd name="connsiteX94" fmla="*/ 297180 w 898207"/>
                <a:gd name="connsiteY94" fmla="*/ 55245 h 962025"/>
                <a:gd name="connsiteX95" fmla="*/ 285750 w 898207"/>
                <a:gd name="connsiteY95" fmla="*/ 68580 h 962025"/>
                <a:gd name="connsiteX96" fmla="*/ 290513 w 898207"/>
                <a:gd name="connsiteY96" fmla="*/ 82867 h 962025"/>
                <a:gd name="connsiteX97" fmla="*/ 277178 w 898207"/>
                <a:gd name="connsiteY97" fmla="*/ 98108 h 962025"/>
                <a:gd name="connsiteX98" fmla="*/ 280988 w 898207"/>
                <a:gd name="connsiteY98" fmla="*/ 106680 h 962025"/>
                <a:gd name="connsiteX99" fmla="*/ 302895 w 898207"/>
                <a:gd name="connsiteY99" fmla="*/ 96202 h 962025"/>
                <a:gd name="connsiteX100" fmla="*/ 302895 w 898207"/>
                <a:gd name="connsiteY100" fmla="*/ 82867 h 962025"/>
                <a:gd name="connsiteX101" fmla="*/ 334328 w 898207"/>
                <a:gd name="connsiteY101" fmla="*/ 100965 h 962025"/>
                <a:gd name="connsiteX102" fmla="*/ 352425 w 898207"/>
                <a:gd name="connsiteY102" fmla="*/ 107633 h 962025"/>
                <a:gd name="connsiteX103" fmla="*/ 370523 w 898207"/>
                <a:gd name="connsiteY103" fmla="*/ 114300 h 962025"/>
                <a:gd name="connsiteX104" fmla="*/ 399098 w 898207"/>
                <a:gd name="connsiteY104" fmla="*/ 150495 h 962025"/>
                <a:gd name="connsiteX105" fmla="*/ 561023 w 898207"/>
                <a:gd name="connsiteY105" fmla="*/ 186690 h 962025"/>
                <a:gd name="connsiteX106" fmla="*/ 574358 w 898207"/>
                <a:gd name="connsiteY106" fmla="*/ 196215 h 962025"/>
                <a:gd name="connsiteX107" fmla="*/ 612458 w 898207"/>
                <a:gd name="connsiteY107" fmla="*/ 203835 h 962025"/>
                <a:gd name="connsiteX108" fmla="*/ 619125 w 898207"/>
                <a:gd name="connsiteY108" fmla="*/ 208598 h 962025"/>
                <a:gd name="connsiteX109" fmla="*/ 645795 w 898207"/>
                <a:gd name="connsiteY109" fmla="*/ 206692 h 962025"/>
                <a:gd name="connsiteX110" fmla="*/ 692468 w 898207"/>
                <a:gd name="connsiteY110" fmla="*/ 214313 h 962025"/>
                <a:gd name="connsiteX111" fmla="*/ 705803 w 898207"/>
                <a:gd name="connsiteY111" fmla="*/ 228600 h 962025"/>
                <a:gd name="connsiteX112" fmla="*/ 696278 w 898207"/>
                <a:gd name="connsiteY112" fmla="*/ 238125 h 962025"/>
                <a:gd name="connsiteX113" fmla="*/ 703898 w 898207"/>
                <a:gd name="connsiteY113" fmla="*/ 245745 h 962025"/>
                <a:gd name="connsiteX114" fmla="*/ 740093 w 898207"/>
                <a:gd name="connsiteY114" fmla="*/ 252413 h 962025"/>
                <a:gd name="connsiteX115" fmla="*/ 751523 w 898207"/>
                <a:gd name="connsiteY115" fmla="*/ 263842 h 962025"/>
                <a:gd name="connsiteX116" fmla="*/ 752475 w 898207"/>
                <a:gd name="connsiteY116" fmla="*/ 305753 h 962025"/>
                <a:gd name="connsiteX117" fmla="*/ 740093 w 898207"/>
                <a:gd name="connsiteY117" fmla="*/ 332422 h 962025"/>
                <a:gd name="connsiteX118" fmla="*/ 759143 w 898207"/>
                <a:gd name="connsiteY118" fmla="*/ 333375 h 962025"/>
                <a:gd name="connsiteX119" fmla="*/ 768668 w 898207"/>
                <a:gd name="connsiteY119" fmla="*/ 325755 h 962025"/>
                <a:gd name="connsiteX120" fmla="*/ 777240 w 898207"/>
                <a:gd name="connsiteY120" fmla="*/ 333375 h 962025"/>
                <a:gd name="connsiteX121" fmla="*/ 766763 w 898207"/>
                <a:gd name="connsiteY121" fmla="*/ 362903 h 962025"/>
                <a:gd name="connsiteX122" fmla="*/ 776288 w 898207"/>
                <a:gd name="connsiteY122" fmla="*/ 378142 h 962025"/>
                <a:gd name="connsiteX123" fmla="*/ 787718 w 898207"/>
                <a:gd name="connsiteY123" fmla="*/ 381000 h 962025"/>
                <a:gd name="connsiteX124" fmla="*/ 313373 w 898207"/>
                <a:gd name="connsiteY124" fmla="*/ 54292 h 962025"/>
                <a:gd name="connsiteX125" fmla="*/ 308610 w 898207"/>
                <a:gd name="connsiteY125" fmla="*/ 55245 h 962025"/>
                <a:gd name="connsiteX126" fmla="*/ 294323 w 898207"/>
                <a:gd name="connsiteY126" fmla="*/ 70485 h 962025"/>
                <a:gd name="connsiteX127" fmla="*/ 296228 w 898207"/>
                <a:gd name="connsiteY127" fmla="*/ 75248 h 962025"/>
                <a:gd name="connsiteX128" fmla="*/ 310515 w 898207"/>
                <a:gd name="connsiteY128" fmla="*/ 69533 h 962025"/>
                <a:gd name="connsiteX129" fmla="*/ 310515 w 898207"/>
                <a:gd name="connsiteY129" fmla="*/ 63817 h 962025"/>
                <a:gd name="connsiteX130" fmla="*/ 319088 w 898207"/>
                <a:gd name="connsiteY130" fmla="*/ 60960 h 962025"/>
                <a:gd name="connsiteX131" fmla="*/ 328613 w 898207"/>
                <a:gd name="connsiteY131" fmla="*/ 43815 h 962025"/>
                <a:gd name="connsiteX132" fmla="*/ 319088 w 898207"/>
                <a:gd name="connsiteY132" fmla="*/ 46673 h 962025"/>
                <a:gd name="connsiteX133" fmla="*/ 317183 w 898207"/>
                <a:gd name="connsiteY133" fmla="*/ 53340 h 962025"/>
                <a:gd name="connsiteX134" fmla="*/ 325755 w 898207"/>
                <a:gd name="connsiteY134" fmla="*/ 52388 h 962025"/>
                <a:gd name="connsiteX135" fmla="*/ 316230 w 898207"/>
                <a:gd name="connsiteY135" fmla="*/ 28575 h 962025"/>
                <a:gd name="connsiteX136" fmla="*/ 314325 w 898207"/>
                <a:gd name="connsiteY136" fmla="*/ 37148 h 962025"/>
                <a:gd name="connsiteX137" fmla="*/ 330518 w 898207"/>
                <a:gd name="connsiteY137" fmla="*/ 37148 h 962025"/>
                <a:gd name="connsiteX138" fmla="*/ 336233 w 898207"/>
                <a:gd name="connsiteY138" fmla="*/ 33338 h 962025"/>
                <a:gd name="connsiteX139" fmla="*/ 337185 w 898207"/>
                <a:gd name="connsiteY139" fmla="*/ 23813 h 962025"/>
                <a:gd name="connsiteX140" fmla="*/ 342900 w 898207"/>
                <a:gd name="connsiteY140" fmla="*/ 0 h 962025"/>
                <a:gd name="connsiteX141" fmla="*/ 340043 w 898207"/>
                <a:gd name="connsiteY141" fmla="*/ 18098 h 962025"/>
                <a:gd name="connsiteX142" fmla="*/ 351473 w 898207"/>
                <a:gd name="connsiteY142" fmla="*/ 13335 h 962025"/>
                <a:gd name="connsiteX143" fmla="*/ 352425 w 898207"/>
                <a:gd name="connsiteY143" fmla="*/ 0 h 962025"/>
                <a:gd name="connsiteX144" fmla="*/ 898208 w 898207"/>
                <a:gd name="connsiteY144" fmla="*/ 303847 h 962025"/>
                <a:gd name="connsiteX145" fmla="*/ 879158 w 898207"/>
                <a:gd name="connsiteY145" fmla="*/ 306705 h 962025"/>
                <a:gd name="connsiteX146" fmla="*/ 875348 w 898207"/>
                <a:gd name="connsiteY146" fmla="*/ 319088 h 962025"/>
                <a:gd name="connsiteX147" fmla="*/ 887730 w 898207"/>
                <a:gd name="connsiteY147" fmla="*/ 335280 h 962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</a:cxnLst>
              <a:rect l="l" t="t" r="r" b="b"/>
              <a:pathLst>
                <a:path w="898207" h="962025">
                  <a:moveTo>
                    <a:pt x="784860" y="409575"/>
                  </a:moveTo>
                  <a:lnTo>
                    <a:pt x="757238" y="417195"/>
                  </a:lnTo>
                  <a:lnTo>
                    <a:pt x="759143" y="439103"/>
                  </a:lnTo>
                  <a:lnTo>
                    <a:pt x="736283" y="471488"/>
                  </a:lnTo>
                  <a:lnTo>
                    <a:pt x="734378" y="501015"/>
                  </a:lnTo>
                  <a:lnTo>
                    <a:pt x="740093" y="507683"/>
                  </a:lnTo>
                  <a:lnTo>
                    <a:pt x="747713" y="501015"/>
                  </a:lnTo>
                  <a:lnTo>
                    <a:pt x="752475" y="485775"/>
                  </a:lnTo>
                  <a:lnTo>
                    <a:pt x="771525" y="475297"/>
                  </a:lnTo>
                  <a:lnTo>
                    <a:pt x="786765" y="435292"/>
                  </a:lnTo>
                  <a:lnTo>
                    <a:pt x="820103" y="424815"/>
                  </a:lnTo>
                  <a:lnTo>
                    <a:pt x="827723" y="393383"/>
                  </a:lnTo>
                  <a:lnTo>
                    <a:pt x="834390" y="384810"/>
                  </a:lnTo>
                  <a:lnTo>
                    <a:pt x="838200" y="364808"/>
                  </a:lnTo>
                  <a:lnTo>
                    <a:pt x="855345" y="354330"/>
                  </a:lnTo>
                  <a:lnTo>
                    <a:pt x="855345" y="340042"/>
                  </a:lnTo>
                  <a:lnTo>
                    <a:pt x="864870" y="331470"/>
                  </a:lnTo>
                  <a:lnTo>
                    <a:pt x="878205" y="332422"/>
                  </a:lnTo>
                  <a:lnTo>
                    <a:pt x="878205" y="351472"/>
                  </a:lnTo>
                  <a:lnTo>
                    <a:pt x="868680" y="352425"/>
                  </a:lnTo>
                  <a:lnTo>
                    <a:pt x="873443" y="363855"/>
                  </a:lnTo>
                  <a:lnTo>
                    <a:pt x="866775" y="384810"/>
                  </a:lnTo>
                  <a:lnTo>
                    <a:pt x="861060" y="385763"/>
                  </a:lnTo>
                  <a:lnTo>
                    <a:pt x="849630" y="428625"/>
                  </a:lnTo>
                  <a:lnTo>
                    <a:pt x="842963" y="433388"/>
                  </a:lnTo>
                  <a:lnTo>
                    <a:pt x="816293" y="501967"/>
                  </a:lnTo>
                  <a:lnTo>
                    <a:pt x="813435" y="541972"/>
                  </a:lnTo>
                  <a:lnTo>
                    <a:pt x="819150" y="561022"/>
                  </a:lnTo>
                  <a:lnTo>
                    <a:pt x="820103" y="573405"/>
                  </a:lnTo>
                  <a:lnTo>
                    <a:pt x="797243" y="591503"/>
                  </a:lnTo>
                  <a:lnTo>
                    <a:pt x="800100" y="609600"/>
                  </a:lnTo>
                  <a:lnTo>
                    <a:pt x="791528" y="639128"/>
                  </a:lnTo>
                  <a:lnTo>
                    <a:pt x="794385" y="654368"/>
                  </a:lnTo>
                  <a:lnTo>
                    <a:pt x="798195" y="689610"/>
                  </a:lnTo>
                  <a:lnTo>
                    <a:pt x="787718" y="728663"/>
                  </a:lnTo>
                  <a:lnTo>
                    <a:pt x="773430" y="776288"/>
                  </a:lnTo>
                  <a:lnTo>
                    <a:pt x="782955" y="790575"/>
                  </a:lnTo>
                  <a:lnTo>
                    <a:pt x="780098" y="793433"/>
                  </a:lnTo>
                  <a:lnTo>
                    <a:pt x="787718" y="809625"/>
                  </a:lnTo>
                  <a:lnTo>
                    <a:pt x="782955" y="820103"/>
                  </a:lnTo>
                  <a:lnTo>
                    <a:pt x="793433" y="828675"/>
                  </a:lnTo>
                  <a:lnTo>
                    <a:pt x="793433" y="854393"/>
                  </a:lnTo>
                  <a:lnTo>
                    <a:pt x="805815" y="868680"/>
                  </a:lnTo>
                  <a:lnTo>
                    <a:pt x="802005" y="897255"/>
                  </a:lnTo>
                  <a:lnTo>
                    <a:pt x="804863" y="935355"/>
                  </a:lnTo>
                  <a:lnTo>
                    <a:pt x="367665" y="962025"/>
                  </a:lnTo>
                  <a:lnTo>
                    <a:pt x="355283" y="935355"/>
                  </a:lnTo>
                  <a:lnTo>
                    <a:pt x="323850" y="928688"/>
                  </a:lnTo>
                  <a:lnTo>
                    <a:pt x="298133" y="914400"/>
                  </a:lnTo>
                  <a:lnTo>
                    <a:pt x="279083" y="862013"/>
                  </a:lnTo>
                  <a:lnTo>
                    <a:pt x="280035" y="838200"/>
                  </a:lnTo>
                  <a:lnTo>
                    <a:pt x="295275" y="806768"/>
                  </a:lnTo>
                  <a:lnTo>
                    <a:pt x="289560" y="796290"/>
                  </a:lnTo>
                  <a:lnTo>
                    <a:pt x="269558" y="781050"/>
                  </a:lnTo>
                  <a:lnTo>
                    <a:pt x="267653" y="756285"/>
                  </a:lnTo>
                  <a:lnTo>
                    <a:pt x="257175" y="713422"/>
                  </a:lnTo>
                  <a:lnTo>
                    <a:pt x="255270" y="684847"/>
                  </a:lnTo>
                  <a:lnTo>
                    <a:pt x="234315" y="656272"/>
                  </a:lnTo>
                  <a:lnTo>
                    <a:pt x="207645" y="649605"/>
                  </a:lnTo>
                  <a:lnTo>
                    <a:pt x="158115" y="615315"/>
                  </a:lnTo>
                  <a:lnTo>
                    <a:pt x="152400" y="583883"/>
                  </a:lnTo>
                  <a:lnTo>
                    <a:pt x="92393" y="554355"/>
                  </a:lnTo>
                  <a:lnTo>
                    <a:pt x="90488" y="541972"/>
                  </a:lnTo>
                  <a:lnTo>
                    <a:pt x="59055" y="541972"/>
                  </a:lnTo>
                  <a:lnTo>
                    <a:pt x="38100" y="517208"/>
                  </a:lnTo>
                  <a:lnTo>
                    <a:pt x="19050" y="504825"/>
                  </a:lnTo>
                  <a:lnTo>
                    <a:pt x="25718" y="456247"/>
                  </a:lnTo>
                  <a:lnTo>
                    <a:pt x="17145" y="441008"/>
                  </a:lnTo>
                  <a:lnTo>
                    <a:pt x="21908" y="389572"/>
                  </a:lnTo>
                  <a:lnTo>
                    <a:pt x="31433" y="372428"/>
                  </a:lnTo>
                  <a:lnTo>
                    <a:pt x="28575" y="346710"/>
                  </a:lnTo>
                  <a:lnTo>
                    <a:pt x="17145" y="334328"/>
                  </a:lnTo>
                  <a:lnTo>
                    <a:pt x="0" y="331470"/>
                  </a:lnTo>
                  <a:lnTo>
                    <a:pt x="0" y="315278"/>
                  </a:lnTo>
                  <a:lnTo>
                    <a:pt x="26670" y="260033"/>
                  </a:lnTo>
                  <a:lnTo>
                    <a:pt x="82868" y="222885"/>
                  </a:lnTo>
                  <a:lnTo>
                    <a:pt x="79058" y="99060"/>
                  </a:lnTo>
                  <a:lnTo>
                    <a:pt x="87630" y="102870"/>
                  </a:lnTo>
                  <a:lnTo>
                    <a:pt x="93345" y="98108"/>
                  </a:lnTo>
                  <a:lnTo>
                    <a:pt x="94298" y="87630"/>
                  </a:lnTo>
                  <a:lnTo>
                    <a:pt x="102870" y="81915"/>
                  </a:lnTo>
                  <a:lnTo>
                    <a:pt x="116205" y="93345"/>
                  </a:lnTo>
                  <a:lnTo>
                    <a:pt x="122873" y="92392"/>
                  </a:lnTo>
                  <a:lnTo>
                    <a:pt x="147638" y="92392"/>
                  </a:lnTo>
                  <a:lnTo>
                    <a:pt x="212408" y="67627"/>
                  </a:lnTo>
                  <a:lnTo>
                    <a:pt x="215265" y="58102"/>
                  </a:lnTo>
                  <a:lnTo>
                    <a:pt x="226695" y="58102"/>
                  </a:lnTo>
                  <a:lnTo>
                    <a:pt x="233363" y="46673"/>
                  </a:lnTo>
                  <a:lnTo>
                    <a:pt x="237173" y="54292"/>
                  </a:lnTo>
                  <a:lnTo>
                    <a:pt x="254318" y="45720"/>
                  </a:lnTo>
                  <a:lnTo>
                    <a:pt x="271463" y="29527"/>
                  </a:lnTo>
                  <a:lnTo>
                    <a:pt x="274320" y="34290"/>
                  </a:lnTo>
                  <a:lnTo>
                    <a:pt x="283845" y="24765"/>
                  </a:lnTo>
                  <a:lnTo>
                    <a:pt x="304800" y="40005"/>
                  </a:lnTo>
                  <a:lnTo>
                    <a:pt x="297180" y="55245"/>
                  </a:lnTo>
                  <a:lnTo>
                    <a:pt x="285750" y="68580"/>
                  </a:lnTo>
                  <a:lnTo>
                    <a:pt x="290513" y="82867"/>
                  </a:lnTo>
                  <a:lnTo>
                    <a:pt x="277178" y="98108"/>
                  </a:lnTo>
                  <a:lnTo>
                    <a:pt x="280988" y="106680"/>
                  </a:lnTo>
                  <a:lnTo>
                    <a:pt x="302895" y="96202"/>
                  </a:lnTo>
                  <a:lnTo>
                    <a:pt x="302895" y="82867"/>
                  </a:lnTo>
                  <a:lnTo>
                    <a:pt x="334328" y="100965"/>
                  </a:lnTo>
                  <a:lnTo>
                    <a:pt x="352425" y="107633"/>
                  </a:lnTo>
                  <a:lnTo>
                    <a:pt x="370523" y="114300"/>
                  </a:lnTo>
                  <a:lnTo>
                    <a:pt x="399098" y="150495"/>
                  </a:lnTo>
                  <a:lnTo>
                    <a:pt x="561023" y="186690"/>
                  </a:lnTo>
                  <a:lnTo>
                    <a:pt x="574358" y="196215"/>
                  </a:lnTo>
                  <a:lnTo>
                    <a:pt x="612458" y="203835"/>
                  </a:lnTo>
                  <a:lnTo>
                    <a:pt x="619125" y="208598"/>
                  </a:lnTo>
                  <a:lnTo>
                    <a:pt x="645795" y="206692"/>
                  </a:lnTo>
                  <a:lnTo>
                    <a:pt x="692468" y="214313"/>
                  </a:lnTo>
                  <a:lnTo>
                    <a:pt x="705803" y="228600"/>
                  </a:lnTo>
                  <a:lnTo>
                    <a:pt x="696278" y="238125"/>
                  </a:lnTo>
                  <a:lnTo>
                    <a:pt x="703898" y="245745"/>
                  </a:lnTo>
                  <a:lnTo>
                    <a:pt x="740093" y="252413"/>
                  </a:lnTo>
                  <a:lnTo>
                    <a:pt x="751523" y="263842"/>
                  </a:lnTo>
                  <a:lnTo>
                    <a:pt x="752475" y="305753"/>
                  </a:lnTo>
                  <a:lnTo>
                    <a:pt x="740093" y="332422"/>
                  </a:lnTo>
                  <a:lnTo>
                    <a:pt x="759143" y="333375"/>
                  </a:lnTo>
                  <a:lnTo>
                    <a:pt x="768668" y="325755"/>
                  </a:lnTo>
                  <a:lnTo>
                    <a:pt x="777240" y="333375"/>
                  </a:lnTo>
                  <a:lnTo>
                    <a:pt x="766763" y="362903"/>
                  </a:lnTo>
                  <a:lnTo>
                    <a:pt x="776288" y="378142"/>
                  </a:lnTo>
                  <a:lnTo>
                    <a:pt x="787718" y="381000"/>
                  </a:lnTo>
                  <a:close/>
                  <a:moveTo>
                    <a:pt x="313373" y="54292"/>
                  </a:moveTo>
                  <a:lnTo>
                    <a:pt x="308610" y="55245"/>
                  </a:lnTo>
                  <a:lnTo>
                    <a:pt x="294323" y="70485"/>
                  </a:lnTo>
                  <a:lnTo>
                    <a:pt x="296228" y="75248"/>
                  </a:lnTo>
                  <a:lnTo>
                    <a:pt x="310515" y="69533"/>
                  </a:lnTo>
                  <a:lnTo>
                    <a:pt x="310515" y="63817"/>
                  </a:lnTo>
                  <a:lnTo>
                    <a:pt x="319088" y="60960"/>
                  </a:lnTo>
                  <a:close/>
                  <a:moveTo>
                    <a:pt x="328613" y="43815"/>
                  </a:moveTo>
                  <a:lnTo>
                    <a:pt x="319088" y="46673"/>
                  </a:lnTo>
                  <a:lnTo>
                    <a:pt x="317183" y="53340"/>
                  </a:lnTo>
                  <a:lnTo>
                    <a:pt x="325755" y="52388"/>
                  </a:lnTo>
                  <a:close/>
                  <a:moveTo>
                    <a:pt x="316230" y="28575"/>
                  </a:moveTo>
                  <a:lnTo>
                    <a:pt x="314325" y="37148"/>
                  </a:lnTo>
                  <a:lnTo>
                    <a:pt x="330518" y="37148"/>
                  </a:lnTo>
                  <a:lnTo>
                    <a:pt x="336233" y="33338"/>
                  </a:lnTo>
                  <a:lnTo>
                    <a:pt x="337185" y="23813"/>
                  </a:lnTo>
                  <a:close/>
                  <a:moveTo>
                    <a:pt x="342900" y="0"/>
                  </a:moveTo>
                  <a:lnTo>
                    <a:pt x="340043" y="18098"/>
                  </a:lnTo>
                  <a:lnTo>
                    <a:pt x="351473" y="13335"/>
                  </a:lnTo>
                  <a:lnTo>
                    <a:pt x="352425" y="0"/>
                  </a:lnTo>
                  <a:close/>
                  <a:moveTo>
                    <a:pt x="898208" y="303847"/>
                  </a:moveTo>
                  <a:lnTo>
                    <a:pt x="879158" y="306705"/>
                  </a:lnTo>
                  <a:lnTo>
                    <a:pt x="875348" y="319088"/>
                  </a:lnTo>
                  <a:lnTo>
                    <a:pt x="887730" y="335280"/>
                  </a:lnTo>
                  <a:close/>
                </a:path>
              </a:pathLst>
            </a:custGeom>
            <a:solidFill>
              <a:srgbClr val="D0D0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051" name="Freeform: Shape 2050">
              <a:extLst>
                <a:ext uri="{FF2B5EF4-FFF2-40B4-BE49-F238E27FC236}">
                  <a16:creationId xmlns:a16="http://schemas.microsoft.com/office/drawing/2014/main" id="{D3384798-3749-6132-867C-7B4D1351AA39}"/>
                </a:ext>
              </a:extLst>
            </p:cNvPr>
            <p:cNvSpPr/>
            <p:nvPr/>
          </p:nvSpPr>
          <p:spPr>
            <a:xfrm>
              <a:off x="3749991" y="1995487"/>
              <a:ext cx="1163002" cy="964882"/>
            </a:xfrm>
            <a:custGeom>
              <a:avLst/>
              <a:gdLst>
                <a:gd name="connsiteX0" fmla="*/ 1163002 w 1163002"/>
                <a:gd name="connsiteY0" fmla="*/ 125730 h 964882"/>
                <a:gd name="connsiteX1" fmla="*/ 677227 w 1163002"/>
                <a:gd name="connsiteY1" fmla="*/ 75247 h 964882"/>
                <a:gd name="connsiteX2" fmla="*/ 131445 w 1163002"/>
                <a:gd name="connsiteY2" fmla="*/ 0 h 964882"/>
                <a:gd name="connsiteX3" fmla="*/ 112395 w 1163002"/>
                <a:gd name="connsiteY3" fmla="*/ 101917 h 964882"/>
                <a:gd name="connsiteX4" fmla="*/ 31433 w 1163002"/>
                <a:gd name="connsiteY4" fmla="*/ 623888 h 964882"/>
                <a:gd name="connsiteX5" fmla="*/ 0 w 1163002"/>
                <a:gd name="connsiteY5" fmla="*/ 832485 h 964882"/>
                <a:gd name="connsiteX6" fmla="*/ 305752 w 1163002"/>
                <a:gd name="connsiteY6" fmla="*/ 878205 h 964882"/>
                <a:gd name="connsiteX7" fmla="*/ 733425 w 1163002"/>
                <a:gd name="connsiteY7" fmla="*/ 932497 h 964882"/>
                <a:gd name="connsiteX8" fmla="*/ 1090613 w 1163002"/>
                <a:gd name="connsiteY8" fmla="*/ 964883 h 964882"/>
                <a:gd name="connsiteX9" fmla="*/ 1125855 w 1163002"/>
                <a:gd name="connsiteY9" fmla="*/ 543878 h 964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63002" h="964882">
                  <a:moveTo>
                    <a:pt x="1163002" y="125730"/>
                  </a:moveTo>
                  <a:lnTo>
                    <a:pt x="677227" y="75247"/>
                  </a:lnTo>
                  <a:lnTo>
                    <a:pt x="131445" y="0"/>
                  </a:lnTo>
                  <a:lnTo>
                    <a:pt x="112395" y="101917"/>
                  </a:lnTo>
                  <a:lnTo>
                    <a:pt x="31433" y="623888"/>
                  </a:lnTo>
                  <a:lnTo>
                    <a:pt x="0" y="832485"/>
                  </a:lnTo>
                  <a:lnTo>
                    <a:pt x="305752" y="878205"/>
                  </a:lnTo>
                  <a:lnTo>
                    <a:pt x="733425" y="932497"/>
                  </a:lnTo>
                  <a:lnTo>
                    <a:pt x="1090613" y="964883"/>
                  </a:lnTo>
                  <a:lnTo>
                    <a:pt x="1125855" y="543878"/>
                  </a:lnTo>
                  <a:close/>
                </a:path>
              </a:pathLst>
            </a:custGeom>
            <a:solidFill>
              <a:srgbClr val="D0D0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052" name="Freeform: Shape 2051">
              <a:extLst>
                <a:ext uri="{FF2B5EF4-FFF2-40B4-BE49-F238E27FC236}">
                  <a16:creationId xmlns:a16="http://schemas.microsoft.com/office/drawing/2014/main" id="{11428BF9-FC35-1303-2D73-8D73FE25F0F1}"/>
                </a:ext>
              </a:extLst>
            </p:cNvPr>
            <p:cNvSpPr/>
            <p:nvPr/>
          </p:nvSpPr>
          <p:spPr>
            <a:xfrm>
              <a:off x="9147809" y="3135629"/>
              <a:ext cx="34289" cy="41910"/>
            </a:xfrm>
            <a:custGeom>
              <a:avLst/>
              <a:gdLst>
                <a:gd name="connsiteX0" fmla="*/ 34290 w 34289"/>
                <a:gd name="connsiteY0" fmla="*/ 17145 h 41910"/>
                <a:gd name="connsiteX1" fmla="*/ 9525 w 34289"/>
                <a:gd name="connsiteY1" fmla="*/ 0 h 41910"/>
                <a:gd name="connsiteX2" fmla="*/ 0 w 34289"/>
                <a:gd name="connsiteY2" fmla="*/ 16192 h 41910"/>
                <a:gd name="connsiteX3" fmla="*/ 4763 w 34289"/>
                <a:gd name="connsiteY3" fmla="*/ 20003 h 41910"/>
                <a:gd name="connsiteX4" fmla="*/ 8572 w 34289"/>
                <a:gd name="connsiteY4" fmla="*/ 20955 h 41910"/>
                <a:gd name="connsiteX5" fmla="*/ 14288 w 34289"/>
                <a:gd name="connsiteY5" fmla="*/ 25717 h 41910"/>
                <a:gd name="connsiteX6" fmla="*/ 17145 w 34289"/>
                <a:gd name="connsiteY6" fmla="*/ 32385 h 41910"/>
                <a:gd name="connsiteX7" fmla="*/ 16192 w 34289"/>
                <a:gd name="connsiteY7" fmla="*/ 37148 h 41910"/>
                <a:gd name="connsiteX8" fmla="*/ 18097 w 34289"/>
                <a:gd name="connsiteY8" fmla="*/ 41910 h 41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4289" h="41910">
                  <a:moveTo>
                    <a:pt x="34290" y="17145"/>
                  </a:moveTo>
                  <a:lnTo>
                    <a:pt x="9525" y="0"/>
                  </a:lnTo>
                  <a:lnTo>
                    <a:pt x="0" y="16192"/>
                  </a:lnTo>
                  <a:lnTo>
                    <a:pt x="4763" y="20003"/>
                  </a:lnTo>
                  <a:lnTo>
                    <a:pt x="8572" y="20955"/>
                  </a:lnTo>
                  <a:lnTo>
                    <a:pt x="14288" y="25717"/>
                  </a:lnTo>
                  <a:lnTo>
                    <a:pt x="17145" y="32385"/>
                  </a:lnTo>
                  <a:lnTo>
                    <a:pt x="16192" y="37148"/>
                  </a:lnTo>
                  <a:lnTo>
                    <a:pt x="18097" y="41910"/>
                  </a:lnTo>
                  <a:close/>
                </a:path>
              </a:pathLst>
            </a:custGeom>
            <a:solidFill>
              <a:srgbClr val="D0D0D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</p:grpSp>
      <p:grpSp>
        <p:nvGrpSpPr>
          <p:cNvPr id="2058" name="Graphic 13">
            <a:extLst>
              <a:ext uri="{FF2B5EF4-FFF2-40B4-BE49-F238E27FC236}">
                <a16:creationId xmlns:a16="http://schemas.microsoft.com/office/drawing/2014/main" id="{EB20CF7A-4EEA-FE7C-FCB6-288BA4C7CA84}"/>
              </a:ext>
            </a:extLst>
          </p:cNvPr>
          <p:cNvGrpSpPr/>
          <p:nvPr/>
        </p:nvGrpSpPr>
        <p:grpSpPr>
          <a:xfrm>
            <a:off x="1261344" y="856536"/>
            <a:ext cx="6120764" cy="3288268"/>
            <a:chOff x="1793556" y="1014412"/>
            <a:chExt cx="8161019" cy="4384357"/>
          </a:xfrm>
          <a:noFill/>
        </p:grpSpPr>
        <p:sp>
          <p:nvSpPr>
            <p:cNvPr id="2059" name="Freeform: Shape 2058">
              <a:extLst>
                <a:ext uri="{FF2B5EF4-FFF2-40B4-BE49-F238E27FC236}">
                  <a16:creationId xmlns:a16="http://schemas.microsoft.com/office/drawing/2014/main" id="{5510A865-B9B4-26A2-8D1C-92DCEBA3A4CD}"/>
                </a:ext>
              </a:extLst>
            </p:cNvPr>
            <p:cNvSpPr/>
            <p:nvPr/>
          </p:nvSpPr>
          <p:spPr>
            <a:xfrm>
              <a:off x="7608569" y="5013959"/>
              <a:ext cx="469582" cy="196215"/>
            </a:xfrm>
            <a:custGeom>
              <a:avLst/>
              <a:gdLst>
                <a:gd name="connsiteX0" fmla="*/ 469582 w 469582"/>
                <a:gd name="connsiteY0" fmla="*/ 0 h 196215"/>
                <a:gd name="connsiteX1" fmla="*/ 4763 w 469582"/>
                <a:gd name="connsiteY1" fmla="*/ 48578 h 196215"/>
                <a:gd name="connsiteX2" fmla="*/ 0 w 469582"/>
                <a:gd name="connsiteY2" fmla="*/ 76200 h 196215"/>
                <a:gd name="connsiteX3" fmla="*/ 23813 w 469582"/>
                <a:gd name="connsiteY3" fmla="*/ 102870 h 196215"/>
                <a:gd name="connsiteX4" fmla="*/ 40005 w 469582"/>
                <a:gd name="connsiteY4" fmla="*/ 109538 h 196215"/>
                <a:gd name="connsiteX5" fmla="*/ 48578 w 469582"/>
                <a:gd name="connsiteY5" fmla="*/ 120968 h 196215"/>
                <a:gd name="connsiteX6" fmla="*/ 44768 w 469582"/>
                <a:gd name="connsiteY6" fmla="*/ 190500 h 196215"/>
                <a:gd name="connsiteX7" fmla="*/ 34290 w 469582"/>
                <a:gd name="connsiteY7" fmla="*/ 196215 h 196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69582" h="196215">
                  <a:moveTo>
                    <a:pt x="469582" y="0"/>
                  </a:moveTo>
                  <a:lnTo>
                    <a:pt x="4763" y="48578"/>
                  </a:lnTo>
                  <a:lnTo>
                    <a:pt x="0" y="76200"/>
                  </a:lnTo>
                  <a:lnTo>
                    <a:pt x="23813" y="102870"/>
                  </a:lnTo>
                  <a:lnTo>
                    <a:pt x="40005" y="109538"/>
                  </a:lnTo>
                  <a:lnTo>
                    <a:pt x="48578" y="120968"/>
                  </a:lnTo>
                  <a:lnTo>
                    <a:pt x="44768" y="190500"/>
                  </a:lnTo>
                  <a:lnTo>
                    <a:pt x="34290" y="196215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060" name="Freeform: Shape 2059">
              <a:extLst>
                <a:ext uri="{FF2B5EF4-FFF2-40B4-BE49-F238E27FC236}">
                  <a16:creationId xmlns:a16="http://schemas.microsoft.com/office/drawing/2014/main" id="{05F1E791-A216-EE38-2439-33A9A93AAE39}"/>
                </a:ext>
              </a:extLst>
            </p:cNvPr>
            <p:cNvSpPr/>
            <p:nvPr/>
          </p:nvSpPr>
          <p:spPr>
            <a:xfrm>
              <a:off x="7878126" y="4191952"/>
              <a:ext cx="200025" cy="822007"/>
            </a:xfrm>
            <a:custGeom>
              <a:avLst/>
              <a:gdLst>
                <a:gd name="connsiteX0" fmla="*/ 0 w 200025"/>
                <a:gd name="connsiteY0" fmla="*/ 0 h 822007"/>
                <a:gd name="connsiteX1" fmla="*/ 122873 w 200025"/>
                <a:gd name="connsiteY1" fmla="*/ 436245 h 822007"/>
                <a:gd name="connsiteX2" fmla="*/ 150495 w 200025"/>
                <a:gd name="connsiteY2" fmla="*/ 494347 h 822007"/>
                <a:gd name="connsiteX3" fmla="*/ 167640 w 200025"/>
                <a:gd name="connsiteY3" fmla="*/ 512445 h 822007"/>
                <a:gd name="connsiteX4" fmla="*/ 167640 w 200025"/>
                <a:gd name="connsiteY4" fmla="*/ 542925 h 822007"/>
                <a:gd name="connsiteX5" fmla="*/ 183833 w 200025"/>
                <a:gd name="connsiteY5" fmla="*/ 552450 h 822007"/>
                <a:gd name="connsiteX6" fmla="*/ 185738 w 200025"/>
                <a:gd name="connsiteY6" fmla="*/ 562928 h 822007"/>
                <a:gd name="connsiteX7" fmla="*/ 164783 w 200025"/>
                <a:gd name="connsiteY7" fmla="*/ 599122 h 822007"/>
                <a:gd name="connsiteX8" fmla="*/ 161925 w 200025"/>
                <a:gd name="connsiteY8" fmla="*/ 634365 h 822007"/>
                <a:gd name="connsiteX9" fmla="*/ 157163 w 200025"/>
                <a:gd name="connsiteY9" fmla="*/ 659130 h 822007"/>
                <a:gd name="connsiteX10" fmla="*/ 180023 w 200025"/>
                <a:gd name="connsiteY10" fmla="*/ 713422 h 822007"/>
                <a:gd name="connsiteX11" fmla="*/ 174308 w 200025"/>
                <a:gd name="connsiteY11" fmla="*/ 773430 h 822007"/>
                <a:gd name="connsiteX12" fmla="*/ 179070 w 200025"/>
                <a:gd name="connsiteY12" fmla="*/ 786765 h 822007"/>
                <a:gd name="connsiteX13" fmla="*/ 193358 w 200025"/>
                <a:gd name="connsiteY13" fmla="*/ 801053 h 822007"/>
                <a:gd name="connsiteX14" fmla="*/ 200025 w 200025"/>
                <a:gd name="connsiteY14" fmla="*/ 822007 h 8220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0025" h="822007">
                  <a:moveTo>
                    <a:pt x="0" y="0"/>
                  </a:moveTo>
                  <a:lnTo>
                    <a:pt x="122873" y="436245"/>
                  </a:lnTo>
                  <a:lnTo>
                    <a:pt x="150495" y="494347"/>
                  </a:lnTo>
                  <a:lnTo>
                    <a:pt x="167640" y="512445"/>
                  </a:lnTo>
                  <a:lnTo>
                    <a:pt x="167640" y="542925"/>
                  </a:lnTo>
                  <a:lnTo>
                    <a:pt x="183833" y="552450"/>
                  </a:lnTo>
                  <a:lnTo>
                    <a:pt x="185738" y="562928"/>
                  </a:lnTo>
                  <a:lnTo>
                    <a:pt x="164783" y="599122"/>
                  </a:lnTo>
                  <a:lnTo>
                    <a:pt x="161925" y="634365"/>
                  </a:lnTo>
                  <a:lnTo>
                    <a:pt x="157163" y="659130"/>
                  </a:lnTo>
                  <a:lnTo>
                    <a:pt x="180023" y="713422"/>
                  </a:lnTo>
                  <a:lnTo>
                    <a:pt x="174308" y="773430"/>
                  </a:lnTo>
                  <a:lnTo>
                    <a:pt x="179070" y="786765"/>
                  </a:lnTo>
                  <a:lnTo>
                    <a:pt x="193358" y="801053"/>
                  </a:lnTo>
                  <a:lnTo>
                    <a:pt x="200025" y="822007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061" name="Freeform: Shape 2060">
              <a:extLst>
                <a:ext uri="{FF2B5EF4-FFF2-40B4-BE49-F238E27FC236}">
                  <a16:creationId xmlns:a16="http://schemas.microsoft.com/office/drawing/2014/main" id="{364FE719-EFAC-EC1B-425A-F4744D5880AB}"/>
                </a:ext>
              </a:extLst>
            </p:cNvPr>
            <p:cNvSpPr/>
            <p:nvPr/>
          </p:nvSpPr>
          <p:spPr>
            <a:xfrm>
              <a:off x="7442834" y="4230052"/>
              <a:ext cx="41909" cy="973454"/>
            </a:xfrm>
            <a:custGeom>
              <a:avLst/>
              <a:gdLst>
                <a:gd name="connsiteX0" fmla="*/ 0 w 41909"/>
                <a:gd name="connsiteY0" fmla="*/ 0 h 973454"/>
                <a:gd name="connsiteX1" fmla="*/ 12382 w 41909"/>
                <a:gd name="connsiteY1" fmla="*/ 19050 h 973454"/>
                <a:gd name="connsiteX2" fmla="*/ 0 w 41909"/>
                <a:gd name="connsiteY2" fmla="*/ 657225 h 973454"/>
                <a:gd name="connsiteX3" fmla="*/ 41910 w 41909"/>
                <a:gd name="connsiteY3" fmla="*/ 973455 h 973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909" h="973454">
                  <a:moveTo>
                    <a:pt x="0" y="0"/>
                  </a:moveTo>
                  <a:lnTo>
                    <a:pt x="12382" y="19050"/>
                  </a:lnTo>
                  <a:lnTo>
                    <a:pt x="0" y="657225"/>
                  </a:lnTo>
                  <a:lnTo>
                    <a:pt x="41910" y="973455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062" name="Freeform: Shape 2061">
              <a:extLst>
                <a:ext uri="{FF2B5EF4-FFF2-40B4-BE49-F238E27FC236}">
                  <a16:creationId xmlns:a16="http://schemas.microsoft.com/office/drawing/2014/main" id="{09CD6C6B-EB87-1031-BA89-857884192601}"/>
                </a:ext>
              </a:extLst>
            </p:cNvPr>
            <p:cNvSpPr/>
            <p:nvPr/>
          </p:nvSpPr>
          <p:spPr>
            <a:xfrm>
              <a:off x="7442834" y="4191952"/>
              <a:ext cx="435292" cy="38100"/>
            </a:xfrm>
            <a:custGeom>
              <a:avLst/>
              <a:gdLst>
                <a:gd name="connsiteX0" fmla="*/ 0 w 435292"/>
                <a:gd name="connsiteY0" fmla="*/ 38100 h 38100"/>
                <a:gd name="connsiteX1" fmla="*/ 435292 w 435292"/>
                <a:gd name="connsiteY1" fmla="*/ 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5292" h="38100">
                  <a:moveTo>
                    <a:pt x="0" y="38100"/>
                  </a:moveTo>
                  <a:lnTo>
                    <a:pt x="435292" y="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063" name="Freeform: Shape 2062">
              <a:extLst>
                <a:ext uri="{FF2B5EF4-FFF2-40B4-BE49-F238E27FC236}">
                  <a16:creationId xmlns:a16="http://schemas.microsoft.com/office/drawing/2014/main" id="{59C13355-04DC-F840-BB49-E2D39262FA9F}"/>
                </a:ext>
              </a:extLst>
            </p:cNvPr>
            <p:cNvSpPr/>
            <p:nvPr/>
          </p:nvSpPr>
          <p:spPr>
            <a:xfrm>
              <a:off x="6450329" y="4685347"/>
              <a:ext cx="498157" cy="12382"/>
            </a:xfrm>
            <a:custGeom>
              <a:avLst/>
              <a:gdLst>
                <a:gd name="connsiteX0" fmla="*/ 0 w 498157"/>
                <a:gd name="connsiteY0" fmla="*/ 12383 h 12382"/>
                <a:gd name="connsiteX1" fmla="*/ 498157 w 498157"/>
                <a:gd name="connsiteY1" fmla="*/ 0 h 12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8157" h="12382">
                  <a:moveTo>
                    <a:pt x="0" y="12383"/>
                  </a:moveTo>
                  <a:lnTo>
                    <a:pt x="498157" y="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064" name="Freeform: Shape 2063">
              <a:extLst>
                <a:ext uri="{FF2B5EF4-FFF2-40B4-BE49-F238E27FC236}">
                  <a16:creationId xmlns:a16="http://schemas.microsoft.com/office/drawing/2014/main" id="{5B1F8D75-F513-B156-6E86-63916FE6D600}"/>
                </a:ext>
              </a:extLst>
            </p:cNvPr>
            <p:cNvSpPr/>
            <p:nvPr/>
          </p:nvSpPr>
          <p:spPr>
            <a:xfrm>
              <a:off x="6334124" y="3937634"/>
              <a:ext cx="830580" cy="107632"/>
            </a:xfrm>
            <a:custGeom>
              <a:avLst/>
              <a:gdLst>
                <a:gd name="connsiteX0" fmla="*/ 830580 w 830580"/>
                <a:gd name="connsiteY0" fmla="*/ 100013 h 107632"/>
                <a:gd name="connsiteX1" fmla="*/ 723900 w 830580"/>
                <a:gd name="connsiteY1" fmla="*/ 107633 h 107632"/>
                <a:gd name="connsiteX2" fmla="*/ 750570 w 830580"/>
                <a:gd name="connsiteY2" fmla="*/ 59055 h 107632"/>
                <a:gd name="connsiteX3" fmla="*/ 766763 w 830580"/>
                <a:gd name="connsiteY3" fmla="*/ 44768 h 107632"/>
                <a:gd name="connsiteX4" fmla="*/ 766763 w 830580"/>
                <a:gd name="connsiteY4" fmla="*/ 23813 h 107632"/>
                <a:gd name="connsiteX5" fmla="*/ 751523 w 830580"/>
                <a:gd name="connsiteY5" fmla="*/ 0 h 107632"/>
                <a:gd name="connsiteX6" fmla="*/ 372427 w 830580"/>
                <a:gd name="connsiteY6" fmla="*/ 19050 h 107632"/>
                <a:gd name="connsiteX7" fmla="*/ 0 w 830580"/>
                <a:gd name="connsiteY7" fmla="*/ 25718 h 107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30580" h="107632">
                  <a:moveTo>
                    <a:pt x="830580" y="100013"/>
                  </a:moveTo>
                  <a:lnTo>
                    <a:pt x="723900" y="107633"/>
                  </a:lnTo>
                  <a:lnTo>
                    <a:pt x="750570" y="59055"/>
                  </a:lnTo>
                  <a:lnTo>
                    <a:pt x="766763" y="44768"/>
                  </a:lnTo>
                  <a:lnTo>
                    <a:pt x="766763" y="23813"/>
                  </a:lnTo>
                  <a:lnTo>
                    <a:pt x="751523" y="0"/>
                  </a:lnTo>
                  <a:lnTo>
                    <a:pt x="372427" y="19050"/>
                  </a:lnTo>
                  <a:lnTo>
                    <a:pt x="0" y="25718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065" name="Freeform: Shape 2064">
              <a:extLst>
                <a:ext uri="{FF2B5EF4-FFF2-40B4-BE49-F238E27FC236}">
                  <a16:creationId xmlns:a16="http://schemas.microsoft.com/office/drawing/2014/main" id="{148B358E-152C-74DB-1D7C-FE7EE9299AC8}"/>
                </a:ext>
              </a:extLst>
            </p:cNvPr>
            <p:cNvSpPr/>
            <p:nvPr/>
          </p:nvSpPr>
          <p:spPr>
            <a:xfrm>
              <a:off x="6937056" y="4254817"/>
              <a:ext cx="145732" cy="430529"/>
            </a:xfrm>
            <a:custGeom>
              <a:avLst/>
              <a:gdLst>
                <a:gd name="connsiteX0" fmla="*/ 11430 w 145732"/>
                <a:gd name="connsiteY0" fmla="*/ 430530 h 430529"/>
                <a:gd name="connsiteX1" fmla="*/ 22860 w 145732"/>
                <a:gd name="connsiteY1" fmla="*/ 416242 h 430529"/>
                <a:gd name="connsiteX2" fmla="*/ 27623 w 145732"/>
                <a:gd name="connsiteY2" fmla="*/ 387667 h 430529"/>
                <a:gd name="connsiteX3" fmla="*/ 13335 w 145732"/>
                <a:gd name="connsiteY3" fmla="*/ 365760 h 430529"/>
                <a:gd name="connsiteX4" fmla="*/ 8573 w 145732"/>
                <a:gd name="connsiteY4" fmla="*/ 344805 h 430529"/>
                <a:gd name="connsiteX5" fmla="*/ 17145 w 145732"/>
                <a:gd name="connsiteY5" fmla="*/ 338138 h 430529"/>
                <a:gd name="connsiteX6" fmla="*/ 17145 w 145732"/>
                <a:gd name="connsiteY6" fmla="*/ 330517 h 430529"/>
                <a:gd name="connsiteX7" fmla="*/ 953 w 145732"/>
                <a:gd name="connsiteY7" fmla="*/ 320040 h 430529"/>
                <a:gd name="connsiteX8" fmla="*/ 0 w 145732"/>
                <a:gd name="connsiteY8" fmla="*/ 313372 h 430529"/>
                <a:gd name="connsiteX9" fmla="*/ 15240 w 145732"/>
                <a:gd name="connsiteY9" fmla="*/ 304800 h 430529"/>
                <a:gd name="connsiteX10" fmla="*/ 3810 w 145732"/>
                <a:gd name="connsiteY10" fmla="*/ 294322 h 430529"/>
                <a:gd name="connsiteX11" fmla="*/ 20003 w 145732"/>
                <a:gd name="connsiteY11" fmla="*/ 226695 h 430529"/>
                <a:gd name="connsiteX12" fmla="*/ 52388 w 145732"/>
                <a:gd name="connsiteY12" fmla="*/ 211455 h 430529"/>
                <a:gd name="connsiteX13" fmla="*/ 52388 w 145732"/>
                <a:gd name="connsiteY13" fmla="*/ 203835 h 430529"/>
                <a:gd name="connsiteX14" fmla="*/ 41910 w 145732"/>
                <a:gd name="connsiteY14" fmla="*/ 190500 h 430529"/>
                <a:gd name="connsiteX15" fmla="*/ 69532 w 145732"/>
                <a:gd name="connsiteY15" fmla="*/ 139065 h 430529"/>
                <a:gd name="connsiteX16" fmla="*/ 87630 w 145732"/>
                <a:gd name="connsiteY16" fmla="*/ 139065 h 430529"/>
                <a:gd name="connsiteX17" fmla="*/ 101918 w 145732"/>
                <a:gd name="connsiteY17" fmla="*/ 127635 h 430529"/>
                <a:gd name="connsiteX18" fmla="*/ 99060 w 145732"/>
                <a:gd name="connsiteY18" fmla="*/ 78105 h 430529"/>
                <a:gd name="connsiteX19" fmla="*/ 128588 w 145732"/>
                <a:gd name="connsiteY19" fmla="*/ 35242 h 430529"/>
                <a:gd name="connsiteX20" fmla="*/ 145732 w 145732"/>
                <a:gd name="connsiteY20" fmla="*/ 29527 h 430529"/>
                <a:gd name="connsiteX21" fmla="*/ 140970 w 145732"/>
                <a:gd name="connsiteY21" fmla="*/ 0 h 4305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45732" h="430529">
                  <a:moveTo>
                    <a:pt x="11430" y="430530"/>
                  </a:moveTo>
                  <a:lnTo>
                    <a:pt x="22860" y="416242"/>
                  </a:lnTo>
                  <a:lnTo>
                    <a:pt x="27623" y="387667"/>
                  </a:lnTo>
                  <a:lnTo>
                    <a:pt x="13335" y="365760"/>
                  </a:lnTo>
                  <a:lnTo>
                    <a:pt x="8573" y="344805"/>
                  </a:lnTo>
                  <a:lnTo>
                    <a:pt x="17145" y="338138"/>
                  </a:lnTo>
                  <a:lnTo>
                    <a:pt x="17145" y="330517"/>
                  </a:lnTo>
                  <a:lnTo>
                    <a:pt x="953" y="320040"/>
                  </a:lnTo>
                  <a:lnTo>
                    <a:pt x="0" y="313372"/>
                  </a:lnTo>
                  <a:lnTo>
                    <a:pt x="15240" y="304800"/>
                  </a:lnTo>
                  <a:lnTo>
                    <a:pt x="3810" y="294322"/>
                  </a:lnTo>
                  <a:lnTo>
                    <a:pt x="20003" y="226695"/>
                  </a:lnTo>
                  <a:lnTo>
                    <a:pt x="52388" y="211455"/>
                  </a:lnTo>
                  <a:lnTo>
                    <a:pt x="52388" y="203835"/>
                  </a:lnTo>
                  <a:lnTo>
                    <a:pt x="41910" y="190500"/>
                  </a:lnTo>
                  <a:lnTo>
                    <a:pt x="69532" y="139065"/>
                  </a:lnTo>
                  <a:lnTo>
                    <a:pt x="87630" y="139065"/>
                  </a:lnTo>
                  <a:lnTo>
                    <a:pt x="101918" y="127635"/>
                  </a:lnTo>
                  <a:lnTo>
                    <a:pt x="99060" y="78105"/>
                  </a:lnTo>
                  <a:lnTo>
                    <a:pt x="128588" y="35242"/>
                  </a:lnTo>
                  <a:lnTo>
                    <a:pt x="145732" y="29527"/>
                  </a:lnTo>
                  <a:lnTo>
                    <a:pt x="140970" y="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066" name="Freeform: Shape 2065">
              <a:extLst>
                <a:ext uri="{FF2B5EF4-FFF2-40B4-BE49-F238E27FC236}">
                  <a16:creationId xmlns:a16="http://schemas.microsoft.com/office/drawing/2014/main" id="{32284461-996B-0747-F745-370BCDD90C4E}"/>
                </a:ext>
              </a:extLst>
            </p:cNvPr>
            <p:cNvSpPr/>
            <p:nvPr/>
          </p:nvSpPr>
          <p:spPr>
            <a:xfrm>
              <a:off x="6334124" y="3963352"/>
              <a:ext cx="39052" cy="603884"/>
            </a:xfrm>
            <a:custGeom>
              <a:avLst/>
              <a:gdLst>
                <a:gd name="connsiteX0" fmla="*/ 32385 w 39052"/>
                <a:gd name="connsiteY0" fmla="*/ 603885 h 603884"/>
                <a:gd name="connsiteX1" fmla="*/ 39053 w 39052"/>
                <a:gd name="connsiteY1" fmla="*/ 232410 h 603884"/>
                <a:gd name="connsiteX2" fmla="*/ 0 w 39052"/>
                <a:gd name="connsiteY2" fmla="*/ 0 h 603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052" h="603884">
                  <a:moveTo>
                    <a:pt x="32385" y="603885"/>
                  </a:moveTo>
                  <a:lnTo>
                    <a:pt x="39053" y="232410"/>
                  </a:lnTo>
                  <a:lnTo>
                    <a:pt x="0" y="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067" name="Freeform: Shape 2066">
              <a:extLst>
                <a:ext uri="{FF2B5EF4-FFF2-40B4-BE49-F238E27FC236}">
                  <a16:creationId xmlns:a16="http://schemas.microsoft.com/office/drawing/2014/main" id="{343C8B8F-F99E-CF45-7B78-C7762C161E3A}"/>
                </a:ext>
              </a:extLst>
            </p:cNvPr>
            <p:cNvSpPr/>
            <p:nvPr/>
          </p:nvSpPr>
          <p:spPr>
            <a:xfrm>
              <a:off x="7078026" y="4037647"/>
              <a:ext cx="100965" cy="217170"/>
            </a:xfrm>
            <a:custGeom>
              <a:avLst/>
              <a:gdLst>
                <a:gd name="connsiteX0" fmla="*/ 0 w 100965"/>
                <a:gd name="connsiteY0" fmla="*/ 217170 h 217170"/>
                <a:gd name="connsiteX1" fmla="*/ 15240 w 100965"/>
                <a:gd name="connsiteY1" fmla="*/ 210503 h 217170"/>
                <a:gd name="connsiteX2" fmla="*/ 23813 w 100965"/>
                <a:gd name="connsiteY2" fmla="*/ 189547 h 217170"/>
                <a:gd name="connsiteX3" fmla="*/ 35243 w 100965"/>
                <a:gd name="connsiteY3" fmla="*/ 194310 h 217170"/>
                <a:gd name="connsiteX4" fmla="*/ 41910 w 100965"/>
                <a:gd name="connsiteY4" fmla="*/ 184785 h 217170"/>
                <a:gd name="connsiteX5" fmla="*/ 34290 w 100965"/>
                <a:gd name="connsiteY5" fmla="*/ 178118 h 217170"/>
                <a:gd name="connsiteX6" fmla="*/ 37148 w 100965"/>
                <a:gd name="connsiteY6" fmla="*/ 163830 h 217170"/>
                <a:gd name="connsiteX7" fmla="*/ 26670 w 100965"/>
                <a:gd name="connsiteY7" fmla="*/ 155258 h 217170"/>
                <a:gd name="connsiteX8" fmla="*/ 32385 w 100965"/>
                <a:gd name="connsiteY8" fmla="*/ 145733 h 217170"/>
                <a:gd name="connsiteX9" fmla="*/ 31433 w 100965"/>
                <a:gd name="connsiteY9" fmla="*/ 131445 h 217170"/>
                <a:gd name="connsiteX10" fmla="*/ 20955 w 100965"/>
                <a:gd name="connsiteY10" fmla="*/ 130493 h 217170"/>
                <a:gd name="connsiteX11" fmla="*/ 28575 w 100965"/>
                <a:gd name="connsiteY11" fmla="*/ 122872 h 217170"/>
                <a:gd name="connsiteX12" fmla="*/ 40958 w 100965"/>
                <a:gd name="connsiteY12" fmla="*/ 130493 h 217170"/>
                <a:gd name="connsiteX13" fmla="*/ 43815 w 100965"/>
                <a:gd name="connsiteY13" fmla="*/ 117158 h 217170"/>
                <a:gd name="connsiteX14" fmla="*/ 40005 w 100965"/>
                <a:gd name="connsiteY14" fmla="*/ 106680 h 217170"/>
                <a:gd name="connsiteX15" fmla="*/ 40958 w 100965"/>
                <a:gd name="connsiteY15" fmla="*/ 100013 h 217170"/>
                <a:gd name="connsiteX16" fmla="*/ 60008 w 100965"/>
                <a:gd name="connsiteY16" fmla="*/ 105728 h 217170"/>
                <a:gd name="connsiteX17" fmla="*/ 56198 w 100965"/>
                <a:gd name="connsiteY17" fmla="*/ 91440 h 217170"/>
                <a:gd name="connsiteX18" fmla="*/ 71438 w 100965"/>
                <a:gd name="connsiteY18" fmla="*/ 79058 h 217170"/>
                <a:gd name="connsiteX19" fmla="*/ 66675 w 100965"/>
                <a:gd name="connsiteY19" fmla="*/ 70485 h 217170"/>
                <a:gd name="connsiteX20" fmla="*/ 56198 w 100965"/>
                <a:gd name="connsiteY20" fmla="*/ 71438 h 217170"/>
                <a:gd name="connsiteX21" fmla="*/ 50483 w 100965"/>
                <a:gd name="connsiteY21" fmla="*/ 62865 h 217170"/>
                <a:gd name="connsiteX22" fmla="*/ 59055 w 100965"/>
                <a:gd name="connsiteY22" fmla="*/ 54293 h 217170"/>
                <a:gd name="connsiteX23" fmla="*/ 74295 w 100965"/>
                <a:gd name="connsiteY23" fmla="*/ 52388 h 217170"/>
                <a:gd name="connsiteX24" fmla="*/ 79058 w 100965"/>
                <a:gd name="connsiteY24" fmla="*/ 44768 h 217170"/>
                <a:gd name="connsiteX25" fmla="*/ 92393 w 100965"/>
                <a:gd name="connsiteY25" fmla="*/ 42863 h 217170"/>
                <a:gd name="connsiteX26" fmla="*/ 91440 w 100965"/>
                <a:gd name="connsiteY26" fmla="*/ 35243 h 217170"/>
                <a:gd name="connsiteX27" fmla="*/ 82868 w 100965"/>
                <a:gd name="connsiteY27" fmla="*/ 26670 h 217170"/>
                <a:gd name="connsiteX28" fmla="*/ 82868 w 100965"/>
                <a:gd name="connsiteY28" fmla="*/ 21908 h 217170"/>
                <a:gd name="connsiteX29" fmla="*/ 97155 w 100965"/>
                <a:gd name="connsiteY29" fmla="*/ 21908 h 217170"/>
                <a:gd name="connsiteX30" fmla="*/ 100965 w 100965"/>
                <a:gd name="connsiteY30" fmla="*/ 15240 h 217170"/>
                <a:gd name="connsiteX31" fmla="*/ 87630 w 100965"/>
                <a:gd name="connsiteY31" fmla="*/ 5715 h 217170"/>
                <a:gd name="connsiteX32" fmla="*/ 86678 w 100965"/>
                <a:gd name="connsiteY32" fmla="*/ 0 h 217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00965" h="217170">
                  <a:moveTo>
                    <a:pt x="0" y="217170"/>
                  </a:moveTo>
                  <a:lnTo>
                    <a:pt x="15240" y="210503"/>
                  </a:lnTo>
                  <a:lnTo>
                    <a:pt x="23813" y="189547"/>
                  </a:lnTo>
                  <a:lnTo>
                    <a:pt x="35243" y="194310"/>
                  </a:lnTo>
                  <a:lnTo>
                    <a:pt x="41910" y="184785"/>
                  </a:lnTo>
                  <a:lnTo>
                    <a:pt x="34290" y="178118"/>
                  </a:lnTo>
                  <a:lnTo>
                    <a:pt x="37148" y="163830"/>
                  </a:lnTo>
                  <a:lnTo>
                    <a:pt x="26670" y="155258"/>
                  </a:lnTo>
                  <a:lnTo>
                    <a:pt x="32385" y="145733"/>
                  </a:lnTo>
                  <a:lnTo>
                    <a:pt x="31433" y="131445"/>
                  </a:lnTo>
                  <a:lnTo>
                    <a:pt x="20955" y="130493"/>
                  </a:lnTo>
                  <a:lnTo>
                    <a:pt x="28575" y="122872"/>
                  </a:lnTo>
                  <a:lnTo>
                    <a:pt x="40958" y="130493"/>
                  </a:lnTo>
                  <a:lnTo>
                    <a:pt x="43815" y="117158"/>
                  </a:lnTo>
                  <a:lnTo>
                    <a:pt x="40005" y="106680"/>
                  </a:lnTo>
                  <a:lnTo>
                    <a:pt x="40958" y="100013"/>
                  </a:lnTo>
                  <a:lnTo>
                    <a:pt x="60008" y="105728"/>
                  </a:lnTo>
                  <a:lnTo>
                    <a:pt x="56198" y="91440"/>
                  </a:lnTo>
                  <a:lnTo>
                    <a:pt x="71438" y="79058"/>
                  </a:lnTo>
                  <a:lnTo>
                    <a:pt x="66675" y="70485"/>
                  </a:lnTo>
                  <a:lnTo>
                    <a:pt x="56198" y="71438"/>
                  </a:lnTo>
                  <a:lnTo>
                    <a:pt x="50483" y="62865"/>
                  </a:lnTo>
                  <a:lnTo>
                    <a:pt x="59055" y="54293"/>
                  </a:lnTo>
                  <a:lnTo>
                    <a:pt x="74295" y="52388"/>
                  </a:lnTo>
                  <a:lnTo>
                    <a:pt x="79058" y="44768"/>
                  </a:lnTo>
                  <a:lnTo>
                    <a:pt x="92393" y="42863"/>
                  </a:lnTo>
                  <a:lnTo>
                    <a:pt x="91440" y="35243"/>
                  </a:lnTo>
                  <a:lnTo>
                    <a:pt x="82868" y="26670"/>
                  </a:lnTo>
                  <a:lnTo>
                    <a:pt x="82868" y="21908"/>
                  </a:lnTo>
                  <a:lnTo>
                    <a:pt x="97155" y="21908"/>
                  </a:lnTo>
                  <a:lnTo>
                    <a:pt x="100965" y="15240"/>
                  </a:lnTo>
                  <a:lnTo>
                    <a:pt x="87630" y="5715"/>
                  </a:lnTo>
                  <a:lnTo>
                    <a:pt x="86678" y="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068" name="Freeform: Shape 2067">
              <a:extLst>
                <a:ext uri="{FF2B5EF4-FFF2-40B4-BE49-F238E27FC236}">
                  <a16:creationId xmlns:a16="http://schemas.microsoft.com/office/drawing/2014/main" id="{45E34396-A9D0-D634-0E03-BB791216A246}"/>
                </a:ext>
              </a:extLst>
            </p:cNvPr>
            <p:cNvSpPr/>
            <p:nvPr/>
          </p:nvSpPr>
          <p:spPr>
            <a:xfrm>
              <a:off x="6366509" y="4567237"/>
              <a:ext cx="83820" cy="130492"/>
            </a:xfrm>
            <a:custGeom>
              <a:avLst/>
              <a:gdLst>
                <a:gd name="connsiteX0" fmla="*/ 0 w 83820"/>
                <a:gd name="connsiteY0" fmla="*/ 0 h 130492"/>
                <a:gd name="connsiteX1" fmla="*/ 24765 w 83820"/>
                <a:gd name="connsiteY1" fmla="*/ 21907 h 130492"/>
                <a:gd name="connsiteX2" fmla="*/ 51435 w 83820"/>
                <a:gd name="connsiteY2" fmla="*/ 9525 h 130492"/>
                <a:gd name="connsiteX3" fmla="*/ 81915 w 83820"/>
                <a:gd name="connsiteY3" fmla="*/ 17145 h 130492"/>
                <a:gd name="connsiteX4" fmla="*/ 83820 w 83820"/>
                <a:gd name="connsiteY4" fmla="*/ 130493 h 1304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3820" h="130492">
                  <a:moveTo>
                    <a:pt x="0" y="0"/>
                  </a:moveTo>
                  <a:lnTo>
                    <a:pt x="24765" y="21907"/>
                  </a:lnTo>
                  <a:lnTo>
                    <a:pt x="51435" y="9525"/>
                  </a:lnTo>
                  <a:lnTo>
                    <a:pt x="81915" y="17145"/>
                  </a:lnTo>
                  <a:lnTo>
                    <a:pt x="83820" y="130493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069" name="Freeform: Shape 2068">
              <a:extLst>
                <a:ext uri="{FF2B5EF4-FFF2-40B4-BE49-F238E27FC236}">
                  <a16:creationId xmlns:a16="http://schemas.microsoft.com/office/drawing/2014/main" id="{9669F21A-BDAB-5572-709C-099F091D23B3}"/>
                </a:ext>
              </a:extLst>
            </p:cNvPr>
            <p:cNvSpPr/>
            <p:nvPr/>
          </p:nvSpPr>
          <p:spPr>
            <a:xfrm>
              <a:off x="2837496" y="3972877"/>
              <a:ext cx="164782" cy="471487"/>
            </a:xfrm>
            <a:custGeom>
              <a:avLst/>
              <a:gdLst>
                <a:gd name="connsiteX0" fmla="*/ 110490 w 164782"/>
                <a:gd name="connsiteY0" fmla="*/ 0 h 471487"/>
                <a:gd name="connsiteX1" fmla="*/ 101918 w 164782"/>
                <a:gd name="connsiteY1" fmla="*/ 20003 h 471487"/>
                <a:gd name="connsiteX2" fmla="*/ 114300 w 164782"/>
                <a:gd name="connsiteY2" fmla="*/ 52388 h 471487"/>
                <a:gd name="connsiteX3" fmla="*/ 127635 w 164782"/>
                <a:gd name="connsiteY3" fmla="*/ 69532 h 471487"/>
                <a:gd name="connsiteX4" fmla="*/ 139065 w 164782"/>
                <a:gd name="connsiteY4" fmla="*/ 124778 h 471487"/>
                <a:gd name="connsiteX5" fmla="*/ 160973 w 164782"/>
                <a:gd name="connsiteY5" fmla="*/ 148590 h 471487"/>
                <a:gd name="connsiteX6" fmla="*/ 164783 w 164782"/>
                <a:gd name="connsiteY6" fmla="*/ 166688 h 471487"/>
                <a:gd name="connsiteX7" fmla="*/ 152400 w 164782"/>
                <a:gd name="connsiteY7" fmla="*/ 179070 h 471487"/>
                <a:gd name="connsiteX8" fmla="*/ 106680 w 164782"/>
                <a:gd name="connsiteY8" fmla="*/ 195263 h 471487"/>
                <a:gd name="connsiteX9" fmla="*/ 83820 w 164782"/>
                <a:gd name="connsiteY9" fmla="*/ 229553 h 471487"/>
                <a:gd name="connsiteX10" fmla="*/ 68580 w 164782"/>
                <a:gd name="connsiteY10" fmla="*/ 296228 h 471487"/>
                <a:gd name="connsiteX11" fmla="*/ 45720 w 164782"/>
                <a:gd name="connsiteY11" fmla="*/ 326707 h 471487"/>
                <a:gd name="connsiteX12" fmla="*/ 30480 w 164782"/>
                <a:gd name="connsiteY12" fmla="*/ 329565 h 471487"/>
                <a:gd name="connsiteX13" fmla="*/ 20003 w 164782"/>
                <a:gd name="connsiteY13" fmla="*/ 395288 h 471487"/>
                <a:gd name="connsiteX14" fmla="*/ 30480 w 164782"/>
                <a:gd name="connsiteY14" fmla="*/ 410528 h 471487"/>
                <a:gd name="connsiteX15" fmla="*/ 47625 w 164782"/>
                <a:gd name="connsiteY15" fmla="*/ 412432 h 471487"/>
                <a:gd name="connsiteX16" fmla="*/ 57150 w 164782"/>
                <a:gd name="connsiteY16" fmla="*/ 427672 h 471487"/>
                <a:gd name="connsiteX17" fmla="*/ 49530 w 164782"/>
                <a:gd name="connsiteY17" fmla="*/ 450532 h 471487"/>
                <a:gd name="connsiteX18" fmla="*/ 20955 w 164782"/>
                <a:gd name="connsiteY18" fmla="*/ 471488 h 471487"/>
                <a:gd name="connsiteX19" fmla="*/ 0 w 164782"/>
                <a:gd name="connsiteY19" fmla="*/ 470535 h 471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64782" h="471487">
                  <a:moveTo>
                    <a:pt x="110490" y="0"/>
                  </a:moveTo>
                  <a:lnTo>
                    <a:pt x="101918" y="20003"/>
                  </a:lnTo>
                  <a:lnTo>
                    <a:pt x="114300" y="52388"/>
                  </a:lnTo>
                  <a:lnTo>
                    <a:pt x="127635" y="69532"/>
                  </a:lnTo>
                  <a:lnTo>
                    <a:pt x="139065" y="124778"/>
                  </a:lnTo>
                  <a:lnTo>
                    <a:pt x="160973" y="148590"/>
                  </a:lnTo>
                  <a:lnTo>
                    <a:pt x="164783" y="166688"/>
                  </a:lnTo>
                  <a:lnTo>
                    <a:pt x="152400" y="179070"/>
                  </a:lnTo>
                  <a:lnTo>
                    <a:pt x="106680" y="195263"/>
                  </a:lnTo>
                  <a:lnTo>
                    <a:pt x="83820" y="229553"/>
                  </a:lnTo>
                  <a:lnTo>
                    <a:pt x="68580" y="296228"/>
                  </a:lnTo>
                  <a:lnTo>
                    <a:pt x="45720" y="326707"/>
                  </a:lnTo>
                  <a:lnTo>
                    <a:pt x="30480" y="329565"/>
                  </a:lnTo>
                  <a:lnTo>
                    <a:pt x="20003" y="395288"/>
                  </a:lnTo>
                  <a:lnTo>
                    <a:pt x="30480" y="410528"/>
                  </a:lnTo>
                  <a:lnTo>
                    <a:pt x="47625" y="412432"/>
                  </a:lnTo>
                  <a:lnTo>
                    <a:pt x="57150" y="427672"/>
                  </a:lnTo>
                  <a:lnTo>
                    <a:pt x="49530" y="450532"/>
                  </a:lnTo>
                  <a:lnTo>
                    <a:pt x="20955" y="471488"/>
                  </a:lnTo>
                  <a:lnTo>
                    <a:pt x="0" y="470535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070" name="Freeform: Shape 2069">
              <a:extLst>
                <a:ext uri="{FF2B5EF4-FFF2-40B4-BE49-F238E27FC236}">
                  <a16:creationId xmlns:a16="http://schemas.microsoft.com/office/drawing/2014/main" id="{FC14C375-2504-A4CB-E972-FC25AF70BB4F}"/>
                </a:ext>
              </a:extLst>
            </p:cNvPr>
            <p:cNvSpPr/>
            <p:nvPr/>
          </p:nvSpPr>
          <p:spPr>
            <a:xfrm>
              <a:off x="3780471" y="3714750"/>
              <a:ext cx="165735" cy="1182052"/>
            </a:xfrm>
            <a:custGeom>
              <a:avLst/>
              <a:gdLst>
                <a:gd name="connsiteX0" fmla="*/ 165735 w 165735"/>
                <a:gd name="connsiteY0" fmla="*/ 0 h 1182052"/>
                <a:gd name="connsiteX1" fmla="*/ 0 w 165735"/>
                <a:gd name="connsiteY1" fmla="*/ 1182053 h 1182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5735" h="1182052">
                  <a:moveTo>
                    <a:pt x="165735" y="0"/>
                  </a:moveTo>
                  <a:lnTo>
                    <a:pt x="0" y="1182053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071" name="Freeform: Shape 2070">
              <a:extLst>
                <a:ext uri="{FF2B5EF4-FFF2-40B4-BE49-F238E27FC236}">
                  <a16:creationId xmlns:a16="http://schemas.microsoft.com/office/drawing/2014/main" id="{D42FCE0E-B6AA-6540-AB20-A048CC1DA612}"/>
                </a:ext>
              </a:extLst>
            </p:cNvPr>
            <p:cNvSpPr/>
            <p:nvPr/>
          </p:nvSpPr>
          <p:spPr>
            <a:xfrm>
              <a:off x="2947987" y="3579494"/>
              <a:ext cx="177165" cy="393382"/>
            </a:xfrm>
            <a:custGeom>
              <a:avLst/>
              <a:gdLst>
                <a:gd name="connsiteX0" fmla="*/ 177165 w 177165"/>
                <a:gd name="connsiteY0" fmla="*/ 0 h 393382"/>
                <a:gd name="connsiteX1" fmla="*/ 144780 w 177165"/>
                <a:gd name="connsiteY1" fmla="*/ 166688 h 393382"/>
                <a:gd name="connsiteX2" fmla="*/ 121920 w 177165"/>
                <a:gd name="connsiteY2" fmla="*/ 194310 h 393382"/>
                <a:gd name="connsiteX3" fmla="*/ 102870 w 177165"/>
                <a:gd name="connsiteY3" fmla="*/ 194310 h 393382"/>
                <a:gd name="connsiteX4" fmla="*/ 91440 w 177165"/>
                <a:gd name="connsiteY4" fmla="*/ 168593 h 393382"/>
                <a:gd name="connsiteX5" fmla="*/ 56197 w 177165"/>
                <a:gd name="connsiteY5" fmla="*/ 155258 h 393382"/>
                <a:gd name="connsiteX6" fmla="*/ 22860 w 177165"/>
                <a:gd name="connsiteY6" fmla="*/ 160973 h 393382"/>
                <a:gd name="connsiteX7" fmla="*/ 13335 w 177165"/>
                <a:gd name="connsiteY7" fmla="*/ 290513 h 393382"/>
                <a:gd name="connsiteX8" fmla="*/ 18097 w 177165"/>
                <a:gd name="connsiteY8" fmla="*/ 337185 h 393382"/>
                <a:gd name="connsiteX9" fmla="*/ 13335 w 177165"/>
                <a:gd name="connsiteY9" fmla="*/ 364808 h 393382"/>
                <a:gd name="connsiteX10" fmla="*/ 0 w 177165"/>
                <a:gd name="connsiteY10" fmla="*/ 393383 h 393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7165" h="393382">
                  <a:moveTo>
                    <a:pt x="177165" y="0"/>
                  </a:moveTo>
                  <a:lnTo>
                    <a:pt x="144780" y="166688"/>
                  </a:lnTo>
                  <a:lnTo>
                    <a:pt x="121920" y="194310"/>
                  </a:lnTo>
                  <a:lnTo>
                    <a:pt x="102870" y="194310"/>
                  </a:lnTo>
                  <a:lnTo>
                    <a:pt x="91440" y="168593"/>
                  </a:lnTo>
                  <a:lnTo>
                    <a:pt x="56197" y="155258"/>
                  </a:lnTo>
                  <a:lnTo>
                    <a:pt x="22860" y="160973"/>
                  </a:lnTo>
                  <a:lnTo>
                    <a:pt x="13335" y="290513"/>
                  </a:lnTo>
                  <a:lnTo>
                    <a:pt x="18097" y="337185"/>
                  </a:lnTo>
                  <a:lnTo>
                    <a:pt x="13335" y="364808"/>
                  </a:lnTo>
                  <a:lnTo>
                    <a:pt x="0" y="393383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072" name="Freeform: Shape 2071">
              <a:extLst>
                <a:ext uri="{FF2B5EF4-FFF2-40B4-BE49-F238E27FC236}">
                  <a16:creationId xmlns:a16="http://schemas.microsoft.com/office/drawing/2014/main" id="{E964942A-4581-528D-1166-84C537697DE6}"/>
                </a:ext>
              </a:extLst>
            </p:cNvPr>
            <p:cNvSpPr/>
            <p:nvPr/>
          </p:nvSpPr>
          <p:spPr>
            <a:xfrm>
              <a:off x="3125152" y="3579494"/>
              <a:ext cx="821054" cy="135255"/>
            </a:xfrm>
            <a:custGeom>
              <a:avLst/>
              <a:gdLst>
                <a:gd name="connsiteX0" fmla="*/ 0 w 821054"/>
                <a:gd name="connsiteY0" fmla="*/ 0 h 135255"/>
                <a:gd name="connsiteX1" fmla="*/ 440055 w 821054"/>
                <a:gd name="connsiteY1" fmla="*/ 78105 h 135255"/>
                <a:gd name="connsiteX2" fmla="*/ 821055 w 821054"/>
                <a:gd name="connsiteY2" fmla="*/ 135255 h 135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21054" h="135255">
                  <a:moveTo>
                    <a:pt x="0" y="0"/>
                  </a:moveTo>
                  <a:lnTo>
                    <a:pt x="440055" y="78105"/>
                  </a:lnTo>
                  <a:lnTo>
                    <a:pt x="821055" y="135255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073" name="Freeform: Shape 2072">
              <a:extLst>
                <a:ext uri="{FF2B5EF4-FFF2-40B4-BE49-F238E27FC236}">
                  <a16:creationId xmlns:a16="http://schemas.microsoft.com/office/drawing/2014/main" id="{C2949803-8708-490A-EB53-AF6F2355F7B2}"/>
                </a:ext>
              </a:extLst>
            </p:cNvPr>
            <p:cNvSpPr/>
            <p:nvPr/>
          </p:nvSpPr>
          <p:spPr>
            <a:xfrm>
              <a:off x="2266949" y="2338387"/>
              <a:ext cx="681037" cy="1634490"/>
            </a:xfrm>
            <a:custGeom>
              <a:avLst/>
              <a:gdLst>
                <a:gd name="connsiteX0" fmla="*/ 156210 w 681037"/>
                <a:gd name="connsiteY0" fmla="*/ 0 h 1634490"/>
                <a:gd name="connsiteX1" fmla="*/ 0 w 681037"/>
                <a:gd name="connsiteY1" fmla="*/ 601028 h 1634490"/>
                <a:gd name="connsiteX2" fmla="*/ 10477 w 681037"/>
                <a:gd name="connsiteY2" fmla="*/ 634365 h 1634490"/>
                <a:gd name="connsiteX3" fmla="*/ 681038 w 681037"/>
                <a:gd name="connsiteY3" fmla="*/ 1634490 h 1634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037" h="1634490">
                  <a:moveTo>
                    <a:pt x="156210" y="0"/>
                  </a:moveTo>
                  <a:lnTo>
                    <a:pt x="0" y="601028"/>
                  </a:lnTo>
                  <a:lnTo>
                    <a:pt x="10477" y="634365"/>
                  </a:lnTo>
                  <a:lnTo>
                    <a:pt x="681038" y="163449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074" name="Freeform: Shape 2073">
              <a:extLst>
                <a:ext uri="{FF2B5EF4-FFF2-40B4-BE49-F238E27FC236}">
                  <a16:creationId xmlns:a16="http://schemas.microsoft.com/office/drawing/2014/main" id="{D25EA404-BF7D-A0BC-D633-0DAE03036597}"/>
                </a:ext>
              </a:extLst>
            </p:cNvPr>
            <p:cNvSpPr/>
            <p:nvPr/>
          </p:nvSpPr>
          <p:spPr>
            <a:xfrm>
              <a:off x="1793556" y="2161222"/>
              <a:ext cx="629602" cy="177165"/>
            </a:xfrm>
            <a:custGeom>
              <a:avLst/>
              <a:gdLst>
                <a:gd name="connsiteX0" fmla="*/ 0 w 629602"/>
                <a:gd name="connsiteY0" fmla="*/ 0 h 177165"/>
                <a:gd name="connsiteX1" fmla="*/ 629603 w 629602"/>
                <a:gd name="connsiteY1" fmla="*/ 177165 h 177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9602" h="177165">
                  <a:moveTo>
                    <a:pt x="0" y="0"/>
                  </a:moveTo>
                  <a:lnTo>
                    <a:pt x="629603" y="177165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075" name="Freeform: Shape 2074">
              <a:extLst>
                <a:ext uri="{FF2B5EF4-FFF2-40B4-BE49-F238E27FC236}">
                  <a16:creationId xmlns:a16="http://schemas.microsoft.com/office/drawing/2014/main" id="{AF1548B7-4B50-78FC-335C-3C0FD6E4DEEE}"/>
                </a:ext>
              </a:extLst>
            </p:cNvPr>
            <p:cNvSpPr/>
            <p:nvPr/>
          </p:nvSpPr>
          <p:spPr>
            <a:xfrm>
              <a:off x="5096827" y="3193732"/>
              <a:ext cx="45719" cy="638175"/>
            </a:xfrm>
            <a:custGeom>
              <a:avLst/>
              <a:gdLst>
                <a:gd name="connsiteX0" fmla="*/ 45720 w 45719"/>
                <a:gd name="connsiteY0" fmla="*/ 0 h 638175"/>
                <a:gd name="connsiteX1" fmla="*/ 0 w 45719"/>
                <a:gd name="connsiteY1" fmla="*/ 638175 h 638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719" h="638175">
                  <a:moveTo>
                    <a:pt x="45720" y="0"/>
                  </a:moveTo>
                  <a:lnTo>
                    <a:pt x="0" y="638175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076" name="Freeform: Shape 2075">
              <a:extLst>
                <a:ext uri="{FF2B5EF4-FFF2-40B4-BE49-F238E27FC236}">
                  <a16:creationId xmlns:a16="http://schemas.microsoft.com/office/drawing/2014/main" id="{383F2C62-7102-303F-D75A-F9C192E7B121}"/>
                </a:ext>
              </a:extLst>
            </p:cNvPr>
            <p:cNvSpPr/>
            <p:nvPr/>
          </p:nvSpPr>
          <p:spPr>
            <a:xfrm>
              <a:off x="4840604" y="2960370"/>
              <a:ext cx="315277" cy="233362"/>
            </a:xfrm>
            <a:custGeom>
              <a:avLst/>
              <a:gdLst>
                <a:gd name="connsiteX0" fmla="*/ 0 w 315277"/>
                <a:gd name="connsiteY0" fmla="*/ 0 h 233362"/>
                <a:gd name="connsiteX1" fmla="*/ 315277 w 315277"/>
                <a:gd name="connsiteY1" fmla="*/ 22860 h 233362"/>
                <a:gd name="connsiteX2" fmla="*/ 301942 w 315277"/>
                <a:gd name="connsiteY2" fmla="*/ 233362 h 233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5277" h="233362">
                  <a:moveTo>
                    <a:pt x="0" y="0"/>
                  </a:moveTo>
                  <a:lnTo>
                    <a:pt x="315277" y="22860"/>
                  </a:lnTo>
                  <a:lnTo>
                    <a:pt x="301942" y="233362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077" name="Freeform: Shape 2076">
              <a:extLst>
                <a:ext uri="{FF2B5EF4-FFF2-40B4-BE49-F238E27FC236}">
                  <a16:creationId xmlns:a16="http://schemas.microsoft.com/office/drawing/2014/main" id="{DE088AFC-F8D7-DE4B-F696-29D3AC27BEB0}"/>
                </a:ext>
              </a:extLst>
            </p:cNvPr>
            <p:cNvSpPr/>
            <p:nvPr/>
          </p:nvSpPr>
          <p:spPr>
            <a:xfrm>
              <a:off x="3946207" y="3714750"/>
              <a:ext cx="993457" cy="107632"/>
            </a:xfrm>
            <a:custGeom>
              <a:avLst/>
              <a:gdLst>
                <a:gd name="connsiteX0" fmla="*/ 0 w 993457"/>
                <a:gd name="connsiteY0" fmla="*/ 0 h 107632"/>
                <a:gd name="connsiteX1" fmla="*/ 501015 w 993457"/>
                <a:gd name="connsiteY1" fmla="*/ 61913 h 107632"/>
                <a:gd name="connsiteX2" fmla="*/ 993458 w 993457"/>
                <a:gd name="connsiteY2" fmla="*/ 107632 h 107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93457" h="107632">
                  <a:moveTo>
                    <a:pt x="0" y="0"/>
                  </a:moveTo>
                  <a:lnTo>
                    <a:pt x="501015" y="61913"/>
                  </a:lnTo>
                  <a:lnTo>
                    <a:pt x="993458" y="107632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078" name="Freeform: Shape 2077">
              <a:extLst>
                <a:ext uri="{FF2B5EF4-FFF2-40B4-BE49-F238E27FC236}">
                  <a16:creationId xmlns:a16="http://schemas.microsoft.com/office/drawing/2014/main" id="{B49D276C-45F7-6814-1058-6E648DE74B84}"/>
                </a:ext>
              </a:extLst>
            </p:cNvPr>
            <p:cNvSpPr/>
            <p:nvPr/>
          </p:nvSpPr>
          <p:spPr>
            <a:xfrm>
              <a:off x="4939664" y="3822382"/>
              <a:ext cx="157162" cy="9525"/>
            </a:xfrm>
            <a:custGeom>
              <a:avLst/>
              <a:gdLst>
                <a:gd name="connsiteX0" fmla="*/ 0 w 157162"/>
                <a:gd name="connsiteY0" fmla="*/ 0 h 9525"/>
                <a:gd name="connsiteX1" fmla="*/ 157163 w 157162"/>
                <a:gd name="connsiteY1" fmla="*/ 9525 h 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7162" h="9525">
                  <a:moveTo>
                    <a:pt x="0" y="0"/>
                  </a:moveTo>
                  <a:lnTo>
                    <a:pt x="157163" y="9525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079" name="Freeform: Shape 2078">
              <a:extLst>
                <a:ext uri="{FF2B5EF4-FFF2-40B4-BE49-F238E27FC236}">
                  <a16:creationId xmlns:a16="http://schemas.microsoft.com/office/drawing/2014/main" id="{782C298A-2682-1089-85A4-D0AC3608BFD8}"/>
                </a:ext>
              </a:extLst>
            </p:cNvPr>
            <p:cNvSpPr/>
            <p:nvPr/>
          </p:nvSpPr>
          <p:spPr>
            <a:xfrm>
              <a:off x="3946207" y="2873692"/>
              <a:ext cx="109537" cy="841057"/>
            </a:xfrm>
            <a:custGeom>
              <a:avLst/>
              <a:gdLst>
                <a:gd name="connsiteX0" fmla="*/ 109537 w 109537"/>
                <a:gd name="connsiteY0" fmla="*/ 0 h 841057"/>
                <a:gd name="connsiteX1" fmla="*/ 0 w 109537"/>
                <a:gd name="connsiteY1" fmla="*/ 841058 h 84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9537" h="841057">
                  <a:moveTo>
                    <a:pt x="109537" y="0"/>
                  </a:moveTo>
                  <a:lnTo>
                    <a:pt x="0" y="841058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080" name="Freeform: Shape 2079">
              <a:extLst>
                <a:ext uri="{FF2B5EF4-FFF2-40B4-BE49-F238E27FC236}">
                  <a16:creationId xmlns:a16="http://schemas.microsoft.com/office/drawing/2014/main" id="{2E938669-FA1C-8831-B8EC-928D39EA9398}"/>
                </a:ext>
              </a:extLst>
            </p:cNvPr>
            <p:cNvSpPr/>
            <p:nvPr/>
          </p:nvSpPr>
          <p:spPr>
            <a:xfrm>
              <a:off x="4055744" y="2873692"/>
              <a:ext cx="784860" cy="86677"/>
            </a:xfrm>
            <a:custGeom>
              <a:avLst/>
              <a:gdLst>
                <a:gd name="connsiteX0" fmla="*/ 0 w 784860"/>
                <a:gd name="connsiteY0" fmla="*/ 0 h 86677"/>
                <a:gd name="connsiteX1" fmla="*/ 427673 w 784860"/>
                <a:gd name="connsiteY1" fmla="*/ 54292 h 86677"/>
                <a:gd name="connsiteX2" fmla="*/ 784860 w 784860"/>
                <a:gd name="connsiteY2" fmla="*/ 86678 h 86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84860" h="86677">
                  <a:moveTo>
                    <a:pt x="0" y="0"/>
                  </a:moveTo>
                  <a:lnTo>
                    <a:pt x="427673" y="54292"/>
                  </a:lnTo>
                  <a:lnTo>
                    <a:pt x="784860" y="86678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081" name="Freeform: Shape 2080">
              <a:extLst>
                <a:ext uri="{FF2B5EF4-FFF2-40B4-BE49-F238E27FC236}">
                  <a16:creationId xmlns:a16="http://schemas.microsoft.com/office/drawing/2014/main" id="{FC61690D-1A1F-7F7E-CA4B-BD70C127A8B2}"/>
                </a:ext>
              </a:extLst>
            </p:cNvPr>
            <p:cNvSpPr/>
            <p:nvPr/>
          </p:nvSpPr>
          <p:spPr>
            <a:xfrm>
              <a:off x="9565956" y="2326004"/>
              <a:ext cx="256222" cy="58102"/>
            </a:xfrm>
            <a:custGeom>
              <a:avLst/>
              <a:gdLst>
                <a:gd name="connsiteX0" fmla="*/ 0 w 256222"/>
                <a:gd name="connsiteY0" fmla="*/ 58103 h 58102"/>
                <a:gd name="connsiteX1" fmla="*/ 100013 w 256222"/>
                <a:gd name="connsiteY1" fmla="*/ 35242 h 58102"/>
                <a:gd name="connsiteX2" fmla="*/ 104775 w 256222"/>
                <a:gd name="connsiteY2" fmla="*/ 41910 h 58102"/>
                <a:gd name="connsiteX3" fmla="*/ 113348 w 256222"/>
                <a:gd name="connsiteY3" fmla="*/ 39053 h 58102"/>
                <a:gd name="connsiteX4" fmla="*/ 113348 w 256222"/>
                <a:gd name="connsiteY4" fmla="*/ 32385 h 58102"/>
                <a:gd name="connsiteX5" fmla="*/ 255270 w 256222"/>
                <a:gd name="connsiteY5" fmla="*/ 0 h 58102"/>
                <a:gd name="connsiteX6" fmla="*/ 256223 w 256222"/>
                <a:gd name="connsiteY6" fmla="*/ 2858 h 58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56222" h="58102">
                  <a:moveTo>
                    <a:pt x="0" y="58103"/>
                  </a:moveTo>
                  <a:lnTo>
                    <a:pt x="100013" y="35242"/>
                  </a:lnTo>
                  <a:lnTo>
                    <a:pt x="104775" y="41910"/>
                  </a:lnTo>
                  <a:lnTo>
                    <a:pt x="113348" y="39053"/>
                  </a:lnTo>
                  <a:lnTo>
                    <a:pt x="113348" y="32385"/>
                  </a:lnTo>
                  <a:lnTo>
                    <a:pt x="255270" y="0"/>
                  </a:lnTo>
                  <a:lnTo>
                    <a:pt x="256223" y="2858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082" name="Freeform: Shape 2081">
              <a:extLst>
                <a:ext uri="{FF2B5EF4-FFF2-40B4-BE49-F238E27FC236}">
                  <a16:creationId xmlns:a16="http://schemas.microsoft.com/office/drawing/2014/main" id="{F2240F20-5A9D-0DA9-E8B7-C45C5B48FCCC}"/>
                </a:ext>
              </a:extLst>
            </p:cNvPr>
            <p:cNvSpPr/>
            <p:nvPr/>
          </p:nvSpPr>
          <p:spPr>
            <a:xfrm>
              <a:off x="9565956" y="2384107"/>
              <a:ext cx="43815" cy="222884"/>
            </a:xfrm>
            <a:custGeom>
              <a:avLst/>
              <a:gdLst>
                <a:gd name="connsiteX0" fmla="*/ 26670 w 43815"/>
                <a:gd name="connsiteY0" fmla="*/ 222885 h 222884"/>
                <a:gd name="connsiteX1" fmla="*/ 10478 w 43815"/>
                <a:gd name="connsiteY1" fmla="*/ 201930 h 222884"/>
                <a:gd name="connsiteX2" fmla="*/ 43815 w 43815"/>
                <a:gd name="connsiteY2" fmla="*/ 169545 h 222884"/>
                <a:gd name="connsiteX3" fmla="*/ 26670 w 43815"/>
                <a:gd name="connsiteY3" fmla="*/ 155258 h 222884"/>
                <a:gd name="connsiteX4" fmla="*/ 0 w 43815"/>
                <a:gd name="connsiteY4" fmla="*/ 0 h 2228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815" h="222884">
                  <a:moveTo>
                    <a:pt x="26670" y="222885"/>
                  </a:moveTo>
                  <a:lnTo>
                    <a:pt x="10478" y="201930"/>
                  </a:lnTo>
                  <a:lnTo>
                    <a:pt x="43815" y="169545"/>
                  </a:lnTo>
                  <a:lnTo>
                    <a:pt x="26670" y="155258"/>
                  </a:lnTo>
                  <a:lnTo>
                    <a:pt x="0" y="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083" name="Freeform: Shape 2082">
              <a:extLst>
                <a:ext uri="{FF2B5EF4-FFF2-40B4-BE49-F238E27FC236}">
                  <a16:creationId xmlns:a16="http://schemas.microsoft.com/office/drawing/2014/main" id="{1E362D66-8741-4F60-281D-DF90A620887F}"/>
                </a:ext>
              </a:extLst>
            </p:cNvPr>
            <p:cNvSpPr/>
            <p:nvPr/>
          </p:nvSpPr>
          <p:spPr>
            <a:xfrm>
              <a:off x="9822179" y="2328862"/>
              <a:ext cx="30480" cy="144779"/>
            </a:xfrm>
            <a:custGeom>
              <a:avLst/>
              <a:gdLst>
                <a:gd name="connsiteX0" fmla="*/ 0 w 30480"/>
                <a:gd name="connsiteY0" fmla="*/ 0 h 144779"/>
                <a:gd name="connsiteX1" fmla="*/ 30480 w 30480"/>
                <a:gd name="connsiteY1" fmla="*/ 117158 h 144779"/>
                <a:gd name="connsiteX2" fmla="*/ 26670 w 30480"/>
                <a:gd name="connsiteY2" fmla="*/ 127635 h 144779"/>
                <a:gd name="connsiteX3" fmla="*/ 30480 w 30480"/>
                <a:gd name="connsiteY3" fmla="*/ 144780 h 1447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480" h="144779">
                  <a:moveTo>
                    <a:pt x="0" y="0"/>
                  </a:moveTo>
                  <a:lnTo>
                    <a:pt x="30480" y="117158"/>
                  </a:lnTo>
                  <a:lnTo>
                    <a:pt x="26670" y="127635"/>
                  </a:lnTo>
                  <a:lnTo>
                    <a:pt x="30480" y="14478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084" name="Freeform: Shape 2083">
              <a:extLst>
                <a:ext uri="{FF2B5EF4-FFF2-40B4-BE49-F238E27FC236}">
                  <a16:creationId xmlns:a16="http://schemas.microsoft.com/office/drawing/2014/main" id="{7560FA8E-9904-78B5-FE37-D5E7696538EF}"/>
                </a:ext>
              </a:extLst>
            </p:cNvPr>
            <p:cNvSpPr/>
            <p:nvPr/>
          </p:nvSpPr>
          <p:spPr>
            <a:xfrm>
              <a:off x="9147809" y="3135629"/>
              <a:ext cx="34289" cy="41910"/>
            </a:xfrm>
            <a:custGeom>
              <a:avLst/>
              <a:gdLst>
                <a:gd name="connsiteX0" fmla="*/ 18097 w 34289"/>
                <a:gd name="connsiteY0" fmla="*/ 41910 h 41910"/>
                <a:gd name="connsiteX1" fmla="*/ 34290 w 34289"/>
                <a:gd name="connsiteY1" fmla="*/ 17145 h 41910"/>
                <a:gd name="connsiteX2" fmla="*/ 9525 w 34289"/>
                <a:gd name="connsiteY2" fmla="*/ 0 h 41910"/>
                <a:gd name="connsiteX3" fmla="*/ 0 w 34289"/>
                <a:gd name="connsiteY3" fmla="*/ 16192 h 41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4289" h="41910">
                  <a:moveTo>
                    <a:pt x="18097" y="41910"/>
                  </a:moveTo>
                  <a:lnTo>
                    <a:pt x="34290" y="17145"/>
                  </a:lnTo>
                  <a:lnTo>
                    <a:pt x="9525" y="0"/>
                  </a:lnTo>
                  <a:lnTo>
                    <a:pt x="0" y="16192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085" name="Freeform: Shape 2084">
              <a:extLst>
                <a:ext uri="{FF2B5EF4-FFF2-40B4-BE49-F238E27FC236}">
                  <a16:creationId xmlns:a16="http://schemas.microsoft.com/office/drawing/2014/main" id="{8FF0CFF3-EBE7-F29A-15AE-A9AEF25F7805}"/>
                </a:ext>
              </a:extLst>
            </p:cNvPr>
            <p:cNvSpPr/>
            <p:nvPr/>
          </p:nvSpPr>
          <p:spPr>
            <a:xfrm>
              <a:off x="9147809" y="3151822"/>
              <a:ext cx="18097" cy="25717"/>
            </a:xfrm>
            <a:custGeom>
              <a:avLst/>
              <a:gdLst>
                <a:gd name="connsiteX0" fmla="*/ 0 w 18097"/>
                <a:gd name="connsiteY0" fmla="*/ 0 h 25717"/>
                <a:gd name="connsiteX1" fmla="*/ 4763 w 18097"/>
                <a:gd name="connsiteY1" fmla="*/ 3810 h 25717"/>
                <a:gd name="connsiteX2" fmla="*/ 8572 w 18097"/>
                <a:gd name="connsiteY2" fmla="*/ 4763 h 25717"/>
                <a:gd name="connsiteX3" fmla="*/ 14288 w 18097"/>
                <a:gd name="connsiteY3" fmla="*/ 9525 h 25717"/>
                <a:gd name="connsiteX4" fmla="*/ 17145 w 18097"/>
                <a:gd name="connsiteY4" fmla="*/ 16193 h 25717"/>
                <a:gd name="connsiteX5" fmla="*/ 16192 w 18097"/>
                <a:gd name="connsiteY5" fmla="*/ 20955 h 25717"/>
                <a:gd name="connsiteX6" fmla="*/ 18097 w 18097"/>
                <a:gd name="connsiteY6" fmla="*/ 25718 h 25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097" h="25717">
                  <a:moveTo>
                    <a:pt x="0" y="0"/>
                  </a:moveTo>
                  <a:lnTo>
                    <a:pt x="4763" y="3810"/>
                  </a:lnTo>
                  <a:lnTo>
                    <a:pt x="8572" y="4763"/>
                  </a:lnTo>
                  <a:lnTo>
                    <a:pt x="14288" y="9525"/>
                  </a:lnTo>
                  <a:lnTo>
                    <a:pt x="17145" y="16193"/>
                  </a:lnTo>
                  <a:lnTo>
                    <a:pt x="16192" y="20955"/>
                  </a:lnTo>
                  <a:lnTo>
                    <a:pt x="18097" y="25718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086" name="Freeform: Shape 2085">
              <a:extLst>
                <a:ext uri="{FF2B5EF4-FFF2-40B4-BE49-F238E27FC236}">
                  <a16:creationId xmlns:a16="http://schemas.microsoft.com/office/drawing/2014/main" id="{81377E6B-3828-4818-59C5-9C64318B192A}"/>
                </a:ext>
              </a:extLst>
            </p:cNvPr>
            <p:cNvSpPr/>
            <p:nvPr/>
          </p:nvSpPr>
          <p:spPr>
            <a:xfrm>
              <a:off x="9319259" y="2944177"/>
              <a:ext cx="176212" cy="258127"/>
            </a:xfrm>
            <a:custGeom>
              <a:avLst/>
              <a:gdLst>
                <a:gd name="connsiteX0" fmla="*/ 0 w 176212"/>
                <a:gd name="connsiteY0" fmla="*/ 0 h 258127"/>
                <a:gd name="connsiteX1" fmla="*/ 72390 w 176212"/>
                <a:gd name="connsiteY1" fmla="*/ 258128 h 258127"/>
                <a:gd name="connsiteX2" fmla="*/ 176213 w 176212"/>
                <a:gd name="connsiteY2" fmla="*/ 236220 h 258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6212" h="258127">
                  <a:moveTo>
                    <a:pt x="0" y="0"/>
                  </a:moveTo>
                  <a:lnTo>
                    <a:pt x="72390" y="258128"/>
                  </a:lnTo>
                  <a:lnTo>
                    <a:pt x="176213" y="23622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087" name="Freeform: Shape 2086">
              <a:extLst>
                <a:ext uri="{FF2B5EF4-FFF2-40B4-BE49-F238E27FC236}">
                  <a16:creationId xmlns:a16="http://schemas.microsoft.com/office/drawing/2014/main" id="{794A3446-BA96-E6DD-9DE8-7280CDE1FA87}"/>
                </a:ext>
              </a:extLst>
            </p:cNvPr>
            <p:cNvSpPr/>
            <p:nvPr/>
          </p:nvSpPr>
          <p:spPr>
            <a:xfrm>
              <a:off x="9363074" y="2916554"/>
              <a:ext cx="12382" cy="40957"/>
            </a:xfrm>
            <a:custGeom>
              <a:avLst/>
              <a:gdLst>
                <a:gd name="connsiteX0" fmla="*/ 12382 w 12382"/>
                <a:gd name="connsiteY0" fmla="*/ 0 h 40957"/>
                <a:gd name="connsiteX1" fmla="*/ 2857 w 12382"/>
                <a:gd name="connsiteY1" fmla="*/ 20955 h 40957"/>
                <a:gd name="connsiteX2" fmla="*/ 0 w 12382"/>
                <a:gd name="connsiteY2" fmla="*/ 40958 h 409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382" h="40957">
                  <a:moveTo>
                    <a:pt x="12382" y="0"/>
                  </a:moveTo>
                  <a:lnTo>
                    <a:pt x="2857" y="20955"/>
                  </a:lnTo>
                  <a:lnTo>
                    <a:pt x="0" y="40958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088" name="Freeform: Shape 2087">
              <a:extLst>
                <a:ext uri="{FF2B5EF4-FFF2-40B4-BE49-F238E27FC236}">
                  <a16:creationId xmlns:a16="http://schemas.microsoft.com/office/drawing/2014/main" id="{7AC0689B-3329-46B4-F869-4507AFA963E9}"/>
                </a:ext>
              </a:extLst>
            </p:cNvPr>
            <p:cNvSpPr/>
            <p:nvPr/>
          </p:nvSpPr>
          <p:spPr>
            <a:xfrm>
              <a:off x="9319259" y="2910840"/>
              <a:ext cx="56197" cy="33337"/>
            </a:xfrm>
            <a:custGeom>
              <a:avLst/>
              <a:gdLst>
                <a:gd name="connsiteX0" fmla="*/ 0 w 56197"/>
                <a:gd name="connsiteY0" fmla="*/ 33338 h 33337"/>
                <a:gd name="connsiteX1" fmla="*/ 11430 w 56197"/>
                <a:gd name="connsiteY1" fmla="*/ 13335 h 33337"/>
                <a:gd name="connsiteX2" fmla="*/ 25717 w 56197"/>
                <a:gd name="connsiteY2" fmla="*/ 2857 h 33337"/>
                <a:gd name="connsiteX3" fmla="*/ 40957 w 56197"/>
                <a:gd name="connsiteY3" fmla="*/ 0 h 33337"/>
                <a:gd name="connsiteX4" fmla="*/ 56197 w 56197"/>
                <a:gd name="connsiteY4" fmla="*/ 5715 h 33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197" h="33337">
                  <a:moveTo>
                    <a:pt x="0" y="33338"/>
                  </a:moveTo>
                  <a:lnTo>
                    <a:pt x="11430" y="13335"/>
                  </a:lnTo>
                  <a:lnTo>
                    <a:pt x="25717" y="2857"/>
                  </a:lnTo>
                  <a:lnTo>
                    <a:pt x="40957" y="0"/>
                  </a:lnTo>
                  <a:lnTo>
                    <a:pt x="56197" y="5715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089" name="Freeform: Shape 2088">
              <a:extLst>
                <a:ext uri="{FF2B5EF4-FFF2-40B4-BE49-F238E27FC236}">
                  <a16:creationId xmlns:a16="http://schemas.microsoft.com/office/drawing/2014/main" id="{9A9BE257-7D32-96CD-EA33-E711371828B3}"/>
                </a:ext>
              </a:extLst>
            </p:cNvPr>
            <p:cNvSpPr/>
            <p:nvPr/>
          </p:nvSpPr>
          <p:spPr>
            <a:xfrm>
              <a:off x="8078151" y="4976812"/>
              <a:ext cx="644842" cy="103822"/>
            </a:xfrm>
            <a:custGeom>
              <a:avLst/>
              <a:gdLst>
                <a:gd name="connsiteX0" fmla="*/ 0 w 644842"/>
                <a:gd name="connsiteY0" fmla="*/ 37147 h 103822"/>
                <a:gd name="connsiteX1" fmla="*/ 31433 w 644842"/>
                <a:gd name="connsiteY1" fmla="*/ 94297 h 103822"/>
                <a:gd name="connsiteX2" fmla="*/ 508635 w 644842"/>
                <a:gd name="connsiteY2" fmla="*/ 62865 h 103822"/>
                <a:gd name="connsiteX3" fmla="*/ 514350 w 644842"/>
                <a:gd name="connsiteY3" fmla="*/ 93345 h 103822"/>
                <a:gd name="connsiteX4" fmla="*/ 523875 w 644842"/>
                <a:gd name="connsiteY4" fmla="*/ 103822 h 103822"/>
                <a:gd name="connsiteX5" fmla="*/ 543878 w 644842"/>
                <a:gd name="connsiteY5" fmla="*/ 98107 h 103822"/>
                <a:gd name="connsiteX6" fmla="*/ 548640 w 644842"/>
                <a:gd name="connsiteY6" fmla="*/ 57150 h 103822"/>
                <a:gd name="connsiteX7" fmla="*/ 535305 w 644842"/>
                <a:gd name="connsiteY7" fmla="*/ 37147 h 103822"/>
                <a:gd name="connsiteX8" fmla="*/ 535305 w 644842"/>
                <a:gd name="connsiteY8" fmla="*/ 13335 h 103822"/>
                <a:gd name="connsiteX9" fmla="*/ 556260 w 644842"/>
                <a:gd name="connsiteY9" fmla="*/ 0 h 103822"/>
                <a:gd name="connsiteX10" fmla="*/ 572453 w 644842"/>
                <a:gd name="connsiteY10" fmla="*/ 8572 h 103822"/>
                <a:gd name="connsiteX11" fmla="*/ 610553 w 644842"/>
                <a:gd name="connsiteY11" fmla="*/ 15240 h 103822"/>
                <a:gd name="connsiteX12" fmla="*/ 644843 w 644842"/>
                <a:gd name="connsiteY12" fmla="*/ 12382 h 1038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44842" h="103822">
                  <a:moveTo>
                    <a:pt x="0" y="37147"/>
                  </a:moveTo>
                  <a:lnTo>
                    <a:pt x="31433" y="94297"/>
                  </a:lnTo>
                  <a:lnTo>
                    <a:pt x="508635" y="62865"/>
                  </a:lnTo>
                  <a:lnTo>
                    <a:pt x="514350" y="93345"/>
                  </a:lnTo>
                  <a:lnTo>
                    <a:pt x="523875" y="103822"/>
                  </a:lnTo>
                  <a:lnTo>
                    <a:pt x="543878" y="98107"/>
                  </a:lnTo>
                  <a:lnTo>
                    <a:pt x="548640" y="57150"/>
                  </a:lnTo>
                  <a:lnTo>
                    <a:pt x="535305" y="37147"/>
                  </a:lnTo>
                  <a:lnTo>
                    <a:pt x="535305" y="13335"/>
                  </a:lnTo>
                  <a:lnTo>
                    <a:pt x="556260" y="0"/>
                  </a:lnTo>
                  <a:lnTo>
                    <a:pt x="572453" y="8572"/>
                  </a:lnTo>
                  <a:lnTo>
                    <a:pt x="610553" y="15240"/>
                  </a:lnTo>
                  <a:lnTo>
                    <a:pt x="644843" y="12382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090" name="Freeform: Shape 2089">
              <a:extLst>
                <a:ext uri="{FF2B5EF4-FFF2-40B4-BE49-F238E27FC236}">
                  <a16:creationId xmlns:a16="http://schemas.microsoft.com/office/drawing/2014/main" id="{259CD809-E877-1449-B6BC-9EBD8266ACB0}"/>
                </a:ext>
              </a:extLst>
            </p:cNvPr>
            <p:cNvSpPr/>
            <p:nvPr/>
          </p:nvSpPr>
          <p:spPr>
            <a:xfrm>
              <a:off x="8096249" y="4135755"/>
              <a:ext cx="203835" cy="28575"/>
            </a:xfrm>
            <a:custGeom>
              <a:avLst/>
              <a:gdLst>
                <a:gd name="connsiteX0" fmla="*/ 0 w 203835"/>
                <a:gd name="connsiteY0" fmla="*/ 28575 h 28575"/>
                <a:gd name="connsiteX1" fmla="*/ 203835 w 203835"/>
                <a:gd name="connsiteY1" fmla="*/ 0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3835" h="28575">
                  <a:moveTo>
                    <a:pt x="0" y="28575"/>
                  </a:moveTo>
                  <a:lnTo>
                    <a:pt x="203835" y="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091" name="Freeform: Shape 2090">
              <a:extLst>
                <a:ext uri="{FF2B5EF4-FFF2-40B4-BE49-F238E27FC236}">
                  <a16:creationId xmlns:a16="http://schemas.microsoft.com/office/drawing/2014/main" id="{C48358CE-33D7-549D-1206-E91059A687B2}"/>
                </a:ext>
              </a:extLst>
            </p:cNvPr>
            <p:cNvSpPr/>
            <p:nvPr/>
          </p:nvSpPr>
          <p:spPr>
            <a:xfrm>
              <a:off x="8267699" y="4135755"/>
              <a:ext cx="508635" cy="557212"/>
            </a:xfrm>
            <a:custGeom>
              <a:avLst/>
              <a:gdLst>
                <a:gd name="connsiteX0" fmla="*/ 32385 w 508635"/>
                <a:gd name="connsiteY0" fmla="*/ 0 h 557212"/>
                <a:gd name="connsiteX1" fmla="*/ 31432 w 508635"/>
                <a:gd name="connsiteY1" fmla="*/ 18097 h 557212"/>
                <a:gd name="connsiteX2" fmla="*/ 13335 w 508635"/>
                <a:gd name="connsiteY2" fmla="*/ 27622 h 557212"/>
                <a:gd name="connsiteX3" fmla="*/ 0 w 508635"/>
                <a:gd name="connsiteY3" fmla="*/ 58102 h 557212"/>
                <a:gd name="connsiteX4" fmla="*/ 1905 w 508635"/>
                <a:gd name="connsiteY4" fmla="*/ 70485 h 557212"/>
                <a:gd name="connsiteX5" fmla="*/ 60007 w 508635"/>
                <a:gd name="connsiteY5" fmla="*/ 106680 h 557212"/>
                <a:gd name="connsiteX6" fmla="*/ 84773 w 508635"/>
                <a:gd name="connsiteY6" fmla="*/ 103822 h 557212"/>
                <a:gd name="connsiteX7" fmla="*/ 114300 w 508635"/>
                <a:gd name="connsiteY7" fmla="*/ 141922 h 557212"/>
                <a:gd name="connsiteX8" fmla="*/ 118110 w 508635"/>
                <a:gd name="connsiteY8" fmla="*/ 158115 h 557212"/>
                <a:gd name="connsiteX9" fmla="*/ 158115 w 508635"/>
                <a:gd name="connsiteY9" fmla="*/ 206692 h 557212"/>
                <a:gd name="connsiteX10" fmla="*/ 182880 w 508635"/>
                <a:gd name="connsiteY10" fmla="*/ 222885 h 557212"/>
                <a:gd name="connsiteX11" fmla="*/ 196215 w 508635"/>
                <a:gd name="connsiteY11" fmla="*/ 224790 h 557212"/>
                <a:gd name="connsiteX12" fmla="*/ 217170 w 508635"/>
                <a:gd name="connsiteY12" fmla="*/ 240030 h 557212"/>
                <a:gd name="connsiteX13" fmla="*/ 227648 w 508635"/>
                <a:gd name="connsiteY13" fmla="*/ 260985 h 557212"/>
                <a:gd name="connsiteX14" fmla="*/ 246698 w 508635"/>
                <a:gd name="connsiteY14" fmla="*/ 276225 h 557212"/>
                <a:gd name="connsiteX15" fmla="*/ 263843 w 508635"/>
                <a:gd name="connsiteY15" fmla="*/ 280988 h 557212"/>
                <a:gd name="connsiteX16" fmla="*/ 289560 w 508635"/>
                <a:gd name="connsiteY16" fmla="*/ 306705 h 557212"/>
                <a:gd name="connsiteX17" fmla="*/ 290513 w 508635"/>
                <a:gd name="connsiteY17" fmla="*/ 320040 h 557212"/>
                <a:gd name="connsiteX18" fmla="*/ 315277 w 508635"/>
                <a:gd name="connsiteY18" fmla="*/ 346710 h 557212"/>
                <a:gd name="connsiteX19" fmla="*/ 362902 w 508635"/>
                <a:gd name="connsiteY19" fmla="*/ 368617 h 557212"/>
                <a:gd name="connsiteX20" fmla="*/ 397193 w 508635"/>
                <a:gd name="connsiteY20" fmla="*/ 432435 h 557212"/>
                <a:gd name="connsiteX21" fmla="*/ 400050 w 508635"/>
                <a:gd name="connsiteY21" fmla="*/ 458152 h 557212"/>
                <a:gd name="connsiteX22" fmla="*/ 437198 w 508635"/>
                <a:gd name="connsiteY22" fmla="*/ 478155 h 557212"/>
                <a:gd name="connsiteX23" fmla="*/ 461010 w 508635"/>
                <a:gd name="connsiteY23" fmla="*/ 523875 h 557212"/>
                <a:gd name="connsiteX24" fmla="*/ 468630 w 508635"/>
                <a:gd name="connsiteY24" fmla="*/ 553402 h 557212"/>
                <a:gd name="connsiteX25" fmla="*/ 508635 w 508635"/>
                <a:gd name="connsiteY25" fmla="*/ 557213 h 557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508635" h="557212">
                  <a:moveTo>
                    <a:pt x="32385" y="0"/>
                  </a:moveTo>
                  <a:lnTo>
                    <a:pt x="31432" y="18097"/>
                  </a:lnTo>
                  <a:lnTo>
                    <a:pt x="13335" y="27622"/>
                  </a:lnTo>
                  <a:lnTo>
                    <a:pt x="0" y="58102"/>
                  </a:lnTo>
                  <a:lnTo>
                    <a:pt x="1905" y="70485"/>
                  </a:lnTo>
                  <a:lnTo>
                    <a:pt x="60007" y="106680"/>
                  </a:lnTo>
                  <a:lnTo>
                    <a:pt x="84773" y="103822"/>
                  </a:lnTo>
                  <a:lnTo>
                    <a:pt x="114300" y="141922"/>
                  </a:lnTo>
                  <a:lnTo>
                    <a:pt x="118110" y="158115"/>
                  </a:lnTo>
                  <a:lnTo>
                    <a:pt x="158115" y="206692"/>
                  </a:lnTo>
                  <a:lnTo>
                    <a:pt x="182880" y="222885"/>
                  </a:lnTo>
                  <a:lnTo>
                    <a:pt x="196215" y="224790"/>
                  </a:lnTo>
                  <a:lnTo>
                    <a:pt x="217170" y="240030"/>
                  </a:lnTo>
                  <a:lnTo>
                    <a:pt x="227648" y="260985"/>
                  </a:lnTo>
                  <a:lnTo>
                    <a:pt x="246698" y="276225"/>
                  </a:lnTo>
                  <a:lnTo>
                    <a:pt x="263843" y="280988"/>
                  </a:lnTo>
                  <a:lnTo>
                    <a:pt x="289560" y="306705"/>
                  </a:lnTo>
                  <a:lnTo>
                    <a:pt x="290513" y="320040"/>
                  </a:lnTo>
                  <a:lnTo>
                    <a:pt x="315277" y="346710"/>
                  </a:lnTo>
                  <a:lnTo>
                    <a:pt x="362902" y="368617"/>
                  </a:lnTo>
                  <a:lnTo>
                    <a:pt x="397193" y="432435"/>
                  </a:lnTo>
                  <a:lnTo>
                    <a:pt x="400050" y="458152"/>
                  </a:lnTo>
                  <a:lnTo>
                    <a:pt x="437198" y="478155"/>
                  </a:lnTo>
                  <a:lnTo>
                    <a:pt x="461010" y="523875"/>
                  </a:lnTo>
                  <a:lnTo>
                    <a:pt x="468630" y="553402"/>
                  </a:lnTo>
                  <a:lnTo>
                    <a:pt x="508635" y="557213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092" name="Freeform: Shape 2091">
              <a:extLst>
                <a:ext uri="{FF2B5EF4-FFF2-40B4-BE49-F238E27FC236}">
                  <a16:creationId xmlns:a16="http://schemas.microsoft.com/office/drawing/2014/main" id="{05EB87C4-D2DA-3704-D633-A7AD0EDE3408}"/>
                </a:ext>
              </a:extLst>
            </p:cNvPr>
            <p:cNvSpPr/>
            <p:nvPr/>
          </p:nvSpPr>
          <p:spPr>
            <a:xfrm>
              <a:off x="7878126" y="4164330"/>
              <a:ext cx="218122" cy="27622"/>
            </a:xfrm>
            <a:custGeom>
              <a:avLst/>
              <a:gdLst>
                <a:gd name="connsiteX0" fmla="*/ 0 w 218122"/>
                <a:gd name="connsiteY0" fmla="*/ 27622 h 27622"/>
                <a:gd name="connsiteX1" fmla="*/ 218123 w 218122"/>
                <a:gd name="connsiteY1" fmla="*/ 0 h 27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8122" h="27622">
                  <a:moveTo>
                    <a:pt x="0" y="27622"/>
                  </a:moveTo>
                  <a:lnTo>
                    <a:pt x="218123" y="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093" name="Freeform: Shape 2092">
              <a:extLst>
                <a:ext uri="{FF2B5EF4-FFF2-40B4-BE49-F238E27FC236}">
                  <a16:creationId xmlns:a16="http://schemas.microsoft.com/office/drawing/2014/main" id="{C1F8988D-6F0D-FC97-6EA3-3675D8CBF515}"/>
                </a:ext>
              </a:extLst>
            </p:cNvPr>
            <p:cNvSpPr/>
            <p:nvPr/>
          </p:nvSpPr>
          <p:spPr>
            <a:xfrm>
              <a:off x="6832281" y="2676525"/>
              <a:ext cx="180022" cy="454342"/>
            </a:xfrm>
            <a:custGeom>
              <a:avLst/>
              <a:gdLst>
                <a:gd name="connsiteX0" fmla="*/ 0 w 180022"/>
                <a:gd name="connsiteY0" fmla="*/ 454342 h 454342"/>
                <a:gd name="connsiteX1" fmla="*/ 6668 w 180022"/>
                <a:gd name="connsiteY1" fmla="*/ 447675 h 454342"/>
                <a:gd name="connsiteX2" fmla="*/ 7620 w 180022"/>
                <a:gd name="connsiteY2" fmla="*/ 425767 h 454342"/>
                <a:gd name="connsiteX3" fmla="*/ 953 w 180022"/>
                <a:gd name="connsiteY3" fmla="*/ 417195 h 454342"/>
                <a:gd name="connsiteX4" fmla="*/ 10478 w 180022"/>
                <a:gd name="connsiteY4" fmla="*/ 402908 h 454342"/>
                <a:gd name="connsiteX5" fmla="*/ 27623 w 180022"/>
                <a:gd name="connsiteY5" fmla="*/ 397192 h 454342"/>
                <a:gd name="connsiteX6" fmla="*/ 36195 w 180022"/>
                <a:gd name="connsiteY6" fmla="*/ 394335 h 454342"/>
                <a:gd name="connsiteX7" fmla="*/ 45720 w 180022"/>
                <a:gd name="connsiteY7" fmla="*/ 382905 h 454342"/>
                <a:gd name="connsiteX8" fmla="*/ 45720 w 180022"/>
                <a:gd name="connsiteY8" fmla="*/ 360045 h 454342"/>
                <a:gd name="connsiteX9" fmla="*/ 61913 w 180022"/>
                <a:gd name="connsiteY9" fmla="*/ 337185 h 454342"/>
                <a:gd name="connsiteX10" fmla="*/ 66675 w 180022"/>
                <a:gd name="connsiteY10" fmla="*/ 332422 h 454342"/>
                <a:gd name="connsiteX11" fmla="*/ 67628 w 180022"/>
                <a:gd name="connsiteY11" fmla="*/ 299085 h 454342"/>
                <a:gd name="connsiteX12" fmla="*/ 59055 w 180022"/>
                <a:gd name="connsiteY12" fmla="*/ 285750 h 454342"/>
                <a:gd name="connsiteX13" fmla="*/ 49530 w 180022"/>
                <a:gd name="connsiteY13" fmla="*/ 282892 h 454342"/>
                <a:gd name="connsiteX14" fmla="*/ 39053 w 180022"/>
                <a:gd name="connsiteY14" fmla="*/ 267653 h 454342"/>
                <a:gd name="connsiteX15" fmla="*/ 48578 w 180022"/>
                <a:gd name="connsiteY15" fmla="*/ 229553 h 454342"/>
                <a:gd name="connsiteX16" fmla="*/ 77153 w 180022"/>
                <a:gd name="connsiteY16" fmla="*/ 221933 h 454342"/>
                <a:gd name="connsiteX17" fmla="*/ 100013 w 180022"/>
                <a:gd name="connsiteY17" fmla="*/ 221933 h 454342"/>
                <a:gd name="connsiteX18" fmla="*/ 140018 w 180022"/>
                <a:gd name="connsiteY18" fmla="*/ 204788 h 454342"/>
                <a:gd name="connsiteX19" fmla="*/ 156210 w 180022"/>
                <a:gd name="connsiteY19" fmla="*/ 183833 h 454342"/>
                <a:gd name="connsiteX20" fmla="*/ 157163 w 180022"/>
                <a:gd name="connsiteY20" fmla="*/ 160972 h 454342"/>
                <a:gd name="connsiteX21" fmla="*/ 167640 w 180022"/>
                <a:gd name="connsiteY21" fmla="*/ 148590 h 454342"/>
                <a:gd name="connsiteX22" fmla="*/ 180023 w 180022"/>
                <a:gd name="connsiteY22" fmla="*/ 118110 h 454342"/>
                <a:gd name="connsiteX23" fmla="*/ 179070 w 180022"/>
                <a:gd name="connsiteY23" fmla="*/ 93345 h 454342"/>
                <a:gd name="connsiteX24" fmla="*/ 152400 w 180022"/>
                <a:gd name="connsiteY24" fmla="*/ 60008 h 454342"/>
                <a:gd name="connsiteX25" fmla="*/ 140970 w 180022"/>
                <a:gd name="connsiteY25" fmla="*/ 60008 h 454342"/>
                <a:gd name="connsiteX26" fmla="*/ 132398 w 180022"/>
                <a:gd name="connsiteY26" fmla="*/ 49530 h 454342"/>
                <a:gd name="connsiteX27" fmla="*/ 134303 w 180022"/>
                <a:gd name="connsiteY27" fmla="*/ 34290 h 454342"/>
                <a:gd name="connsiteX28" fmla="*/ 118110 w 180022"/>
                <a:gd name="connsiteY28" fmla="*/ 18097 h 454342"/>
                <a:gd name="connsiteX29" fmla="*/ 94298 w 180022"/>
                <a:gd name="connsiteY29" fmla="*/ 5715 h 454342"/>
                <a:gd name="connsiteX30" fmla="*/ 99060 w 180022"/>
                <a:gd name="connsiteY30" fmla="*/ 0 h 454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180022" h="454342">
                  <a:moveTo>
                    <a:pt x="0" y="454342"/>
                  </a:moveTo>
                  <a:lnTo>
                    <a:pt x="6668" y="447675"/>
                  </a:lnTo>
                  <a:lnTo>
                    <a:pt x="7620" y="425767"/>
                  </a:lnTo>
                  <a:lnTo>
                    <a:pt x="953" y="417195"/>
                  </a:lnTo>
                  <a:lnTo>
                    <a:pt x="10478" y="402908"/>
                  </a:lnTo>
                  <a:lnTo>
                    <a:pt x="27623" y="397192"/>
                  </a:lnTo>
                  <a:lnTo>
                    <a:pt x="36195" y="394335"/>
                  </a:lnTo>
                  <a:lnTo>
                    <a:pt x="45720" y="382905"/>
                  </a:lnTo>
                  <a:lnTo>
                    <a:pt x="45720" y="360045"/>
                  </a:lnTo>
                  <a:lnTo>
                    <a:pt x="61913" y="337185"/>
                  </a:lnTo>
                  <a:lnTo>
                    <a:pt x="66675" y="332422"/>
                  </a:lnTo>
                  <a:lnTo>
                    <a:pt x="67628" y="299085"/>
                  </a:lnTo>
                  <a:lnTo>
                    <a:pt x="59055" y="285750"/>
                  </a:lnTo>
                  <a:lnTo>
                    <a:pt x="49530" y="282892"/>
                  </a:lnTo>
                  <a:lnTo>
                    <a:pt x="39053" y="267653"/>
                  </a:lnTo>
                  <a:lnTo>
                    <a:pt x="48578" y="229553"/>
                  </a:lnTo>
                  <a:lnTo>
                    <a:pt x="77153" y="221933"/>
                  </a:lnTo>
                  <a:lnTo>
                    <a:pt x="100013" y="221933"/>
                  </a:lnTo>
                  <a:lnTo>
                    <a:pt x="140018" y="204788"/>
                  </a:lnTo>
                  <a:lnTo>
                    <a:pt x="156210" y="183833"/>
                  </a:lnTo>
                  <a:lnTo>
                    <a:pt x="157163" y="160972"/>
                  </a:lnTo>
                  <a:lnTo>
                    <a:pt x="167640" y="148590"/>
                  </a:lnTo>
                  <a:lnTo>
                    <a:pt x="180023" y="118110"/>
                  </a:lnTo>
                  <a:lnTo>
                    <a:pt x="179070" y="93345"/>
                  </a:lnTo>
                  <a:lnTo>
                    <a:pt x="152400" y="60008"/>
                  </a:lnTo>
                  <a:lnTo>
                    <a:pt x="140970" y="60008"/>
                  </a:lnTo>
                  <a:lnTo>
                    <a:pt x="132398" y="49530"/>
                  </a:lnTo>
                  <a:lnTo>
                    <a:pt x="134303" y="34290"/>
                  </a:lnTo>
                  <a:lnTo>
                    <a:pt x="118110" y="18097"/>
                  </a:lnTo>
                  <a:lnTo>
                    <a:pt x="94298" y="5715"/>
                  </a:lnTo>
                  <a:lnTo>
                    <a:pt x="99060" y="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094" name="Freeform: Shape 2093">
              <a:extLst>
                <a:ext uri="{FF2B5EF4-FFF2-40B4-BE49-F238E27FC236}">
                  <a16:creationId xmlns:a16="http://schemas.microsoft.com/office/drawing/2014/main" id="{C508C1DD-294C-9E96-85D0-749F4B168BDB}"/>
                </a:ext>
              </a:extLst>
            </p:cNvPr>
            <p:cNvSpPr/>
            <p:nvPr/>
          </p:nvSpPr>
          <p:spPr>
            <a:xfrm>
              <a:off x="6039802" y="2470784"/>
              <a:ext cx="791527" cy="15240"/>
            </a:xfrm>
            <a:custGeom>
              <a:avLst/>
              <a:gdLst>
                <a:gd name="connsiteX0" fmla="*/ 0 w 791527"/>
                <a:gd name="connsiteY0" fmla="*/ 15240 h 15240"/>
                <a:gd name="connsiteX1" fmla="*/ 268605 w 791527"/>
                <a:gd name="connsiteY1" fmla="*/ 15240 h 15240"/>
                <a:gd name="connsiteX2" fmla="*/ 614362 w 791527"/>
                <a:gd name="connsiteY2" fmla="*/ 6668 h 15240"/>
                <a:gd name="connsiteX3" fmla="*/ 791528 w 791527"/>
                <a:gd name="connsiteY3" fmla="*/ 0 h 152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91527" h="15240">
                  <a:moveTo>
                    <a:pt x="0" y="15240"/>
                  </a:moveTo>
                  <a:lnTo>
                    <a:pt x="268605" y="15240"/>
                  </a:lnTo>
                  <a:lnTo>
                    <a:pt x="614362" y="6668"/>
                  </a:lnTo>
                  <a:lnTo>
                    <a:pt x="791528" y="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095" name="Freeform: Shape 2094">
              <a:extLst>
                <a:ext uri="{FF2B5EF4-FFF2-40B4-BE49-F238E27FC236}">
                  <a16:creationId xmlns:a16="http://schemas.microsoft.com/office/drawing/2014/main" id="{EB724F70-F367-4AF0-93C3-44948BF718E2}"/>
                </a:ext>
              </a:extLst>
            </p:cNvPr>
            <p:cNvSpPr/>
            <p:nvPr/>
          </p:nvSpPr>
          <p:spPr>
            <a:xfrm>
              <a:off x="6143624" y="3085147"/>
              <a:ext cx="688657" cy="45720"/>
            </a:xfrm>
            <a:custGeom>
              <a:avLst/>
              <a:gdLst>
                <a:gd name="connsiteX0" fmla="*/ 0 w 688657"/>
                <a:gd name="connsiteY0" fmla="*/ 18098 h 45720"/>
                <a:gd name="connsiteX1" fmla="*/ 246697 w 688657"/>
                <a:gd name="connsiteY1" fmla="*/ 19050 h 45720"/>
                <a:gd name="connsiteX2" fmla="*/ 505777 w 688657"/>
                <a:gd name="connsiteY2" fmla="*/ 7620 h 45720"/>
                <a:gd name="connsiteX3" fmla="*/ 641985 w 688657"/>
                <a:gd name="connsiteY3" fmla="*/ 0 h 45720"/>
                <a:gd name="connsiteX4" fmla="*/ 658177 w 688657"/>
                <a:gd name="connsiteY4" fmla="*/ 12383 h 45720"/>
                <a:gd name="connsiteX5" fmla="*/ 663893 w 688657"/>
                <a:gd name="connsiteY5" fmla="*/ 27623 h 45720"/>
                <a:gd name="connsiteX6" fmla="*/ 674370 w 688657"/>
                <a:gd name="connsiteY6" fmla="*/ 38100 h 45720"/>
                <a:gd name="connsiteX7" fmla="*/ 688657 w 688657"/>
                <a:gd name="connsiteY7" fmla="*/ 45720 h 45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8657" h="45720">
                  <a:moveTo>
                    <a:pt x="0" y="18098"/>
                  </a:moveTo>
                  <a:lnTo>
                    <a:pt x="246697" y="19050"/>
                  </a:lnTo>
                  <a:lnTo>
                    <a:pt x="505777" y="7620"/>
                  </a:lnTo>
                  <a:lnTo>
                    <a:pt x="641985" y="0"/>
                  </a:lnTo>
                  <a:lnTo>
                    <a:pt x="658177" y="12383"/>
                  </a:lnTo>
                  <a:lnTo>
                    <a:pt x="663893" y="27623"/>
                  </a:lnTo>
                  <a:lnTo>
                    <a:pt x="674370" y="38100"/>
                  </a:lnTo>
                  <a:lnTo>
                    <a:pt x="688657" y="4572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096" name="Freeform: Shape 2095">
              <a:extLst>
                <a:ext uri="{FF2B5EF4-FFF2-40B4-BE49-F238E27FC236}">
                  <a16:creationId xmlns:a16="http://schemas.microsoft.com/office/drawing/2014/main" id="{94D4F146-6E1E-4016-39C1-1B6D5A0A5E20}"/>
                </a:ext>
              </a:extLst>
            </p:cNvPr>
            <p:cNvSpPr/>
            <p:nvPr/>
          </p:nvSpPr>
          <p:spPr>
            <a:xfrm>
              <a:off x="6038849" y="2697479"/>
              <a:ext cx="104775" cy="405765"/>
            </a:xfrm>
            <a:custGeom>
              <a:avLst/>
              <a:gdLst>
                <a:gd name="connsiteX0" fmla="*/ 104775 w 104775"/>
                <a:gd name="connsiteY0" fmla="*/ 405765 h 405765"/>
                <a:gd name="connsiteX1" fmla="*/ 87630 w 104775"/>
                <a:gd name="connsiteY1" fmla="*/ 363855 h 405765"/>
                <a:gd name="connsiteX2" fmla="*/ 94297 w 104775"/>
                <a:gd name="connsiteY2" fmla="*/ 342900 h 405765"/>
                <a:gd name="connsiteX3" fmla="*/ 86678 w 104775"/>
                <a:gd name="connsiteY3" fmla="*/ 311467 h 405765"/>
                <a:gd name="connsiteX4" fmla="*/ 88582 w 104775"/>
                <a:gd name="connsiteY4" fmla="*/ 283845 h 405765"/>
                <a:gd name="connsiteX5" fmla="*/ 76200 w 104775"/>
                <a:gd name="connsiteY5" fmla="*/ 277178 h 405765"/>
                <a:gd name="connsiteX6" fmla="*/ 72390 w 104775"/>
                <a:gd name="connsiteY6" fmla="*/ 219075 h 405765"/>
                <a:gd name="connsiteX7" fmla="*/ 45720 w 104775"/>
                <a:gd name="connsiteY7" fmla="*/ 171450 h 405765"/>
                <a:gd name="connsiteX8" fmla="*/ 43815 w 104775"/>
                <a:gd name="connsiteY8" fmla="*/ 136208 h 405765"/>
                <a:gd name="connsiteX9" fmla="*/ 22860 w 104775"/>
                <a:gd name="connsiteY9" fmla="*/ 95250 h 405765"/>
                <a:gd name="connsiteX10" fmla="*/ 10478 w 104775"/>
                <a:gd name="connsiteY10" fmla="*/ 60008 h 405765"/>
                <a:gd name="connsiteX11" fmla="*/ 10478 w 104775"/>
                <a:gd name="connsiteY11" fmla="*/ 46673 h 405765"/>
                <a:gd name="connsiteX12" fmla="*/ 4763 w 104775"/>
                <a:gd name="connsiteY12" fmla="*/ 30480 h 405765"/>
                <a:gd name="connsiteX13" fmla="*/ 4763 w 104775"/>
                <a:gd name="connsiteY13" fmla="*/ 8573 h 405765"/>
                <a:gd name="connsiteX14" fmla="*/ 0 w 104775"/>
                <a:gd name="connsiteY14" fmla="*/ 0 h 405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04775" h="405765">
                  <a:moveTo>
                    <a:pt x="104775" y="405765"/>
                  </a:moveTo>
                  <a:lnTo>
                    <a:pt x="87630" y="363855"/>
                  </a:lnTo>
                  <a:lnTo>
                    <a:pt x="94297" y="342900"/>
                  </a:lnTo>
                  <a:lnTo>
                    <a:pt x="86678" y="311467"/>
                  </a:lnTo>
                  <a:lnTo>
                    <a:pt x="88582" y="283845"/>
                  </a:lnTo>
                  <a:lnTo>
                    <a:pt x="76200" y="277178"/>
                  </a:lnTo>
                  <a:lnTo>
                    <a:pt x="72390" y="219075"/>
                  </a:lnTo>
                  <a:lnTo>
                    <a:pt x="45720" y="171450"/>
                  </a:lnTo>
                  <a:lnTo>
                    <a:pt x="43815" y="136208"/>
                  </a:lnTo>
                  <a:lnTo>
                    <a:pt x="22860" y="95250"/>
                  </a:lnTo>
                  <a:lnTo>
                    <a:pt x="10478" y="60008"/>
                  </a:lnTo>
                  <a:lnTo>
                    <a:pt x="10478" y="46673"/>
                  </a:lnTo>
                  <a:lnTo>
                    <a:pt x="4763" y="30480"/>
                  </a:lnTo>
                  <a:lnTo>
                    <a:pt x="4763" y="8573"/>
                  </a:lnTo>
                  <a:lnTo>
                    <a:pt x="0" y="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097" name="Freeform: Shape 2096">
              <a:extLst>
                <a:ext uri="{FF2B5EF4-FFF2-40B4-BE49-F238E27FC236}">
                  <a16:creationId xmlns:a16="http://schemas.microsoft.com/office/drawing/2014/main" id="{01B1A716-C77F-62DB-64C7-9F64A11F1535}"/>
                </a:ext>
              </a:extLst>
            </p:cNvPr>
            <p:cNvSpPr/>
            <p:nvPr/>
          </p:nvSpPr>
          <p:spPr>
            <a:xfrm>
              <a:off x="6016942" y="2485072"/>
              <a:ext cx="25717" cy="212407"/>
            </a:xfrm>
            <a:custGeom>
              <a:avLst/>
              <a:gdLst>
                <a:gd name="connsiteX0" fmla="*/ 21907 w 25717"/>
                <a:gd name="connsiteY0" fmla="*/ 212408 h 212407"/>
                <a:gd name="connsiteX1" fmla="*/ 15240 w 25717"/>
                <a:gd name="connsiteY1" fmla="*/ 196215 h 212407"/>
                <a:gd name="connsiteX2" fmla="*/ 12382 w 25717"/>
                <a:gd name="connsiteY2" fmla="*/ 183833 h 212407"/>
                <a:gd name="connsiteX3" fmla="*/ 0 w 25717"/>
                <a:gd name="connsiteY3" fmla="*/ 172403 h 212407"/>
                <a:gd name="connsiteX4" fmla="*/ 9525 w 25717"/>
                <a:gd name="connsiteY4" fmla="*/ 131445 h 212407"/>
                <a:gd name="connsiteX5" fmla="*/ 25717 w 25717"/>
                <a:gd name="connsiteY5" fmla="*/ 82868 h 212407"/>
                <a:gd name="connsiteX6" fmla="*/ 19050 w 25717"/>
                <a:gd name="connsiteY6" fmla="*/ 63818 h 212407"/>
                <a:gd name="connsiteX7" fmla="*/ 6667 w 25717"/>
                <a:gd name="connsiteY7" fmla="*/ 60008 h 212407"/>
                <a:gd name="connsiteX8" fmla="*/ 2857 w 25717"/>
                <a:gd name="connsiteY8" fmla="*/ 44768 h 212407"/>
                <a:gd name="connsiteX9" fmla="*/ 12382 w 25717"/>
                <a:gd name="connsiteY9" fmla="*/ 40005 h 212407"/>
                <a:gd name="connsiteX10" fmla="*/ 13335 w 25717"/>
                <a:gd name="connsiteY10" fmla="*/ 29528 h 212407"/>
                <a:gd name="connsiteX11" fmla="*/ 952 w 25717"/>
                <a:gd name="connsiteY11" fmla="*/ 15240 h 212407"/>
                <a:gd name="connsiteX12" fmla="*/ 1905 w 25717"/>
                <a:gd name="connsiteY12" fmla="*/ 0 h 212407"/>
                <a:gd name="connsiteX13" fmla="*/ 22860 w 25717"/>
                <a:gd name="connsiteY13" fmla="*/ 953 h 212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5717" h="212407">
                  <a:moveTo>
                    <a:pt x="21907" y="212408"/>
                  </a:moveTo>
                  <a:lnTo>
                    <a:pt x="15240" y="196215"/>
                  </a:lnTo>
                  <a:lnTo>
                    <a:pt x="12382" y="183833"/>
                  </a:lnTo>
                  <a:lnTo>
                    <a:pt x="0" y="172403"/>
                  </a:lnTo>
                  <a:lnTo>
                    <a:pt x="9525" y="131445"/>
                  </a:lnTo>
                  <a:lnTo>
                    <a:pt x="25717" y="82868"/>
                  </a:lnTo>
                  <a:lnTo>
                    <a:pt x="19050" y="63818"/>
                  </a:lnTo>
                  <a:lnTo>
                    <a:pt x="6667" y="60008"/>
                  </a:lnTo>
                  <a:lnTo>
                    <a:pt x="2857" y="44768"/>
                  </a:lnTo>
                  <a:lnTo>
                    <a:pt x="12382" y="40005"/>
                  </a:lnTo>
                  <a:lnTo>
                    <a:pt x="13335" y="29528"/>
                  </a:lnTo>
                  <a:lnTo>
                    <a:pt x="952" y="15240"/>
                  </a:lnTo>
                  <a:lnTo>
                    <a:pt x="1905" y="0"/>
                  </a:lnTo>
                  <a:lnTo>
                    <a:pt x="22860" y="953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098" name="Freeform: Shape 2097">
              <a:extLst>
                <a:ext uri="{FF2B5EF4-FFF2-40B4-BE49-F238E27FC236}">
                  <a16:creationId xmlns:a16="http://schemas.microsoft.com/office/drawing/2014/main" id="{EA28A686-6A24-170D-340F-EC41FCA411F1}"/>
                </a:ext>
              </a:extLst>
            </p:cNvPr>
            <p:cNvSpPr/>
            <p:nvPr/>
          </p:nvSpPr>
          <p:spPr>
            <a:xfrm>
              <a:off x="6831329" y="2470784"/>
              <a:ext cx="100012" cy="205740"/>
            </a:xfrm>
            <a:custGeom>
              <a:avLst/>
              <a:gdLst>
                <a:gd name="connsiteX0" fmla="*/ 100013 w 100012"/>
                <a:gd name="connsiteY0" fmla="*/ 205740 h 205740"/>
                <a:gd name="connsiteX1" fmla="*/ 87630 w 100012"/>
                <a:gd name="connsiteY1" fmla="*/ 179070 h 205740"/>
                <a:gd name="connsiteX2" fmla="*/ 56197 w 100012"/>
                <a:gd name="connsiteY2" fmla="*/ 172403 h 205740"/>
                <a:gd name="connsiteX3" fmla="*/ 30480 w 100012"/>
                <a:gd name="connsiteY3" fmla="*/ 158115 h 205740"/>
                <a:gd name="connsiteX4" fmla="*/ 11430 w 100012"/>
                <a:gd name="connsiteY4" fmla="*/ 105728 h 205740"/>
                <a:gd name="connsiteX5" fmla="*/ 12382 w 100012"/>
                <a:gd name="connsiteY5" fmla="*/ 81915 h 205740"/>
                <a:gd name="connsiteX6" fmla="*/ 27622 w 100012"/>
                <a:gd name="connsiteY6" fmla="*/ 50483 h 205740"/>
                <a:gd name="connsiteX7" fmla="*/ 21907 w 100012"/>
                <a:gd name="connsiteY7" fmla="*/ 40005 h 205740"/>
                <a:gd name="connsiteX8" fmla="*/ 1905 w 100012"/>
                <a:gd name="connsiteY8" fmla="*/ 24765 h 205740"/>
                <a:gd name="connsiteX9" fmla="*/ 0 w 100012"/>
                <a:gd name="connsiteY9" fmla="*/ 0 h 20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0012" h="205740">
                  <a:moveTo>
                    <a:pt x="100013" y="205740"/>
                  </a:moveTo>
                  <a:lnTo>
                    <a:pt x="87630" y="179070"/>
                  </a:lnTo>
                  <a:lnTo>
                    <a:pt x="56197" y="172403"/>
                  </a:lnTo>
                  <a:lnTo>
                    <a:pt x="30480" y="158115"/>
                  </a:lnTo>
                  <a:lnTo>
                    <a:pt x="11430" y="105728"/>
                  </a:lnTo>
                  <a:lnTo>
                    <a:pt x="12382" y="81915"/>
                  </a:lnTo>
                  <a:lnTo>
                    <a:pt x="27622" y="50483"/>
                  </a:lnTo>
                  <a:lnTo>
                    <a:pt x="21907" y="40005"/>
                  </a:lnTo>
                  <a:lnTo>
                    <a:pt x="1905" y="24765"/>
                  </a:lnTo>
                  <a:lnTo>
                    <a:pt x="0" y="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099" name="Freeform: Shape 2098">
              <a:extLst>
                <a:ext uri="{FF2B5EF4-FFF2-40B4-BE49-F238E27FC236}">
                  <a16:creationId xmlns:a16="http://schemas.microsoft.com/office/drawing/2014/main" id="{E7CE2E72-221A-6D78-3D88-FC2B4C956FC6}"/>
                </a:ext>
              </a:extLst>
            </p:cNvPr>
            <p:cNvSpPr/>
            <p:nvPr/>
          </p:nvSpPr>
          <p:spPr>
            <a:xfrm>
              <a:off x="3281362" y="1042987"/>
              <a:ext cx="581025" cy="1054417"/>
            </a:xfrm>
            <a:custGeom>
              <a:avLst/>
              <a:gdLst>
                <a:gd name="connsiteX0" fmla="*/ 45720 w 581025"/>
                <a:gd name="connsiteY0" fmla="*/ 0 h 1054417"/>
                <a:gd name="connsiteX1" fmla="*/ 0 w 581025"/>
                <a:gd name="connsiteY1" fmla="*/ 209550 h 1054417"/>
                <a:gd name="connsiteX2" fmla="*/ 35242 w 581025"/>
                <a:gd name="connsiteY2" fmla="*/ 280035 h 1054417"/>
                <a:gd name="connsiteX3" fmla="*/ 20003 w 581025"/>
                <a:gd name="connsiteY3" fmla="*/ 325755 h 1054417"/>
                <a:gd name="connsiteX4" fmla="*/ 54292 w 581025"/>
                <a:gd name="connsiteY4" fmla="*/ 371475 h 1054417"/>
                <a:gd name="connsiteX5" fmla="*/ 72390 w 581025"/>
                <a:gd name="connsiteY5" fmla="*/ 378142 h 1054417"/>
                <a:gd name="connsiteX6" fmla="*/ 109538 w 581025"/>
                <a:gd name="connsiteY6" fmla="*/ 457200 h 1054417"/>
                <a:gd name="connsiteX7" fmla="*/ 109538 w 581025"/>
                <a:gd name="connsiteY7" fmla="*/ 477203 h 1054417"/>
                <a:gd name="connsiteX8" fmla="*/ 131445 w 581025"/>
                <a:gd name="connsiteY8" fmla="*/ 505778 h 1054417"/>
                <a:gd name="connsiteX9" fmla="*/ 140017 w 581025"/>
                <a:gd name="connsiteY9" fmla="*/ 505778 h 1054417"/>
                <a:gd name="connsiteX10" fmla="*/ 153353 w 581025"/>
                <a:gd name="connsiteY10" fmla="*/ 525780 h 1054417"/>
                <a:gd name="connsiteX11" fmla="*/ 183833 w 581025"/>
                <a:gd name="connsiteY11" fmla="*/ 525780 h 1054417"/>
                <a:gd name="connsiteX12" fmla="*/ 183833 w 581025"/>
                <a:gd name="connsiteY12" fmla="*/ 541020 h 1054417"/>
                <a:gd name="connsiteX13" fmla="*/ 116205 w 581025"/>
                <a:gd name="connsiteY13" fmla="*/ 702945 h 1054417"/>
                <a:gd name="connsiteX14" fmla="*/ 111442 w 581025"/>
                <a:gd name="connsiteY14" fmla="*/ 741998 h 1054417"/>
                <a:gd name="connsiteX15" fmla="*/ 124778 w 581025"/>
                <a:gd name="connsiteY15" fmla="*/ 746760 h 1054417"/>
                <a:gd name="connsiteX16" fmla="*/ 140017 w 581025"/>
                <a:gd name="connsiteY16" fmla="*/ 771525 h 1054417"/>
                <a:gd name="connsiteX17" fmla="*/ 166688 w 581025"/>
                <a:gd name="connsiteY17" fmla="*/ 758190 h 1054417"/>
                <a:gd name="connsiteX18" fmla="*/ 200978 w 581025"/>
                <a:gd name="connsiteY18" fmla="*/ 735330 h 1054417"/>
                <a:gd name="connsiteX19" fmla="*/ 219075 w 581025"/>
                <a:gd name="connsiteY19" fmla="*/ 753428 h 1054417"/>
                <a:gd name="connsiteX20" fmla="*/ 223838 w 581025"/>
                <a:gd name="connsiteY20" fmla="*/ 777240 h 1054417"/>
                <a:gd name="connsiteX21" fmla="*/ 219075 w 581025"/>
                <a:gd name="connsiteY21" fmla="*/ 807720 h 1054417"/>
                <a:gd name="connsiteX22" fmla="*/ 242888 w 581025"/>
                <a:gd name="connsiteY22" fmla="*/ 900113 h 1054417"/>
                <a:gd name="connsiteX23" fmla="*/ 267653 w 581025"/>
                <a:gd name="connsiteY23" fmla="*/ 933450 h 1054417"/>
                <a:gd name="connsiteX24" fmla="*/ 289560 w 581025"/>
                <a:gd name="connsiteY24" fmla="*/ 946785 h 1054417"/>
                <a:gd name="connsiteX25" fmla="*/ 293370 w 581025"/>
                <a:gd name="connsiteY25" fmla="*/ 975360 h 1054417"/>
                <a:gd name="connsiteX26" fmla="*/ 293370 w 581025"/>
                <a:gd name="connsiteY26" fmla="*/ 1014413 h 1054417"/>
                <a:gd name="connsiteX27" fmla="*/ 315278 w 581025"/>
                <a:gd name="connsiteY27" fmla="*/ 1036320 h 1054417"/>
                <a:gd name="connsiteX28" fmla="*/ 330517 w 581025"/>
                <a:gd name="connsiteY28" fmla="*/ 1014413 h 1054417"/>
                <a:gd name="connsiteX29" fmla="*/ 396240 w 581025"/>
                <a:gd name="connsiteY29" fmla="*/ 1029653 h 1054417"/>
                <a:gd name="connsiteX30" fmla="*/ 416242 w 581025"/>
                <a:gd name="connsiteY30" fmla="*/ 1018222 h 1054417"/>
                <a:gd name="connsiteX31" fmla="*/ 501967 w 581025"/>
                <a:gd name="connsiteY31" fmla="*/ 1034415 h 1054417"/>
                <a:gd name="connsiteX32" fmla="*/ 528638 w 581025"/>
                <a:gd name="connsiteY32" fmla="*/ 1002983 h 1054417"/>
                <a:gd name="connsiteX33" fmla="*/ 545783 w 581025"/>
                <a:gd name="connsiteY33" fmla="*/ 997268 h 1054417"/>
                <a:gd name="connsiteX34" fmla="*/ 557213 w 581025"/>
                <a:gd name="connsiteY34" fmla="*/ 1014413 h 1054417"/>
                <a:gd name="connsiteX35" fmla="*/ 572453 w 581025"/>
                <a:gd name="connsiteY35" fmla="*/ 1053465 h 1054417"/>
                <a:gd name="connsiteX36" fmla="*/ 581025 w 581025"/>
                <a:gd name="connsiteY36" fmla="*/ 1054418 h 1054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581025" h="1054417">
                  <a:moveTo>
                    <a:pt x="45720" y="0"/>
                  </a:moveTo>
                  <a:lnTo>
                    <a:pt x="0" y="209550"/>
                  </a:lnTo>
                  <a:lnTo>
                    <a:pt x="35242" y="280035"/>
                  </a:lnTo>
                  <a:lnTo>
                    <a:pt x="20003" y="325755"/>
                  </a:lnTo>
                  <a:lnTo>
                    <a:pt x="54292" y="371475"/>
                  </a:lnTo>
                  <a:lnTo>
                    <a:pt x="72390" y="378142"/>
                  </a:lnTo>
                  <a:lnTo>
                    <a:pt x="109538" y="457200"/>
                  </a:lnTo>
                  <a:lnTo>
                    <a:pt x="109538" y="477203"/>
                  </a:lnTo>
                  <a:lnTo>
                    <a:pt x="131445" y="505778"/>
                  </a:lnTo>
                  <a:lnTo>
                    <a:pt x="140017" y="505778"/>
                  </a:lnTo>
                  <a:lnTo>
                    <a:pt x="153353" y="525780"/>
                  </a:lnTo>
                  <a:lnTo>
                    <a:pt x="183833" y="525780"/>
                  </a:lnTo>
                  <a:lnTo>
                    <a:pt x="183833" y="541020"/>
                  </a:lnTo>
                  <a:lnTo>
                    <a:pt x="116205" y="702945"/>
                  </a:lnTo>
                  <a:lnTo>
                    <a:pt x="111442" y="741998"/>
                  </a:lnTo>
                  <a:lnTo>
                    <a:pt x="124778" y="746760"/>
                  </a:lnTo>
                  <a:lnTo>
                    <a:pt x="140017" y="771525"/>
                  </a:lnTo>
                  <a:lnTo>
                    <a:pt x="166688" y="758190"/>
                  </a:lnTo>
                  <a:lnTo>
                    <a:pt x="200978" y="735330"/>
                  </a:lnTo>
                  <a:lnTo>
                    <a:pt x="219075" y="753428"/>
                  </a:lnTo>
                  <a:lnTo>
                    <a:pt x="223838" y="777240"/>
                  </a:lnTo>
                  <a:lnTo>
                    <a:pt x="219075" y="807720"/>
                  </a:lnTo>
                  <a:lnTo>
                    <a:pt x="242888" y="900113"/>
                  </a:lnTo>
                  <a:lnTo>
                    <a:pt x="267653" y="933450"/>
                  </a:lnTo>
                  <a:lnTo>
                    <a:pt x="289560" y="946785"/>
                  </a:lnTo>
                  <a:lnTo>
                    <a:pt x="293370" y="975360"/>
                  </a:lnTo>
                  <a:lnTo>
                    <a:pt x="293370" y="1014413"/>
                  </a:lnTo>
                  <a:lnTo>
                    <a:pt x="315278" y="1036320"/>
                  </a:lnTo>
                  <a:lnTo>
                    <a:pt x="330517" y="1014413"/>
                  </a:lnTo>
                  <a:lnTo>
                    <a:pt x="396240" y="1029653"/>
                  </a:lnTo>
                  <a:lnTo>
                    <a:pt x="416242" y="1018222"/>
                  </a:lnTo>
                  <a:lnTo>
                    <a:pt x="501967" y="1034415"/>
                  </a:lnTo>
                  <a:lnTo>
                    <a:pt x="528638" y="1002983"/>
                  </a:lnTo>
                  <a:lnTo>
                    <a:pt x="545783" y="997268"/>
                  </a:lnTo>
                  <a:lnTo>
                    <a:pt x="557213" y="1014413"/>
                  </a:lnTo>
                  <a:lnTo>
                    <a:pt x="572453" y="1053465"/>
                  </a:lnTo>
                  <a:lnTo>
                    <a:pt x="581025" y="1054418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00" name="Freeform: Shape 2099">
              <a:extLst>
                <a:ext uri="{FF2B5EF4-FFF2-40B4-BE49-F238E27FC236}">
                  <a16:creationId xmlns:a16="http://schemas.microsoft.com/office/drawing/2014/main" id="{CFB464F5-D1A7-6C4D-5005-000BBD576AEA}"/>
                </a:ext>
              </a:extLst>
            </p:cNvPr>
            <p:cNvSpPr/>
            <p:nvPr/>
          </p:nvSpPr>
          <p:spPr>
            <a:xfrm>
              <a:off x="2870834" y="2445067"/>
              <a:ext cx="454342" cy="96202"/>
            </a:xfrm>
            <a:custGeom>
              <a:avLst/>
              <a:gdLst>
                <a:gd name="connsiteX0" fmla="*/ 0 w 454342"/>
                <a:gd name="connsiteY0" fmla="*/ 0 h 96202"/>
                <a:gd name="connsiteX1" fmla="*/ 232410 w 454342"/>
                <a:gd name="connsiteY1" fmla="*/ 51435 h 96202"/>
                <a:gd name="connsiteX2" fmla="*/ 454343 w 454342"/>
                <a:gd name="connsiteY2" fmla="*/ 96203 h 96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4342" h="96202">
                  <a:moveTo>
                    <a:pt x="0" y="0"/>
                  </a:moveTo>
                  <a:lnTo>
                    <a:pt x="232410" y="51435"/>
                  </a:lnTo>
                  <a:lnTo>
                    <a:pt x="454343" y="96203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01" name="Freeform: Shape 2100">
              <a:extLst>
                <a:ext uri="{FF2B5EF4-FFF2-40B4-BE49-F238E27FC236}">
                  <a16:creationId xmlns:a16="http://schemas.microsoft.com/office/drawing/2014/main" id="{44DC0F59-DB3E-2B43-CE1D-EDE2029544E2}"/>
                </a:ext>
              </a:extLst>
            </p:cNvPr>
            <p:cNvSpPr/>
            <p:nvPr/>
          </p:nvSpPr>
          <p:spPr>
            <a:xfrm>
              <a:off x="2870834" y="1627822"/>
              <a:ext cx="249555" cy="817244"/>
            </a:xfrm>
            <a:custGeom>
              <a:avLst/>
              <a:gdLst>
                <a:gd name="connsiteX0" fmla="*/ 0 w 249555"/>
                <a:gd name="connsiteY0" fmla="*/ 817245 h 817244"/>
                <a:gd name="connsiteX1" fmla="*/ 80963 w 249555"/>
                <a:gd name="connsiteY1" fmla="*/ 461962 h 817244"/>
                <a:gd name="connsiteX2" fmla="*/ 108585 w 249555"/>
                <a:gd name="connsiteY2" fmla="*/ 406718 h 817244"/>
                <a:gd name="connsiteX3" fmla="*/ 112395 w 249555"/>
                <a:gd name="connsiteY3" fmla="*/ 386715 h 817244"/>
                <a:gd name="connsiteX4" fmla="*/ 120015 w 249555"/>
                <a:gd name="connsiteY4" fmla="*/ 378143 h 817244"/>
                <a:gd name="connsiteX5" fmla="*/ 111443 w 249555"/>
                <a:gd name="connsiteY5" fmla="*/ 359093 h 817244"/>
                <a:gd name="connsiteX6" fmla="*/ 83820 w 249555"/>
                <a:gd name="connsiteY6" fmla="*/ 347662 h 817244"/>
                <a:gd name="connsiteX7" fmla="*/ 85725 w 249555"/>
                <a:gd name="connsiteY7" fmla="*/ 307657 h 817244"/>
                <a:gd name="connsiteX8" fmla="*/ 123825 w 249555"/>
                <a:gd name="connsiteY8" fmla="*/ 252413 h 817244"/>
                <a:gd name="connsiteX9" fmla="*/ 147638 w 249555"/>
                <a:gd name="connsiteY9" fmla="*/ 244792 h 817244"/>
                <a:gd name="connsiteX10" fmla="*/ 162878 w 249555"/>
                <a:gd name="connsiteY10" fmla="*/ 222885 h 817244"/>
                <a:gd name="connsiteX11" fmla="*/ 161925 w 249555"/>
                <a:gd name="connsiteY11" fmla="*/ 207645 h 817244"/>
                <a:gd name="connsiteX12" fmla="*/ 179070 w 249555"/>
                <a:gd name="connsiteY12" fmla="*/ 192405 h 817244"/>
                <a:gd name="connsiteX13" fmla="*/ 209550 w 249555"/>
                <a:gd name="connsiteY13" fmla="*/ 140017 h 817244"/>
                <a:gd name="connsiteX14" fmla="*/ 249555 w 249555"/>
                <a:gd name="connsiteY14" fmla="*/ 94298 h 817244"/>
                <a:gd name="connsiteX15" fmla="*/ 244793 w 249555"/>
                <a:gd name="connsiteY15" fmla="*/ 63817 h 817244"/>
                <a:gd name="connsiteX16" fmla="*/ 211455 w 249555"/>
                <a:gd name="connsiteY16" fmla="*/ 34290 h 817244"/>
                <a:gd name="connsiteX17" fmla="*/ 196215 w 249555"/>
                <a:gd name="connsiteY17" fmla="*/ 0 h 817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49555" h="817244">
                  <a:moveTo>
                    <a:pt x="0" y="817245"/>
                  </a:moveTo>
                  <a:lnTo>
                    <a:pt x="80963" y="461962"/>
                  </a:lnTo>
                  <a:lnTo>
                    <a:pt x="108585" y="406718"/>
                  </a:lnTo>
                  <a:lnTo>
                    <a:pt x="112395" y="386715"/>
                  </a:lnTo>
                  <a:lnTo>
                    <a:pt x="120015" y="378143"/>
                  </a:lnTo>
                  <a:lnTo>
                    <a:pt x="111443" y="359093"/>
                  </a:lnTo>
                  <a:lnTo>
                    <a:pt x="83820" y="347662"/>
                  </a:lnTo>
                  <a:lnTo>
                    <a:pt x="85725" y="307657"/>
                  </a:lnTo>
                  <a:lnTo>
                    <a:pt x="123825" y="252413"/>
                  </a:lnTo>
                  <a:lnTo>
                    <a:pt x="147638" y="244792"/>
                  </a:lnTo>
                  <a:lnTo>
                    <a:pt x="162878" y="222885"/>
                  </a:lnTo>
                  <a:lnTo>
                    <a:pt x="161925" y="207645"/>
                  </a:lnTo>
                  <a:lnTo>
                    <a:pt x="179070" y="192405"/>
                  </a:lnTo>
                  <a:lnTo>
                    <a:pt x="209550" y="140017"/>
                  </a:lnTo>
                  <a:lnTo>
                    <a:pt x="249555" y="94298"/>
                  </a:lnTo>
                  <a:lnTo>
                    <a:pt x="244793" y="63817"/>
                  </a:lnTo>
                  <a:lnTo>
                    <a:pt x="211455" y="34290"/>
                  </a:lnTo>
                  <a:lnTo>
                    <a:pt x="196215" y="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02" name="Freeform: Shape 2101">
              <a:extLst>
                <a:ext uri="{FF2B5EF4-FFF2-40B4-BE49-F238E27FC236}">
                  <a16:creationId xmlns:a16="http://schemas.microsoft.com/office/drawing/2014/main" id="{F3F1752A-C15B-1E6C-1395-6C8594614240}"/>
                </a:ext>
              </a:extLst>
            </p:cNvPr>
            <p:cNvSpPr/>
            <p:nvPr/>
          </p:nvSpPr>
          <p:spPr>
            <a:xfrm>
              <a:off x="3325177" y="2541270"/>
              <a:ext cx="456247" cy="78104"/>
            </a:xfrm>
            <a:custGeom>
              <a:avLst/>
              <a:gdLst>
                <a:gd name="connsiteX0" fmla="*/ 456247 w 456247"/>
                <a:gd name="connsiteY0" fmla="*/ 78105 h 78104"/>
                <a:gd name="connsiteX1" fmla="*/ 0 w 456247"/>
                <a:gd name="connsiteY1" fmla="*/ 0 h 781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56247" h="78104">
                  <a:moveTo>
                    <a:pt x="456247" y="78105"/>
                  </a:moveTo>
                  <a:lnTo>
                    <a:pt x="0" y="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03" name="Freeform: Shape 2102">
              <a:extLst>
                <a:ext uri="{FF2B5EF4-FFF2-40B4-BE49-F238E27FC236}">
                  <a16:creationId xmlns:a16="http://schemas.microsoft.com/office/drawing/2014/main" id="{2A6BB743-ABDB-A874-541B-9296A34B0A5E}"/>
                </a:ext>
              </a:extLst>
            </p:cNvPr>
            <p:cNvSpPr/>
            <p:nvPr/>
          </p:nvSpPr>
          <p:spPr>
            <a:xfrm>
              <a:off x="3067049" y="1014412"/>
              <a:ext cx="124777" cy="613410"/>
            </a:xfrm>
            <a:custGeom>
              <a:avLst/>
              <a:gdLst>
                <a:gd name="connsiteX0" fmla="*/ 124778 w 124777"/>
                <a:gd name="connsiteY0" fmla="*/ 0 h 613410"/>
                <a:gd name="connsiteX1" fmla="*/ 3810 w 124777"/>
                <a:gd name="connsiteY1" fmla="*/ 534353 h 613410"/>
                <a:gd name="connsiteX2" fmla="*/ 10478 w 124777"/>
                <a:gd name="connsiteY2" fmla="*/ 572453 h 613410"/>
                <a:gd name="connsiteX3" fmla="*/ 0 w 124777"/>
                <a:gd name="connsiteY3" fmla="*/ 613410 h 6134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4777" h="613410">
                  <a:moveTo>
                    <a:pt x="124778" y="0"/>
                  </a:moveTo>
                  <a:lnTo>
                    <a:pt x="3810" y="534353"/>
                  </a:lnTo>
                  <a:lnTo>
                    <a:pt x="10478" y="572453"/>
                  </a:lnTo>
                  <a:lnTo>
                    <a:pt x="0" y="61341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04" name="Freeform: Shape 2103">
              <a:extLst>
                <a:ext uri="{FF2B5EF4-FFF2-40B4-BE49-F238E27FC236}">
                  <a16:creationId xmlns:a16="http://schemas.microsoft.com/office/drawing/2014/main" id="{8A02CCC3-DEC6-A8EF-2B33-FA051E17DB15}"/>
                </a:ext>
              </a:extLst>
            </p:cNvPr>
            <p:cNvSpPr/>
            <p:nvPr/>
          </p:nvSpPr>
          <p:spPr>
            <a:xfrm>
              <a:off x="3781424" y="2097404"/>
              <a:ext cx="80962" cy="521970"/>
            </a:xfrm>
            <a:custGeom>
              <a:avLst/>
              <a:gdLst>
                <a:gd name="connsiteX0" fmla="*/ 80963 w 80962"/>
                <a:gd name="connsiteY0" fmla="*/ 0 h 521970"/>
                <a:gd name="connsiteX1" fmla="*/ 0 w 80962"/>
                <a:gd name="connsiteY1" fmla="*/ 521970 h 5219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0962" h="521970">
                  <a:moveTo>
                    <a:pt x="80963" y="0"/>
                  </a:moveTo>
                  <a:lnTo>
                    <a:pt x="0" y="52197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05" name="Freeform: Shape 2104">
              <a:extLst>
                <a:ext uri="{FF2B5EF4-FFF2-40B4-BE49-F238E27FC236}">
                  <a16:creationId xmlns:a16="http://schemas.microsoft.com/office/drawing/2014/main" id="{1D50099A-C244-1C0E-5CCC-0B9F5A7FE675}"/>
                </a:ext>
              </a:extLst>
            </p:cNvPr>
            <p:cNvSpPr/>
            <p:nvPr/>
          </p:nvSpPr>
          <p:spPr>
            <a:xfrm>
              <a:off x="7409497" y="2807017"/>
              <a:ext cx="77152" cy="828675"/>
            </a:xfrm>
            <a:custGeom>
              <a:avLst/>
              <a:gdLst>
                <a:gd name="connsiteX0" fmla="*/ 19050 w 77152"/>
                <a:gd name="connsiteY0" fmla="*/ 0 h 828675"/>
                <a:gd name="connsiteX1" fmla="*/ 58102 w 77152"/>
                <a:gd name="connsiteY1" fmla="*/ 478155 h 828675"/>
                <a:gd name="connsiteX2" fmla="*/ 48577 w 77152"/>
                <a:gd name="connsiteY2" fmla="*/ 527685 h 828675"/>
                <a:gd name="connsiteX3" fmla="*/ 48577 w 77152"/>
                <a:gd name="connsiteY3" fmla="*/ 546735 h 828675"/>
                <a:gd name="connsiteX4" fmla="*/ 71438 w 77152"/>
                <a:gd name="connsiteY4" fmla="*/ 580073 h 828675"/>
                <a:gd name="connsiteX5" fmla="*/ 71438 w 77152"/>
                <a:gd name="connsiteY5" fmla="*/ 586740 h 828675"/>
                <a:gd name="connsiteX6" fmla="*/ 68580 w 77152"/>
                <a:gd name="connsiteY6" fmla="*/ 595313 h 828675"/>
                <a:gd name="connsiteX7" fmla="*/ 77152 w 77152"/>
                <a:gd name="connsiteY7" fmla="*/ 613410 h 828675"/>
                <a:gd name="connsiteX8" fmla="*/ 74295 w 77152"/>
                <a:gd name="connsiteY8" fmla="*/ 636270 h 828675"/>
                <a:gd name="connsiteX9" fmla="*/ 59055 w 77152"/>
                <a:gd name="connsiteY9" fmla="*/ 653415 h 828675"/>
                <a:gd name="connsiteX10" fmla="*/ 46672 w 77152"/>
                <a:gd name="connsiteY10" fmla="*/ 693420 h 828675"/>
                <a:gd name="connsiteX11" fmla="*/ 10477 w 77152"/>
                <a:gd name="connsiteY11" fmla="*/ 743902 h 828675"/>
                <a:gd name="connsiteX12" fmla="*/ 9525 w 77152"/>
                <a:gd name="connsiteY12" fmla="*/ 810577 h 828675"/>
                <a:gd name="connsiteX13" fmla="*/ 0 w 77152"/>
                <a:gd name="connsiteY13" fmla="*/ 810577 h 828675"/>
                <a:gd name="connsiteX14" fmla="*/ 8572 w 77152"/>
                <a:gd name="connsiteY14" fmla="*/ 828675 h 828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7152" h="828675">
                  <a:moveTo>
                    <a:pt x="19050" y="0"/>
                  </a:moveTo>
                  <a:lnTo>
                    <a:pt x="58102" y="478155"/>
                  </a:lnTo>
                  <a:lnTo>
                    <a:pt x="48577" y="527685"/>
                  </a:lnTo>
                  <a:lnTo>
                    <a:pt x="48577" y="546735"/>
                  </a:lnTo>
                  <a:lnTo>
                    <a:pt x="71438" y="580073"/>
                  </a:lnTo>
                  <a:lnTo>
                    <a:pt x="71438" y="586740"/>
                  </a:lnTo>
                  <a:lnTo>
                    <a:pt x="68580" y="595313"/>
                  </a:lnTo>
                  <a:lnTo>
                    <a:pt x="77152" y="613410"/>
                  </a:lnTo>
                  <a:lnTo>
                    <a:pt x="74295" y="636270"/>
                  </a:lnTo>
                  <a:lnTo>
                    <a:pt x="59055" y="653415"/>
                  </a:lnTo>
                  <a:lnTo>
                    <a:pt x="46672" y="693420"/>
                  </a:lnTo>
                  <a:lnTo>
                    <a:pt x="10477" y="743902"/>
                  </a:lnTo>
                  <a:lnTo>
                    <a:pt x="9525" y="810577"/>
                  </a:lnTo>
                  <a:lnTo>
                    <a:pt x="0" y="810577"/>
                  </a:lnTo>
                  <a:lnTo>
                    <a:pt x="8572" y="828675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06" name="Freeform: Shape 2105">
              <a:extLst>
                <a:ext uri="{FF2B5EF4-FFF2-40B4-BE49-F238E27FC236}">
                  <a16:creationId xmlns:a16="http://schemas.microsoft.com/office/drawing/2014/main" id="{41F6E4BC-DEB2-7696-CE98-F53B4A7882FC}"/>
                </a:ext>
              </a:extLst>
            </p:cNvPr>
            <p:cNvSpPr/>
            <p:nvPr/>
          </p:nvSpPr>
          <p:spPr>
            <a:xfrm>
              <a:off x="7239951" y="3635692"/>
              <a:ext cx="178117" cy="188594"/>
            </a:xfrm>
            <a:custGeom>
              <a:avLst/>
              <a:gdLst>
                <a:gd name="connsiteX0" fmla="*/ 2858 w 178117"/>
                <a:gd name="connsiteY0" fmla="*/ 188595 h 188594"/>
                <a:gd name="connsiteX1" fmla="*/ 0 w 178117"/>
                <a:gd name="connsiteY1" fmla="*/ 171450 h 188594"/>
                <a:gd name="connsiteX2" fmla="*/ 38100 w 178117"/>
                <a:gd name="connsiteY2" fmla="*/ 136207 h 188594"/>
                <a:gd name="connsiteX3" fmla="*/ 103823 w 178117"/>
                <a:gd name="connsiteY3" fmla="*/ 164782 h 188594"/>
                <a:gd name="connsiteX4" fmla="*/ 118110 w 178117"/>
                <a:gd name="connsiteY4" fmla="*/ 161925 h 188594"/>
                <a:gd name="connsiteX5" fmla="*/ 121920 w 178117"/>
                <a:gd name="connsiteY5" fmla="*/ 139065 h 188594"/>
                <a:gd name="connsiteX6" fmla="*/ 105728 w 178117"/>
                <a:gd name="connsiteY6" fmla="*/ 121920 h 188594"/>
                <a:gd name="connsiteX7" fmla="*/ 109538 w 178117"/>
                <a:gd name="connsiteY7" fmla="*/ 90488 h 188594"/>
                <a:gd name="connsiteX8" fmla="*/ 119063 w 178117"/>
                <a:gd name="connsiteY8" fmla="*/ 85725 h 188594"/>
                <a:gd name="connsiteX9" fmla="*/ 130493 w 178117"/>
                <a:gd name="connsiteY9" fmla="*/ 91440 h 188594"/>
                <a:gd name="connsiteX10" fmla="*/ 136208 w 178117"/>
                <a:gd name="connsiteY10" fmla="*/ 80010 h 188594"/>
                <a:gd name="connsiteX11" fmla="*/ 171450 w 178117"/>
                <a:gd name="connsiteY11" fmla="*/ 74295 h 188594"/>
                <a:gd name="connsiteX12" fmla="*/ 172403 w 178117"/>
                <a:gd name="connsiteY12" fmla="*/ 65722 h 188594"/>
                <a:gd name="connsiteX13" fmla="*/ 158115 w 178117"/>
                <a:gd name="connsiteY13" fmla="*/ 44767 h 188594"/>
                <a:gd name="connsiteX14" fmla="*/ 157163 w 178117"/>
                <a:gd name="connsiteY14" fmla="*/ 34290 h 188594"/>
                <a:gd name="connsiteX15" fmla="*/ 178118 w 178117"/>
                <a:gd name="connsiteY15" fmla="*/ 8572 h 188594"/>
                <a:gd name="connsiteX16" fmla="*/ 178118 w 178117"/>
                <a:gd name="connsiteY16" fmla="*/ 0 h 188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78117" h="188594">
                  <a:moveTo>
                    <a:pt x="2858" y="188595"/>
                  </a:moveTo>
                  <a:lnTo>
                    <a:pt x="0" y="171450"/>
                  </a:lnTo>
                  <a:lnTo>
                    <a:pt x="38100" y="136207"/>
                  </a:lnTo>
                  <a:lnTo>
                    <a:pt x="103823" y="164782"/>
                  </a:lnTo>
                  <a:lnTo>
                    <a:pt x="118110" y="161925"/>
                  </a:lnTo>
                  <a:lnTo>
                    <a:pt x="121920" y="139065"/>
                  </a:lnTo>
                  <a:lnTo>
                    <a:pt x="105728" y="121920"/>
                  </a:lnTo>
                  <a:lnTo>
                    <a:pt x="109538" y="90488"/>
                  </a:lnTo>
                  <a:lnTo>
                    <a:pt x="119063" y="85725"/>
                  </a:lnTo>
                  <a:lnTo>
                    <a:pt x="130493" y="91440"/>
                  </a:lnTo>
                  <a:lnTo>
                    <a:pt x="136208" y="80010"/>
                  </a:lnTo>
                  <a:lnTo>
                    <a:pt x="171450" y="74295"/>
                  </a:lnTo>
                  <a:lnTo>
                    <a:pt x="172403" y="65722"/>
                  </a:lnTo>
                  <a:lnTo>
                    <a:pt x="158115" y="44767"/>
                  </a:lnTo>
                  <a:lnTo>
                    <a:pt x="157163" y="34290"/>
                  </a:lnTo>
                  <a:lnTo>
                    <a:pt x="178118" y="8572"/>
                  </a:lnTo>
                  <a:lnTo>
                    <a:pt x="178118" y="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07" name="Freeform: Shape 2106">
              <a:extLst>
                <a:ext uri="{FF2B5EF4-FFF2-40B4-BE49-F238E27FC236}">
                  <a16:creationId xmlns:a16="http://schemas.microsoft.com/office/drawing/2014/main" id="{BA1D7628-F7DC-9DE9-EB96-F0710ABB00D6}"/>
                </a:ext>
              </a:extLst>
            </p:cNvPr>
            <p:cNvSpPr/>
            <p:nvPr/>
          </p:nvSpPr>
          <p:spPr>
            <a:xfrm>
              <a:off x="6818947" y="3130867"/>
              <a:ext cx="423862" cy="693420"/>
            </a:xfrm>
            <a:custGeom>
              <a:avLst/>
              <a:gdLst>
                <a:gd name="connsiteX0" fmla="*/ 423863 w 423862"/>
                <a:gd name="connsiteY0" fmla="*/ 693420 h 693420"/>
                <a:gd name="connsiteX1" fmla="*/ 397192 w 423862"/>
                <a:gd name="connsiteY1" fmla="*/ 693420 h 693420"/>
                <a:gd name="connsiteX2" fmla="*/ 383857 w 423862"/>
                <a:gd name="connsiteY2" fmla="*/ 679133 h 693420"/>
                <a:gd name="connsiteX3" fmla="*/ 366713 w 423862"/>
                <a:gd name="connsiteY3" fmla="*/ 642938 h 693420"/>
                <a:gd name="connsiteX4" fmla="*/ 366713 w 423862"/>
                <a:gd name="connsiteY4" fmla="*/ 624840 h 693420"/>
                <a:gd name="connsiteX5" fmla="*/ 374332 w 423862"/>
                <a:gd name="connsiteY5" fmla="*/ 619125 h 693420"/>
                <a:gd name="connsiteX6" fmla="*/ 375285 w 423862"/>
                <a:gd name="connsiteY6" fmla="*/ 606743 h 693420"/>
                <a:gd name="connsiteX7" fmla="*/ 359092 w 423862"/>
                <a:gd name="connsiteY7" fmla="*/ 588645 h 693420"/>
                <a:gd name="connsiteX8" fmla="*/ 350520 w 423862"/>
                <a:gd name="connsiteY8" fmla="*/ 564833 h 693420"/>
                <a:gd name="connsiteX9" fmla="*/ 324802 w 423862"/>
                <a:gd name="connsiteY9" fmla="*/ 525780 h 693420"/>
                <a:gd name="connsiteX10" fmla="*/ 279082 w 423862"/>
                <a:gd name="connsiteY10" fmla="*/ 513398 h 693420"/>
                <a:gd name="connsiteX11" fmla="*/ 208597 w 423862"/>
                <a:gd name="connsiteY11" fmla="*/ 445770 h 693420"/>
                <a:gd name="connsiteX12" fmla="*/ 204788 w 423862"/>
                <a:gd name="connsiteY12" fmla="*/ 422910 h 693420"/>
                <a:gd name="connsiteX13" fmla="*/ 231457 w 423862"/>
                <a:gd name="connsiteY13" fmla="*/ 350520 h 693420"/>
                <a:gd name="connsiteX14" fmla="*/ 227647 w 423862"/>
                <a:gd name="connsiteY14" fmla="*/ 332423 h 693420"/>
                <a:gd name="connsiteX15" fmla="*/ 239077 w 423862"/>
                <a:gd name="connsiteY15" fmla="*/ 321945 h 693420"/>
                <a:gd name="connsiteX16" fmla="*/ 239077 w 423862"/>
                <a:gd name="connsiteY16" fmla="*/ 309563 h 693420"/>
                <a:gd name="connsiteX17" fmla="*/ 212407 w 423862"/>
                <a:gd name="connsiteY17" fmla="*/ 295275 h 693420"/>
                <a:gd name="connsiteX18" fmla="*/ 183832 w 423862"/>
                <a:gd name="connsiteY18" fmla="*/ 288608 h 693420"/>
                <a:gd name="connsiteX19" fmla="*/ 151447 w 423862"/>
                <a:gd name="connsiteY19" fmla="*/ 300038 h 693420"/>
                <a:gd name="connsiteX20" fmla="*/ 139065 w 423862"/>
                <a:gd name="connsiteY20" fmla="*/ 278130 h 693420"/>
                <a:gd name="connsiteX21" fmla="*/ 144780 w 423862"/>
                <a:gd name="connsiteY21" fmla="*/ 260033 h 693420"/>
                <a:gd name="connsiteX22" fmla="*/ 138113 w 423862"/>
                <a:gd name="connsiteY22" fmla="*/ 237173 h 693420"/>
                <a:gd name="connsiteX23" fmla="*/ 56197 w 423862"/>
                <a:gd name="connsiteY23" fmla="*/ 157163 h 693420"/>
                <a:gd name="connsiteX24" fmla="*/ 35242 w 423862"/>
                <a:gd name="connsiteY24" fmla="*/ 142875 h 693420"/>
                <a:gd name="connsiteX25" fmla="*/ 11430 w 423862"/>
                <a:gd name="connsiteY25" fmla="*/ 86677 h 693420"/>
                <a:gd name="connsiteX26" fmla="*/ 0 w 423862"/>
                <a:gd name="connsiteY26" fmla="*/ 35242 h 693420"/>
                <a:gd name="connsiteX27" fmla="*/ 13335 w 423862"/>
                <a:gd name="connsiteY27" fmla="*/ 0 h 693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423862" h="693420">
                  <a:moveTo>
                    <a:pt x="423863" y="693420"/>
                  </a:moveTo>
                  <a:lnTo>
                    <a:pt x="397192" y="693420"/>
                  </a:lnTo>
                  <a:lnTo>
                    <a:pt x="383857" y="679133"/>
                  </a:lnTo>
                  <a:lnTo>
                    <a:pt x="366713" y="642938"/>
                  </a:lnTo>
                  <a:lnTo>
                    <a:pt x="366713" y="624840"/>
                  </a:lnTo>
                  <a:lnTo>
                    <a:pt x="374332" y="619125"/>
                  </a:lnTo>
                  <a:lnTo>
                    <a:pt x="375285" y="606743"/>
                  </a:lnTo>
                  <a:lnTo>
                    <a:pt x="359092" y="588645"/>
                  </a:lnTo>
                  <a:lnTo>
                    <a:pt x="350520" y="564833"/>
                  </a:lnTo>
                  <a:lnTo>
                    <a:pt x="324802" y="525780"/>
                  </a:lnTo>
                  <a:lnTo>
                    <a:pt x="279082" y="513398"/>
                  </a:lnTo>
                  <a:lnTo>
                    <a:pt x="208597" y="445770"/>
                  </a:lnTo>
                  <a:lnTo>
                    <a:pt x="204788" y="422910"/>
                  </a:lnTo>
                  <a:lnTo>
                    <a:pt x="231457" y="350520"/>
                  </a:lnTo>
                  <a:lnTo>
                    <a:pt x="227647" y="332423"/>
                  </a:lnTo>
                  <a:lnTo>
                    <a:pt x="239077" y="321945"/>
                  </a:lnTo>
                  <a:lnTo>
                    <a:pt x="239077" y="309563"/>
                  </a:lnTo>
                  <a:lnTo>
                    <a:pt x="212407" y="295275"/>
                  </a:lnTo>
                  <a:lnTo>
                    <a:pt x="183832" y="288608"/>
                  </a:lnTo>
                  <a:lnTo>
                    <a:pt x="151447" y="300038"/>
                  </a:lnTo>
                  <a:lnTo>
                    <a:pt x="139065" y="278130"/>
                  </a:lnTo>
                  <a:lnTo>
                    <a:pt x="144780" y="260033"/>
                  </a:lnTo>
                  <a:lnTo>
                    <a:pt x="138113" y="237173"/>
                  </a:lnTo>
                  <a:lnTo>
                    <a:pt x="56197" y="157163"/>
                  </a:lnTo>
                  <a:lnTo>
                    <a:pt x="35242" y="142875"/>
                  </a:lnTo>
                  <a:lnTo>
                    <a:pt x="11430" y="86677"/>
                  </a:lnTo>
                  <a:lnTo>
                    <a:pt x="0" y="35242"/>
                  </a:lnTo>
                  <a:lnTo>
                    <a:pt x="13335" y="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08" name="Freeform: Shape 2107">
              <a:extLst>
                <a:ext uri="{FF2B5EF4-FFF2-40B4-BE49-F238E27FC236}">
                  <a16:creationId xmlns:a16="http://schemas.microsoft.com/office/drawing/2014/main" id="{2D3AF9D0-9ED1-770A-BE05-BCCD39770313}"/>
                </a:ext>
              </a:extLst>
            </p:cNvPr>
            <p:cNvSpPr/>
            <p:nvPr/>
          </p:nvSpPr>
          <p:spPr>
            <a:xfrm>
              <a:off x="6931342" y="2649854"/>
              <a:ext cx="437197" cy="26670"/>
            </a:xfrm>
            <a:custGeom>
              <a:avLst/>
              <a:gdLst>
                <a:gd name="connsiteX0" fmla="*/ 0 w 437197"/>
                <a:gd name="connsiteY0" fmla="*/ 26670 h 26670"/>
                <a:gd name="connsiteX1" fmla="*/ 437197 w 437197"/>
                <a:gd name="connsiteY1" fmla="*/ 0 h 26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37197" h="26670">
                  <a:moveTo>
                    <a:pt x="0" y="26670"/>
                  </a:moveTo>
                  <a:lnTo>
                    <a:pt x="437197" y="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09" name="Freeform: Shape 2108">
              <a:extLst>
                <a:ext uri="{FF2B5EF4-FFF2-40B4-BE49-F238E27FC236}">
                  <a16:creationId xmlns:a16="http://schemas.microsoft.com/office/drawing/2014/main" id="{BAC681C5-F483-4534-3EF1-EF636E3520FB}"/>
                </a:ext>
              </a:extLst>
            </p:cNvPr>
            <p:cNvSpPr/>
            <p:nvPr/>
          </p:nvSpPr>
          <p:spPr>
            <a:xfrm>
              <a:off x="7418069" y="3308984"/>
              <a:ext cx="501015" cy="334327"/>
            </a:xfrm>
            <a:custGeom>
              <a:avLst/>
              <a:gdLst>
                <a:gd name="connsiteX0" fmla="*/ 0 w 501015"/>
                <a:gd name="connsiteY0" fmla="*/ 326708 h 334327"/>
                <a:gd name="connsiteX1" fmla="*/ 10478 w 501015"/>
                <a:gd name="connsiteY1" fmla="*/ 334328 h 334327"/>
                <a:gd name="connsiteX2" fmla="*/ 16193 w 501015"/>
                <a:gd name="connsiteY2" fmla="*/ 324803 h 334327"/>
                <a:gd name="connsiteX3" fmla="*/ 9525 w 501015"/>
                <a:gd name="connsiteY3" fmla="*/ 308610 h 334327"/>
                <a:gd name="connsiteX4" fmla="*/ 53340 w 501015"/>
                <a:gd name="connsiteY4" fmla="*/ 303847 h 334327"/>
                <a:gd name="connsiteX5" fmla="*/ 55245 w 501015"/>
                <a:gd name="connsiteY5" fmla="*/ 315278 h 334327"/>
                <a:gd name="connsiteX6" fmla="*/ 65723 w 501015"/>
                <a:gd name="connsiteY6" fmla="*/ 317183 h 334327"/>
                <a:gd name="connsiteX7" fmla="*/ 69532 w 501015"/>
                <a:gd name="connsiteY7" fmla="*/ 308610 h 334327"/>
                <a:gd name="connsiteX8" fmla="*/ 63818 w 501015"/>
                <a:gd name="connsiteY8" fmla="*/ 296228 h 334327"/>
                <a:gd name="connsiteX9" fmla="*/ 66675 w 501015"/>
                <a:gd name="connsiteY9" fmla="*/ 288608 h 334327"/>
                <a:gd name="connsiteX10" fmla="*/ 79057 w 501015"/>
                <a:gd name="connsiteY10" fmla="*/ 296228 h 334327"/>
                <a:gd name="connsiteX11" fmla="*/ 95250 w 501015"/>
                <a:gd name="connsiteY11" fmla="*/ 292418 h 334327"/>
                <a:gd name="connsiteX12" fmla="*/ 111443 w 501015"/>
                <a:gd name="connsiteY12" fmla="*/ 298133 h 334327"/>
                <a:gd name="connsiteX13" fmla="*/ 143828 w 501015"/>
                <a:gd name="connsiteY13" fmla="*/ 318135 h 334327"/>
                <a:gd name="connsiteX14" fmla="*/ 160973 w 501015"/>
                <a:gd name="connsiteY14" fmla="*/ 291465 h 334327"/>
                <a:gd name="connsiteX15" fmla="*/ 194310 w 501015"/>
                <a:gd name="connsiteY15" fmla="*/ 270510 h 334327"/>
                <a:gd name="connsiteX16" fmla="*/ 222885 w 501015"/>
                <a:gd name="connsiteY16" fmla="*/ 301943 h 334327"/>
                <a:gd name="connsiteX17" fmla="*/ 238125 w 501015"/>
                <a:gd name="connsiteY17" fmla="*/ 281940 h 334327"/>
                <a:gd name="connsiteX18" fmla="*/ 240982 w 501015"/>
                <a:gd name="connsiteY18" fmla="*/ 256222 h 334327"/>
                <a:gd name="connsiteX19" fmla="*/ 277178 w 501015"/>
                <a:gd name="connsiteY19" fmla="*/ 234315 h 334327"/>
                <a:gd name="connsiteX20" fmla="*/ 279082 w 501015"/>
                <a:gd name="connsiteY20" fmla="*/ 246697 h 334327"/>
                <a:gd name="connsiteX21" fmla="*/ 297180 w 501015"/>
                <a:gd name="connsiteY21" fmla="*/ 258128 h 334327"/>
                <a:gd name="connsiteX22" fmla="*/ 325755 w 501015"/>
                <a:gd name="connsiteY22" fmla="*/ 256222 h 334327"/>
                <a:gd name="connsiteX23" fmla="*/ 337185 w 501015"/>
                <a:gd name="connsiteY23" fmla="*/ 249555 h 334327"/>
                <a:gd name="connsiteX24" fmla="*/ 338138 w 501015"/>
                <a:gd name="connsiteY24" fmla="*/ 217170 h 334327"/>
                <a:gd name="connsiteX25" fmla="*/ 361950 w 501015"/>
                <a:gd name="connsiteY25" fmla="*/ 181928 h 334327"/>
                <a:gd name="connsiteX26" fmla="*/ 405765 w 501015"/>
                <a:gd name="connsiteY26" fmla="*/ 140018 h 334327"/>
                <a:gd name="connsiteX27" fmla="*/ 404813 w 501015"/>
                <a:gd name="connsiteY27" fmla="*/ 123825 h 334327"/>
                <a:gd name="connsiteX28" fmla="*/ 416243 w 501015"/>
                <a:gd name="connsiteY28" fmla="*/ 87630 h 334327"/>
                <a:gd name="connsiteX29" fmla="*/ 437198 w 501015"/>
                <a:gd name="connsiteY29" fmla="*/ 97155 h 334327"/>
                <a:gd name="connsiteX30" fmla="*/ 501015 w 501015"/>
                <a:gd name="connsiteY30" fmla="*/ 54293 h 334327"/>
                <a:gd name="connsiteX31" fmla="*/ 497205 w 501015"/>
                <a:gd name="connsiteY31" fmla="*/ 38100 h 334327"/>
                <a:gd name="connsiteX32" fmla="*/ 482918 w 501015"/>
                <a:gd name="connsiteY32" fmla="*/ 18097 h 334327"/>
                <a:gd name="connsiteX33" fmla="*/ 492443 w 501015"/>
                <a:gd name="connsiteY33" fmla="*/ 0 h 334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501015" h="334327">
                  <a:moveTo>
                    <a:pt x="0" y="326708"/>
                  </a:moveTo>
                  <a:lnTo>
                    <a:pt x="10478" y="334328"/>
                  </a:lnTo>
                  <a:lnTo>
                    <a:pt x="16193" y="324803"/>
                  </a:lnTo>
                  <a:lnTo>
                    <a:pt x="9525" y="308610"/>
                  </a:lnTo>
                  <a:lnTo>
                    <a:pt x="53340" y="303847"/>
                  </a:lnTo>
                  <a:lnTo>
                    <a:pt x="55245" y="315278"/>
                  </a:lnTo>
                  <a:lnTo>
                    <a:pt x="65723" y="317183"/>
                  </a:lnTo>
                  <a:lnTo>
                    <a:pt x="69532" y="308610"/>
                  </a:lnTo>
                  <a:lnTo>
                    <a:pt x="63818" y="296228"/>
                  </a:lnTo>
                  <a:lnTo>
                    <a:pt x="66675" y="288608"/>
                  </a:lnTo>
                  <a:lnTo>
                    <a:pt x="79057" y="296228"/>
                  </a:lnTo>
                  <a:lnTo>
                    <a:pt x="95250" y="292418"/>
                  </a:lnTo>
                  <a:lnTo>
                    <a:pt x="111443" y="298133"/>
                  </a:lnTo>
                  <a:lnTo>
                    <a:pt x="143828" y="318135"/>
                  </a:lnTo>
                  <a:lnTo>
                    <a:pt x="160973" y="291465"/>
                  </a:lnTo>
                  <a:lnTo>
                    <a:pt x="194310" y="270510"/>
                  </a:lnTo>
                  <a:lnTo>
                    <a:pt x="222885" y="301943"/>
                  </a:lnTo>
                  <a:lnTo>
                    <a:pt x="238125" y="281940"/>
                  </a:lnTo>
                  <a:lnTo>
                    <a:pt x="240982" y="256222"/>
                  </a:lnTo>
                  <a:lnTo>
                    <a:pt x="277178" y="234315"/>
                  </a:lnTo>
                  <a:lnTo>
                    <a:pt x="279082" y="246697"/>
                  </a:lnTo>
                  <a:lnTo>
                    <a:pt x="297180" y="258128"/>
                  </a:lnTo>
                  <a:lnTo>
                    <a:pt x="325755" y="256222"/>
                  </a:lnTo>
                  <a:lnTo>
                    <a:pt x="337185" y="249555"/>
                  </a:lnTo>
                  <a:lnTo>
                    <a:pt x="338138" y="217170"/>
                  </a:lnTo>
                  <a:lnTo>
                    <a:pt x="361950" y="181928"/>
                  </a:lnTo>
                  <a:lnTo>
                    <a:pt x="405765" y="140018"/>
                  </a:lnTo>
                  <a:lnTo>
                    <a:pt x="404813" y="123825"/>
                  </a:lnTo>
                  <a:lnTo>
                    <a:pt x="416243" y="87630"/>
                  </a:lnTo>
                  <a:lnTo>
                    <a:pt x="437198" y="97155"/>
                  </a:lnTo>
                  <a:lnTo>
                    <a:pt x="501015" y="54293"/>
                  </a:lnTo>
                  <a:lnTo>
                    <a:pt x="497205" y="38100"/>
                  </a:lnTo>
                  <a:lnTo>
                    <a:pt x="482918" y="18097"/>
                  </a:lnTo>
                  <a:lnTo>
                    <a:pt x="492443" y="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10" name="Freeform: Shape 2109">
              <a:extLst>
                <a:ext uri="{FF2B5EF4-FFF2-40B4-BE49-F238E27FC236}">
                  <a16:creationId xmlns:a16="http://schemas.microsoft.com/office/drawing/2014/main" id="{DB7FBA54-D750-C0CF-950D-F33688570A9A}"/>
                </a:ext>
              </a:extLst>
            </p:cNvPr>
            <p:cNvSpPr/>
            <p:nvPr/>
          </p:nvSpPr>
          <p:spPr>
            <a:xfrm>
              <a:off x="7538084" y="2750820"/>
              <a:ext cx="309562" cy="32384"/>
            </a:xfrm>
            <a:custGeom>
              <a:avLst/>
              <a:gdLst>
                <a:gd name="connsiteX0" fmla="*/ 0 w 309562"/>
                <a:gd name="connsiteY0" fmla="*/ 32385 h 32384"/>
                <a:gd name="connsiteX1" fmla="*/ 308610 w 309562"/>
                <a:gd name="connsiteY1" fmla="*/ 0 h 32384"/>
                <a:gd name="connsiteX2" fmla="*/ 309563 w 309562"/>
                <a:gd name="connsiteY2" fmla="*/ 13335 h 32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9562" h="32384">
                  <a:moveTo>
                    <a:pt x="0" y="32385"/>
                  </a:moveTo>
                  <a:lnTo>
                    <a:pt x="308610" y="0"/>
                  </a:lnTo>
                  <a:lnTo>
                    <a:pt x="309563" y="13335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11" name="Freeform: Shape 2110">
              <a:extLst>
                <a:ext uri="{FF2B5EF4-FFF2-40B4-BE49-F238E27FC236}">
                  <a16:creationId xmlns:a16="http://schemas.microsoft.com/office/drawing/2014/main" id="{B5B17A88-1C29-3409-F07A-C5F902F9D128}"/>
                </a:ext>
              </a:extLst>
            </p:cNvPr>
            <p:cNvSpPr/>
            <p:nvPr/>
          </p:nvSpPr>
          <p:spPr>
            <a:xfrm>
              <a:off x="7847647" y="2764154"/>
              <a:ext cx="62864" cy="544829"/>
            </a:xfrm>
            <a:custGeom>
              <a:avLst/>
              <a:gdLst>
                <a:gd name="connsiteX0" fmla="*/ 62865 w 62864"/>
                <a:gd name="connsiteY0" fmla="*/ 544830 h 544829"/>
                <a:gd name="connsiteX1" fmla="*/ 0 w 62864"/>
                <a:gd name="connsiteY1" fmla="*/ 0 h 544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2864" h="544829">
                  <a:moveTo>
                    <a:pt x="62865" y="544830"/>
                  </a:moveTo>
                  <a:lnTo>
                    <a:pt x="0" y="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12" name="Freeform: Shape 2111">
              <a:extLst>
                <a:ext uri="{FF2B5EF4-FFF2-40B4-BE49-F238E27FC236}">
                  <a16:creationId xmlns:a16="http://schemas.microsoft.com/office/drawing/2014/main" id="{A5CF757E-45E1-0CF7-3BB3-7545EF81C6B2}"/>
                </a:ext>
              </a:extLst>
            </p:cNvPr>
            <p:cNvSpPr/>
            <p:nvPr/>
          </p:nvSpPr>
          <p:spPr>
            <a:xfrm>
              <a:off x="6210299" y="3224212"/>
              <a:ext cx="121919" cy="636269"/>
            </a:xfrm>
            <a:custGeom>
              <a:avLst/>
              <a:gdLst>
                <a:gd name="connsiteX0" fmla="*/ 121920 w 121919"/>
                <a:gd name="connsiteY0" fmla="*/ 636270 h 636269"/>
                <a:gd name="connsiteX1" fmla="*/ 117157 w 121919"/>
                <a:gd name="connsiteY1" fmla="*/ 178118 h 636269"/>
                <a:gd name="connsiteX2" fmla="*/ 86678 w 121919"/>
                <a:gd name="connsiteY2" fmla="*/ 171450 h 636269"/>
                <a:gd name="connsiteX3" fmla="*/ 61913 w 121919"/>
                <a:gd name="connsiteY3" fmla="*/ 126682 h 636269"/>
                <a:gd name="connsiteX4" fmla="*/ 38100 w 121919"/>
                <a:gd name="connsiteY4" fmla="*/ 102870 h 636269"/>
                <a:gd name="connsiteX5" fmla="*/ 42863 w 121919"/>
                <a:gd name="connsiteY5" fmla="*/ 80963 h 636269"/>
                <a:gd name="connsiteX6" fmla="*/ 68580 w 121919"/>
                <a:gd name="connsiteY6" fmla="*/ 56197 h 636269"/>
                <a:gd name="connsiteX7" fmla="*/ 69532 w 121919"/>
                <a:gd name="connsiteY7" fmla="*/ 44768 h 636269"/>
                <a:gd name="connsiteX8" fmla="*/ 55245 w 121919"/>
                <a:gd name="connsiteY8" fmla="*/ 24765 h 636269"/>
                <a:gd name="connsiteX9" fmla="*/ 46672 w 121919"/>
                <a:gd name="connsiteY9" fmla="*/ 34290 h 636269"/>
                <a:gd name="connsiteX10" fmla="*/ 27622 w 121919"/>
                <a:gd name="connsiteY10" fmla="*/ 28575 h 636269"/>
                <a:gd name="connsiteX11" fmla="*/ 0 w 121919"/>
                <a:gd name="connsiteY11" fmla="*/ 0 h 636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1919" h="636269">
                  <a:moveTo>
                    <a:pt x="121920" y="636270"/>
                  </a:moveTo>
                  <a:lnTo>
                    <a:pt x="117157" y="178118"/>
                  </a:lnTo>
                  <a:lnTo>
                    <a:pt x="86678" y="171450"/>
                  </a:lnTo>
                  <a:lnTo>
                    <a:pt x="61913" y="126682"/>
                  </a:lnTo>
                  <a:lnTo>
                    <a:pt x="38100" y="102870"/>
                  </a:lnTo>
                  <a:lnTo>
                    <a:pt x="42863" y="80963"/>
                  </a:lnTo>
                  <a:lnTo>
                    <a:pt x="68580" y="56197"/>
                  </a:lnTo>
                  <a:lnTo>
                    <a:pt x="69532" y="44768"/>
                  </a:lnTo>
                  <a:lnTo>
                    <a:pt x="55245" y="24765"/>
                  </a:lnTo>
                  <a:lnTo>
                    <a:pt x="46672" y="34290"/>
                  </a:lnTo>
                  <a:lnTo>
                    <a:pt x="27622" y="28575"/>
                  </a:lnTo>
                  <a:lnTo>
                    <a:pt x="0" y="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13" name="Freeform: Shape 2112">
              <a:extLst>
                <a:ext uri="{FF2B5EF4-FFF2-40B4-BE49-F238E27FC236}">
                  <a16:creationId xmlns:a16="http://schemas.microsoft.com/office/drawing/2014/main" id="{A2CBBFC0-2BC0-AAE2-E908-AC72975641EE}"/>
                </a:ext>
              </a:extLst>
            </p:cNvPr>
            <p:cNvSpPr/>
            <p:nvPr/>
          </p:nvSpPr>
          <p:spPr>
            <a:xfrm>
              <a:off x="5142546" y="3193732"/>
              <a:ext cx="1067752" cy="30480"/>
            </a:xfrm>
            <a:custGeom>
              <a:avLst/>
              <a:gdLst>
                <a:gd name="connsiteX0" fmla="*/ 0 w 1067752"/>
                <a:gd name="connsiteY0" fmla="*/ 0 h 30480"/>
                <a:gd name="connsiteX1" fmla="*/ 342900 w 1067752"/>
                <a:gd name="connsiteY1" fmla="*/ 19050 h 30480"/>
                <a:gd name="connsiteX2" fmla="*/ 759143 w 1067752"/>
                <a:gd name="connsiteY2" fmla="*/ 30480 h 30480"/>
                <a:gd name="connsiteX3" fmla="*/ 1067753 w 1067752"/>
                <a:gd name="connsiteY3" fmla="*/ 30480 h 30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67752" h="30480">
                  <a:moveTo>
                    <a:pt x="0" y="0"/>
                  </a:moveTo>
                  <a:lnTo>
                    <a:pt x="342900" y="19050"/>
                  </a:lnTo>
                  <a:lnTo>
                    <a:pt x="759143" y="30480"/>
                  </a:lnTo>
                  <a:lnTo>
                    <a:pt x="1067753" y="3048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14" name="Freeform: Shape 2113">
              <a:extLst>
                <a:ext uri="{FF2B5EF4-FFF2-40B4-BE49-F238E27FC236}">
                  <a16:creationId xmlns:a16="http://schemas.microsoft.com/office/drawing/2014/main" id="{4F832892-450E-0DE7-8751-097AAB276914}"/>
                </a:ext>
              </a:extLst>
            </p:cNvPr>
            <p:cNvSpPr/>
            <p:nvPr/>
          </p:nvSpPr>
          <p:spPr>
            <a:xfrm>
              <a:off x="5096827" y="3831907"/>
              <a:ext cx="1235392" cy="28575"/>
            </a:xfrm>
            <a:custGeom>
              <a:avLst/>
              <a:gdLst>
                <a:gd name="connsiteX0" fmla="*/ 0 w 1235392"/>
                <a:gd name="connsiteY0" fmla="*/ 0 h 28575"/>
                <a:gd name="connsiteX1" fmla="*/ 644842 w 1235392"/>
                <a:gd name="connsiteY1" fmla="*/ 27623 h 28575"/>
                <a:gd name="connsiteX2" fmla="*/ 1235392 w 1235392"/>
                <a:gd name="connsiteY2" fmla="*/ 28575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35392" h="28575">
                  <a:moveTo>
                    <a:pt x="0" y="0"/>
                  </a:moveTo>
                  <a:lnTo>
                    <a:pt x="644842" y="27623"/>
                  </a:lnTo>
                  <a:lnTo>
                    <a:pt x="1235392" y="28575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15" name="Freeform: Shape 2114">
              <a:extLst>
                <a:ext uri="{FF2B5EF4-FFF2-40B4-BE49-F238E27FC236}">
                  <a16:creationId xmlns:a16="http://schemas.microsoft.com/office/drawing/2014/main" id="{535F9E41-C848-C27C-713A-28401D8CB8A8}"/>
                </a:ext>
              </a:extLst>
            </p:cNvPr>
            <p:cNvSpPr/>
            <p:nvPr/>
          </p:nvSpPr>
          <p:spPr>
            <a:xfrm>
              <a:off x="7180897" y="3824287"/>
              <a:ext cx="74294" cy="107632"/>
            </a:xfrm>
            <a:custGeom>
              <a:avLst/>
              <a:gdLst>
                <a:gd name="connsiteX0" fmla="*/ 31432 w 74294"/>
                <a:gd name="connsiteY0" fmla="*/ 104775 h 107632"/>
                <a:gd name="connsiteX1" fmla="*/ 40957 w 74294"/>
                <a:gd name="connsiteY1" fmla="*/ 79057 h 107632"/>
                <a:gd name="connsiteX2" fmla="*/ 54292 w 74294"/>
                <a:gd name="connsiteY2" fmla="*/ 87630 h 107632"/>
                <a:gd name="connsiteX3" fmla="*/ 60960 w 74294"/>
                <a:gd name="connsiteY3" fmla="*/ 83820 h 107632"/>
                <a:gd name="connsiteX4" fmla="*/ 72390 w 74294"/>
                <a:gd name="connsiteY4" fmla="*/ 44768 h 107632"/>
                <a:gd name="connsiteX5" fmla="*/ 62865 w 74294"/>
                <a:gd name="connsiteY5" fmla="*/ 35243 h 107632"/>
                <a:gd name="connsiteX6" fmla="*/ 72390 w 74294"/>
                <a:gd name="connsiteY6" fmla="*/ 16193 h 107632"/>
                <a:gd name="connsiteX7" fmla="*/ 74295 w 74294"/>
                <a:gd name="connsiteY7" fmla="*/ 7620 h 107632"/>
                <a:gd name="connsiteX8" fmla="*/ 61913 w 74294"/>
                <a:gd name="connsiteY8" fmla="*/ 0 h 107632"/>
                <a:gd name="connsiteX9" fmla="*/ 6667 w 74294"/>
                <a:gd name="connsiteY9" fmla="*/ 107632 h 107632"/>
                <a:gd name="connsiteX10" fmla="*/ 0 w 74294"/>
                <a:gd name="connsiteY10" fmla="*/ 100965 h 107632"/>
                <a:gd name="connsiteX11" fmla="*/ 1905 w 74294"/>
                <a:gd name="connsiteY11" fmla="*/ 91440 h 107632"/>
                <a:gd name="connsiteX12" fmla="*/ 12382 w 74294"/>
                <a:gd name="connsiteY12" fmla="*/ 91440 h 107632"/>
                <a:gd name="connsiteX13" fmla="*/ 19050 w 74294"/>
                <a:gd name="connsiteY13" fmla="*/ 98107 h 107632"/>
                <a:gd name="connsiteX14" fmla="*/ 16192 w 74294"/>
                <a:gd name="connsiteY14" fmla="*/ 107632 h 107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4294" h="107632">
                  <a:moveTo>
                    <a:pt x="31432" y="104775"/>
                  </a:moveTo>
                  <a:lnTo>
                    <a:pt x="40957" y="79057"/>
                  </a:lnTo>
                  <a:lnTo>
                    <a:pt x="54292" y="87630"/>
                  </a:lnTo>
                  <a:lnTo>
                    <a:pt x="60960" y="83820"/>
                  </a:lnTo>
                  <a:lnTo>
                    <a:pt x="72390" y="44768"/>
                  </a:lnTo>
                  <a:lnTo>
                    <a:pt x="62865" y="35243"/>
                  </a:lnTo>
                  <a:lnTo>
                    <a:pt x="72390" y="16193"/>
                  </a:lnTo>
                  <a:lnTo>
                    <a:pt x="74295" y="7620"/>
                  </a:lnTo>
                  <a:lnTo>
                    <a:pt x="61913" y="0"/>
                  </a:lnTo>
                  <a:moveTo>
                    <a:pt x="6667" y="107632"/>
                  </a:moveTo>
                  <a:lnTo>
                    <a:pt x="0" y="100965"/>
                  </a:lnTo>
                  <a:lnTo>
                    <a:pt x="1905" y="91440"/>
                  </a:lnTo>
                  <a:lnTo>
                    <a:pt x="12382" y="91440"/>
                  </a:lnTo>
                  <a:lnTo>
                    <a:pt x="19050" y="98107"/>
                  </a:lnTo>
                  <a:lnTo>
                    <a:pt x="16192" y="107632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16" name="Freeform: Shape 2115">
              <a:extLst>
                <a:ext uri="{FF2B5EF4-FFF2-40B4-BE49-F238E27FC236}">
                  <a16:creationId xmlns:a16="http://schemas.microsoft.com/office/drawing/2014/main" id="{0FB79D4F-E3EA-3E28-E44F-779395F5E866}"/>
                </a:ext>
              </a:extLst>
            </p:cNvPr>
            <p:cNvSpPr/>
            <p:nvPr/>
          </p:nvSpPr>
          <p:spPr>
            <a:xfrm>
              <a:off x="7910512" y="3307080"/>
              <a:ext cx="374332" cy="106679"/>
            </a:xfrm>
            <a:custGeom>
              <a:avLst/>
              <a:gdLst>
                <a:gd name="connsiteX0" fmla="*/ 0 w 374332"/>
                <a:gd name="connsiteY0" fmla="*/ 1905 h 106679"/>
                <a:gd name="connsiteX1" fmla="*/ 12382 w 374332"/>
                <a:gd name="connsiteY1" fmla="*/ 6667 h 106679"/>
                <a:gd name="connsiteX2" fmla="*/ 33338 w 374332"/>
                <a:gd name="connsiteY2" fmla="*/ 7620 h 106679"/>
                <a:gd name="connsiteX3" fmla="*/ 51435 w 374332"/>
                <a:gd name="connsiteY3" fmla="*/ 0 h 106679"/>
                <a:gd name="connsiteX4" fmla="*/ 79057 w 374332"/>
                <a:gd name="connsiteY4" fmla="*/ 11430 h 106679"/>
                <a:gd name="connsiteX5" fmla="*/ 100013 w 374332"/>
                <a:gd name="connsiteY5" fmla="*/ 43815 h 106679"/>
                <a:gd name="connsiteX6" fmla="*/ 100013 w 374332"/>
                <a:gd name="connsiteY6" fmla="*/ 53340 h 106679"/>
                <a:gd name="connsiteX7" fmla="*/ 139065 w 374332"/>
                <a:gd name="connsiteY7" fmla="*/ 60007 h 106679"/>
                <a:gd name="connsiteX8" fmla="*/ 160973 w 374332"/>
                <a:gd name="connsiteY8" fmla="*/ 58102 h 106679"/>
                <a:gd name="connsiteX9" fmla="*/ 179070 w 374332"/>
                <a:gd name="connsiteY9" fmla="*/ 78105 h 106679"/>
                <a:gd name="connsiteX10" fmla="*/ 200025 w 374332"/>
                <a:gd name="connsiteY10" fmla="*/ 80010 h 106679"/>
                <a:gd name="connsiteX11" fmla="*/ 200025 w 374332"/>
                <a:gd name="connsiteY11" fmla="*/ 70485 h 106679"/>
                <a:gd name="connsiteX12" fmla="*/ 218123 w 374332"/>
                <a:gd name="connsiteY12" fmla="*/ 62865 h 106679"/>
                <a:gd name="connsiteX13" fmla="*/ 246698 w 374332"/>
                <a:gd name="connsiteY13" fmla="*/ 70485 h 106679"/>
                <a:gd name="connsiteX14" fmla="*/ 258127 w 374332"/>
                <a:gd name="connsiteY14" fmla="*/ 78105 h 106679"/>
                <a:gd name="connsiteX15" fmla="*/ 270510 w 374332"/>
                <a:gd name="connsiteY15" fmla="*/ 71438 h 106679"/>
                <a:gd name="connsiteX16" fmla="*/ 279082 w 374332"/>
                <a:gd name="connsiteY16" fmla="*/ 71438 h 106679"/>
                <a:gd name="connsiteX17" fmla="*/ 284798 w 374332"/>
                <a:gd name="connsiteY17" fmla="*/ 55245 h 106679"/>
                <a:gd name="connsiteX18" fmla="*/ 317182 w 374332"/>
                <a:gd name="connsiteY18" fmla="*/ 38100 h 106679"/>
                <a:gd name="connsiteX19" fmla="*/ 321945 w 374332"/>
                <a:gd name="connsiteY19" fmla="*/ 45720 h 106679"/>
                <a:gd name="connsiteX20" fmla="*/ 329565 w 374332"/>
                <a:gd name="connsiteY20" fmla="*/ 73342 h 106679"/>
                <a:gd name="connsiteX21" fmla="*/ 362902 w 374332"/>
                <a:gd name="connsiteY21" fmla="*/ 86677 h 106679"/>
                <a:gd name="connsiteX22" fmla="*/ 374332 w 374332"/>
                <a:gd name="connsiteY22" fmla="*/ 106680 h 106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74332" h="106679">
                  <a:moveTo>
                    <a:pt x="0" y="1905"/>
                  </a:moveTo>
                  <a:lnTo>
                    <a:pt x="12382" y="6667"/>
                  </a:lnTo>
                  <a:lnTo>
                    <a:pt x="33338" y="7620"/>
                  </a:lnTo>
                  <a:lnTo>
                    <a:pt x="51435" y="0"/>
                  </a:lnTo>
                  <a:lnTo>
                    <a:pt x="79057" y="11430"/>
                  </a:lnTo>
                  <a:lnTo>
                    <a:pt x="100013" y="43815"/>
                  </a:lnTo>
                  <a:lnTo>
                    <a:pt x="100013" y="53340"/>
                  </a:lnTo>
                  <a:lnTo>
                    <a:pt x="139065" y="60007"/>
                  </a:lnTo>
                  <a:lnTo>
                    <a:pt x="160973" y="58102"/>
                  </a:lnTo>
                  <a:lnTo>
                    <a:pt x="179070" y="78105"/>
                  </a:lnTo>
                  <a:lnTo>
                    <a:pt x="200025" y="80010"/>
                  </a:lnTo>
                  <a:lnTo>
                    <a:pt x="200025" y="70485"/>
                  </a:lnTo>
                  <a:lnTo>
                    <a:pt x="218123" y="62865"/>
                  </a:lnTo>
                  <a:lnTo>
                    <a:pt x="246698" y="70485"/>
                  </a:lnTo>
                  <a:lnTo>
                    <a:pt x="258127" y="78105"/>
                  </a:lnTo>
                  <a:lnTo>
                    <a:pt x="270510" y="71438"/>
                  </a:lnTo>
                  <a:lnTo>
                    <a:pt x="279082" y="71438"/>
                  </a:lnTo>
                  <a:lnTo>
                    <a:pt x="284798" y="55245"/>
                  </a:lnTo>
                  <a:lnTo>
                    <a:pt x="317182" y="38100"/>
                  </a:lnTo>
                  <a:lnTo>
                    <a:pt x="321945" y="45720"/>
                  </a:lnTo>
                  <a:lnTo>
                    <a:pt x="329565" y="73342"/>
                  </a:lnTo>
                  <a:lnTo>
                    <a:pt x="362902" y="86677"/>
                  </a:lnTo>
                  <a:lnTo>
                    <a:pt x="374332" y="10668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17" name="Freeform: Shape 2116">
              <a:extLst>
                <a:ext uri="{FF2B5EF4-FFF2-40B4-BE49-F238E27FC236}">
                  <a16:creationId xmlns:a16="http://schemas.microsoft.com/office/drawing/2014/main" id="{4D1278F3-B2A0-27C7-ACC9-430618515154}"/>
                </a:ext>
              </a:extLst>
            </p:cNvPr>
            <p:cNvSpPr/>
            <p:nvPr/>
          </p:nvSpPr>
          <p:spPr>
            <a:xfrm>
              <a:off x="7187564" y="3810952"/>
              <a:ext cx="986790" cy="120967"/>
            </a:xfrm>
            <a:custGeom>
              <a:avLst/>
              <a:gdLst>
                <a:gd name="connsiteX0" fmla="*/ 24765 w 986790"/>
                <a:gd name="connsiteY0" fmla="*/ 118110 h 120967"/>
                <a:gd name="connsiteX1" fmla="*/ 246698 w 986790"/>
                <a:gd name="connsiteY1" fmla="*/ 103822 h 120967"/>
                <a:gd name="connsiteX2" fmla="*/ 252413 w 986790"/>
                <a:gd name="connsiteY2" fmla="*/ 95250 h 120967"/>
                <a:gd name="connsiteX3" fmla="*/ 240983 w 986790"/>
                <a:gd name="connsiteY3" fmla="*/ 64770 h 120967"/>
                <a:gd name="connsiteX4" fmla="*/ 276225 w 986790"/>
                <a:gd name="connsiteY4" fmla="*/ 64770 h 120967"/>
                <a:gd name="connsiteX5" fmla="*/ 282893 w 986790"/>
                <a:gd name="connsiteY5" fmla="*/ 70485 h 120967"/>
                <a:gd name="connsiteX6" fmla="*/ 498158 w 986790"/>
                <a:gd name="connsiteY6" fmla="*/ 51435 h 120967"/>
                <a:gd name="connsiteX7" fmla="*/ 522923 w 986790"/>
                <a:gd name="connsiteY7" fmla="*/ 43815 h 120967"/>
                <a:gd name="connsiteX8" fmla="*/ 688658 w 986790"/>
                <a:gd name="connsiteY8" fmla="*/ 34290 h 120967"/>
                <a:gd name="connsiteX9" fmla="*/ 738188 w 986790"/>
                <a:gd name="connsiteY9" fmla="*/ 26670 h 120967"/>
                <a:gd name="connsiteX10" fmla="*/ 933450 w 986790"/>
                <a:gd name="connsiteY10" fmla="*/ 13335 h 120967"/>
                <a:gd name="connsiteX11" fmla="*/ 986790 w 986790"/>
                <a:gd name="connsiteY11" fmla="*/ 0 h 120967"/>
                <a:gd name="connsiteX12" fmla="*/ 0 w 986790"/>
                <a:gd name="connsiteY12" fmla="*/ 120967 h 120967"/>
                <a:gd name="connsiteX13" fmla="*/ 9525 w 986790"/>
                <a:gd name="connsiteY13" fmla="*/ 120967 h 1209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86790" h="120967">
                  <a:moveTo>
                    <a:pt x="24765" y="118110"/>
                  </a:moveTo>
                  <a:lnTo>
                    <a:pt x="246698" y="103822"/>
                  </a:lnTo>
                  <a:lnTo>
                    <a:pt x="252413" y="95250"/>
                  </a:lnTo>
                  <a:lnTo>
                    <a:pt x="240983" y="64770"/>
                  </a:lnTo>
                  <a:lnTo>
                    <a:pt x="276225" y="64770"/>
                  </a:lnTo>
                  <a:lnTo>
                    <a:pt x="282893" y="70485"/>
                  </a:lnTo>
                  <a:lnTo>
                    <a:pt x="498158" y="51435"/>
                  </a:lnTo>
                  <a:lnTo>
                    <a:pt x="522923" y="43815"/>
                  </a:lnTo>
                  <a:lnTo>
                    <a:pt x="688658" y="34290"/>
                  </a:lnTo>
                  <a:lnTo>
                    <a:pt x="738188" y="26670"/>
                  </a:lnTo>
                  <a:lnTo>
                    <a:pt x="933450" y="13335"/>
                  </a:lnTo>
                  <a:lnTo>
                    <a:pt x="986790" y="0"/>
                  </a:lnTo>
                  <a:moveTo>
                    <a:pt x="0" y="120967"/>
                  </a:moveTo>
                  <a:lnTo>
                    <a:pt x="9525" y="120967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18" name="Freeform: Shape 2117">
              <a:extLst>
                <a:ext uri="{FF2B5EF4-FFF2-40B4-BE49-F238E27FC236}">
                  <a16:creationId xmlns:a16="http://schemas.microsoft.com/office/drawing/2014/main" id="{9F17C87D-DD77-C955-24C4-092302FD8B04}"/>
                </a:ext>
              </a:extLst>
            </p:cNvPr>
            <p:cNvSpPr/>
            <p:nvPr/>
          </p:nvSpPr>
          <p:spPr>
            <a:xfrm>
              <a:off x="8174354" y="3580447"/>
              <a:ext cx="238125" cy="230505"/>
            </a:xfrm>
            <a:custGeom>
              <a:avLst/>
              <a:gdLst>
                <a:gd name="connsiteX0" fmla="*/ 0 w 238125"/>
                <a:gd name="connsiteY0" fmla="*/ 230505 h 230505"/>
                <a:gd name="connsiteX1" fmla="*/ 65722 w 238125"/>
                <a:gd name="connsiteY1" fmla="*/ 190500 h 230505"/>
                <a:gd name="connsiteX2" fmla="*/ 75247 w 238125"/>
                <a:gd name="connsiteY2" fmla="*/ 186690 h 230505"/>
                <a:gd name="connsiteX3" fmla="*/ 80010 w 238125"/>
                <a:gd name="connsiteY3" fmla="*/ 168593 h 230505"/>
                <a:gd name="connsiteX4" fmla="*/ 97155 w 238125"/>
                <a:gd name="connsiteY4" fmla="*/ 163830 h 230505"/>
                <a:gd name="connsiteX5" fmla="*/ 110490 w 238125"/>
                <a:gd name="connsiteY5" fmla="*/ 150495 h 230505"/>
                <a:gd name="connsiteX6" fmla="*/ 111443 w 238125"/>
                <a:gd name="connsiteY6" fmla="*/ 134303 h 230505"/>
                <a:gd name="connsiteX7" fmla="*/ 131445 w 238125"/>
                <a:gd name="connsiteY7" fmla="*/ 121920 h 230505"/>
                <a:gd name="connsiteX8" fmla="*/ 135255 w 238125"/>
                <a:gd name="connsiteY8" fmla="*/ 100965 h 230505"/>
                <a:gd name="connsiteX9" fmla="*/ 163830 w 238125"/>
                <a:gd name="connsiteY9" fmla="*/ 72390 h 230505"/>
                <a:gd name="connsiteX10" fmla="*/ 191452 w 238125"/>
                <a:gd name="connsiteY10" fmla="*/ 62865 h 230505"/>
                <a:gd name="connsiteX11" fmla="*/ 238125 w 238125"/>
                <a:gd name="connsiteY11" fmla="*/ 0 h 230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38125" h="230505">
                  <a:moveTo>
                    <a:pt x="0" y="230505"/>
                  </a:moveTo>
                  <a:lnTo>
                    <a:pt x="65722" y="190500"/>
                  </a:lnTo>
                  <a:lnTo>
                    <a:pt x="75247" y="186690"/>
                  </a:lnTo>
                  <a:lnTo>
                    <a:pt x="80010" y="168593"/>
                  </a:lnTo>
                  <a:lnTo>
                    <a:pt x="97155" y="163830"/>
                  </a:lnTo>
                  <a:lnTo>
                    <a:pt x="110490" y="150495"/>
                  </a:lnTo>
                  <a:lnTo>
                    <a:pt x="111443" y="134303"/>
                  </a:lnTo>
                  <a:lnTo>
                    <a:pt x="131445" y="121920"/>
                  </a:lnTo>
                  <a:lnTo>
                    <a:pt x="135255" y="100965"/>
                  </a:lnTo>
                  <a:lnTo>
                    <a:pt x="163830" y="72390"/>
                  </a:lnTo>
                  <a:lnTo>
                    <a:pt x="191452" y="62865"/>
                  </a:lnTo>
                  <a:lnTo>
                    <a:pt x="238125" y="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19" name="Freeform: Shape 2118">
              <a:extLst>
                <a:ext uri="{FF2B5EF4-FFF2-40B4-BE49-F238E27FC236}">
                  <a16:creationId xmlns:a16="http://schemas.microsoft.com/office/drawing/2014/main" id="{B1CBBDE7-6844-466D-0338-29D9B9399602}"/>
                </a:ext>
              </a:extLst>
            </p:cNvPr>
            <p:cNvSpPr/>
            <p:nvPr/>
          </p:nvSpPr>
          <p:spPr>
            <a:xfrm>
              <a:off x="8283892" y="3413759"/>
              <a:ext cx="128587" cy="167640"/>
            </a:xfrm>
            <a:custGeom>
              <a:avLst/>
              <a:gdLst>
                <a:gd name="connsiteX0" fmla="*/ 952 w 128587"/>
                <a:gd name="connsiteY0" fmla="*/ 0 h 167640"/>
                <a:gd name="connsiteX1" fmla="*/ 0 w 128587"/>
                <a:gd name="connsiteY1" fmla="*/ 10478 h 167640"/>
                <a:gd name="connsiteX2" fmla="*/ 5715 w 128587"/>
                <a:gd name="connsiteY2" fmla="*/ 20003 h 167640"/>
                <a:gd name="connsiteX3" fmla="*/ 0 w 128587"/>
                <a:gd name="connsiteY3" fmla="*/ 54293 h 167640"/>
                <a:gd name="connsiteX4" fmla="*/ 18097 w 128587"/>
                <a:gd name="connsiteY4" fmla="*/ 69533 h 167640"/>
                <a:gd name="connsiteX5" fmla="*/ 25718 w 128587"/>
                <a:gd name="connsiteY5" fmla="*/ 80010 h 167640"/>
                <a:gd name="connsiteX6" fmla="*/ 35243 w 128587"/>
                <a:gd name="connsiteY6" fmla="*/ 85725 h 167640"/>
                <a:gd name="connsiteX7" fmla="*/ 34290 w 128587"/>
                <a:gd name="connsiteY7" fmla="*/ 94297 h 167640"/>
                <a:gd name="connsiteX8" fmla="*/ 76200 w 128587"/>
                <a:gd name="connsiteY8" fmla="*/ 147638 h 167640"/>
                <a:gd name="connsiteX9" fmla="*/ 89535 w 128587"/>
                <a:gd name="connsiteY9" fmla="*/ 147638 h 167640"/>
                <a:gd name="connsiteX10" fmla="*/ 103822 w 128587"/>
                <a:gd name="connsiteY10" fmla="*/ 164783 h 167640"/>
                <a:gd name="connsiteX11" fmla="*/ 115252 w 128587"/>
                <a:gd name="connsiteY11" fmla="*/ 167640 h 167640"/>
                <a:gd name="connsiteX12" fmla="*/ 128588 w 128587"/>
                <a:gd name="connsiteY12" fmla="*/ 166688 h 167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8587" h="167640">
                  <a:moveTo>
                    <a:pt x="952" y="0"/>
                  </a:moveTo>
                  <a:lnTo>
                    <a:pt x="0" y="10478"/>
                  </a:lnTo>
                  <a:lnTo>
                    <a:pt x="5715" y="20003"/>
                  </a:lnTo>
                  <a:lnTo>
                    <a:pt x="0" y="54293"/>
                  </a:lnTo>
                  <a:lnTo>
                    <a:pt x="18097" y="69533"/>
                  </a:lnTo>
                  <a:lnTo>
                    <a:pt x="25718" y="80010"/>
                  </a:lnTo>
                  <a:lnTo>
                    <a:pt x="35243" y="85725"/>
                  </a:lnTo>
                  <a:lnTo>
                    <a:pt x="34290" y="94297"/>
                  </a:lnTo>
                  <a:lnTo>
                    <a:pt x="76200" y="147638"/>
                  </a:lnTo>
                  <a:lnTo>
                    <a:pt x="89535" y="147638"/>
                  </a:lnTo>
                  <a:lnTo>
                    <a:pt x="103822" y="164783"/>
                  </a:lnTo>
                  <a:lnTo>
                    <a:pt x="115252" y="167640"/>
                  </a:lnTo>
                  <a:lnTo>
                    <a:pt x="128588" y="166688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20" name="Freeform: Shape 2119">
              <a:extLst>
                <a:ext uri="{FF2B5EF4-FFF2-40B4-BE49-F238E27FC236}">
                  <a16:creationId xmlns:a16="http://schemas.microsoft.com/office/drawing/2014/main" id="{337741F1-AC39-1AFB-FF47-CE03C620684E}"/>
                </a:ext>
              </a:extLst>
            </p:cNvPr>
            <p:cNvSpPr/>
            <p:nvPr/>
          </p:nvSpPr>
          <p:spPr>
            <a:xfrm>
              <a:off x="6889431" y="4685347"/>
              <a:ext cx="383857" cy="577215"/>
            </a:xfrm>
            <a:custGeom>
              <a:avLst/>
              <a:gdLst>
                <a:gd name="connsiteX0" fmla="*/ 59055 w 383857"/>
                <a:gd name="connsiteY0" fmla="*/ 0 h 577215"/>
                <a:gd name="connsiteX1" fmla="*/ 53340 w 383857"/>
                <a:gd name="connsiteY1" fmla="*/ 13335 h 577215"/>
                <a:gd name="connsiteX2" fmla="*/ 68580 w 383857"/>
                <a:gd name="connsiteY2" fmla="*/ 80963 h 577215"/>
                <a:gd name="connsiteX3" fmla="*/ 80010 w 383857"/>
                <a:gd name="connsiteY3" fmla="*/ 90488 h 577215"/>
                <a:gd name="connsiteX4" fmla="*/ 75248 w 383857"/>
                <a:gd name="connsiteY4" fmla="*/ 106680 h 577215"/>
                <a:gd name="connsiteX5" fmla="*/ 98107 w 383857"/>
                <a:gd name="connsiteY5" fmla="*/ 130493 h 577215"/>
                <a:gd name="connsiteX6" fmla="*/ 98107 w 383857"/>
                <a:gd name="connsiteY6" fmla="*/ 161925 h 577215"/>
                <a:gd name="connsiteX7" fmla="*/ 79057 w 383857"/>
                <a:gd name="connsiteY7" fmla="*/ 161925 h 577215"/>
                <a:gd name="connsiteX8" fmla="*/ 96203 w 383857"/>
                <a:gd name="connsiteY8" fmla="*/ 185738 h 577215"/>
                <a:gd name="connsiteX9" fmla="*/ 39053 w 383857"/>
                <a:gd name="connsiteY9" fmla="*/ 265747 h 577215"/>
                <a:gd name="connsiteX10" fmla="*/ 16193 w 383857"/>
                <a:gd name="connsiteY10" fmla="*/ 311468 h 577215"/>
                <a:gd name="connsiteX11" fmla="*/ 0 w 383857"/>
                <a:gd name="connsiteY11" fmla="*/ 424815 h 577215"/>
                <a:gd name="connsiteX12" fmla="*/ 342900 w 383857"/>
                <a:gd name="connsiteY12" fmla="*/ 405765 h 577215"/>
                <a:gd name="connsiteX13" fmla="*/ 341948 w 383857"/>
                <a:gd name="connsiteY13" fmla="*/ 419100 h 577215"/>
                <a:gd name="connsiteX14" fmla="*/ 332423 w 383857"/>
                <a:gd name="connsiteY14" fmla="*/ 432435 h 577215"/>
                <a:gd name="connsiteX15" fmla="*/ 323850 w 383857"/>
                <a:gd name="connsiteY15" fmla="*/ 476250 h 577215"/>
                <a:gd name="connsiteX16" fmla="*/ 369570 w 383857"/>
                <a:gd name="connsiteY16" fmla="*/ 541020 h 577215"/>
                <a:gd name="connsiteX17" fmla="*/ 366713 w 383857"/>
                <a:gd name="connsiteY17" fmla="*/ 553403 h 577215"/>
                <a:gd name="connsiteX18" fmla="*/ 378143 w 383857"/>
                <a:gd name="connsiteY18" fmla="*/ 570547 h 577215"/>
                <a:gd name="connsiteX19" fmla="*/ 383857 w 383857"/>
                <a:gd name="connsiteY19" fmla="*/ 577215 h 5772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83857" h="577215">
                  <a:moveTo>
                    <a:pt x="59055" y="0"/>
                  </a:moveTo>
                  <a:lnTo>
                    <a:pt x="53340" y="13335"/>
                  </a:lnTo>
                  <a:lnTo>
                    <a:pt x="68580" y="80963"/>
                  </a:lnTo>
                  <a:lnTo>
                    <a:pt x="80010" y="90488"/>
                  </a:lnTo>
                  <a:lnTo>
                    <a:pt x="75248" y="106680"/>
                  </a:lnTo>
                  <a:lnTo>
                    <a:pt x="98107" y="130493"/>
                  </a:lnTo>
                  <a:lnTo>
                    <a:pt x="98107" y="161925"/>
                  </a:lnTo>
                  <a:lnTo>
                    <a:pt x="79057" y="161925"/>
                  </a:lnTo>
                  <a:lnTo>
                    <a:pt x="96203" y="185738"/>
                  </a:lnTo>
                  <a:lnTo>
                    <a:pt x="39053" y="265747"/>
                  </a:lnTo>
                  <a:lnTo>
                    <a:pt x="16193" y="311468"/>
                  </a:lnTo>
                  <a:lnTo>
                    <a:pt x="0" y="424815"/>
                  </a:lnTo>
                  <a:lnTo>
                    <a:pt x="342900" y="405765"/>
                  </a:lnTo>
                  <a:lnTo>
                    <a:pt x="341948" y="419100"/>
                  </a:lnTo>
                  <a:lnTo>
                    <a:pt x="332423" y="432435"/>
                  </a:lnTo>
                  <a:lnTo>
                    <a:pt x="323850" y="476250"/>
                  </a:lnTo>
                  <a:lnTo>
                    <a:pt x="369570" y="541020"/>
                  </a:lnTo>
                  <a:lnTo>
                    <a:pt x="366713" y="553403"/>
                  </a:lnTo>
                  <a:lnTo>
                    <a:pt x="378143" y="570547"/>
                  </a:lnTo>
                  <a:lnTo>
                    <a:pt x="383857" y="577215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21" name="Freeform: Shape 2120">
              <a:extLst>
                <a:ext uri="{FF2B5EF4-FFF2-40B4-BE49-F238E27FC236}">
                  <a16:creationId xmlns:a16="http://schemas.microsoft.com/office/drawing/2014/main" id="{6BD60F8E-D07C-A49D-579B-416101DC52FE}"/>
                </a:ext>
              </a:extLst>
            </p:cNvPr>
            <p:cNvSpPr/>
            <p:nvPr/>
          </p:nvSpPr>
          <p:spPr>
            <a:xfrm>
              <a:off x="6450329" y="4697730"/>
              <a:ext cx="96202" cy="701039"/>
            </a:xfrm>
            <a:custGeom>
              <a:avLst/>
              <a:gdLst>
                <a:gd name="connsiteX0" fmla="*/ 0 w 96202"/>
                <a:gd name="connsiteY0" fmla="*/ 0 h 701039"/>
                <a:gd name="connsiteX1" fmla="*/ 4763 w 96202"/>
                <a:gd name="connsiteY1" fmla="*/ 189547 h 701039"/>
                <a:gd name="connsiteX2" fmla="*/ 11430 w 96202"/>
                <a:gd name="connsiteY2" fmla="*/ 221932 h 701039"/>
                <a:gd name="connsiteX3" fmla="*/ 36195 w 96202"/>
                <a:gd name="connsiteY3" fmla="*/ 248602 h 701039"/>
                <a:gd name="connsiteX4" fmla="*/ 42863 w 96202"/>
                <a:gd name="connsiteY4" fmla="*/ 300038 h 701039"/>
                <a:gd name="connsiteX5" fmla="*/ 79057 w 96202"/>
                <a:gd name="connsiteY5" fmla="*/ 343852 h 701039"/>
                <a:gd name="connsiteX6" fmla="*/ 86677 w 96202"/>
                <a:gd name="connsiteY6" fmla="*/ 384810 h 701039"/>
                <a:gd name="connsiteX7" fmla="*/ 96202 w 96202"/>
                <a:gd name="connsiteY7" fmla="*/ 384810 h 701039"/>
                <a:gd name="connsiteX8" fmla="*/ 95250 w 96202"/>
                <a:gd name="connsiteY8" fmla="*/ 454342 h 701039"/>
                <a:gd name="connsiteX9" fmla="*/ 63818 w 96202"/>
                <a:gd name="connsiteY9" fmla="*/ 515302 h 701039"/>
                <a:gd name="connsiteX10" fmla="*/ 76200 w 96202"/>
                <a:gd name="connsiteY10" fmla="*/ 537210 h 701039"/>
                <a:gd name="connsiteX11" fmla="*/ 63818 w 96202"/>
                <a:gd name="connsiteY11" fmla="*/ 551497 h 701039"/>
                <a:gd name="connsiteX12" fmla="*/ 70485 w 96202"/>
                <a:gd name="connsiteY12" fmla="*/ 580072 h 701039"/>
                <a:gd name="connsiteX13" fmla="*/ 69532 w 96202"/>
                <a:gd name="connsiteY13" fmla="*/ 621030 h 701039"/>
                <a:gd name="connsiteX14" fmla="*/ 48577 w 96202"/>
                <a:gd name="connsiteY14" fmla="*/ 654367 h 701039"/>
                <a:gd name="connsiteX15" fmla="*/ 47625 w 96202"/>
                <a:gd name="connsiteY15" fmla="*/ 661988 h 701039"/>
                <a:gd name="connsiteX16" fmla="*/ 31432 w 96202"/>
                <a:gd name="connsiteY16" fmla="*/ 673417 h 701039"/>
                <a:gd name="connsiteX17" fmla="*/ 40957 w 96202"/>
                <a:gd name="connsiteY17" fmla="*/ 690563 h 701039"/>
                <a:gd name="connsiteX18" fmla="*/ 52388 w 96202"/>
                <a:gd name="connsiteY18" fmla="*/ 701040 h 7010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202" h="701039">
                  <a:moveTo>
                    <a:pt x="0" y="0"/>
                  </a:moveTo>
                  <a:lnTo>
                    <a:pt x="4763" y="189547"/>
                  </a:lnTo>
                  <a:lnTo>
                    <a:pt x="11430" y="221932"/>
                  </a:lnTo>
                  <a:lnTo>
                    <a:pt x="36195" y="248602"/>
                  </a:lnTo>
                  <a:lnTo>
                    <a:pt x="42863" y="300038"/>
                  </a:lnTo>
                  <a:lnTo>
                    <a:pt x="79057" y="343852"/>
                  </a:lnTo>
                  <a:lnTo>
                    <a:pt x="86677" y="384810"/>
                  </a:lnTo>
                  <a:lnTo>
                    <a:pt x="96202" y="384810"/>
                  </a:lnTo>
                  <a:lnTo>
                    <a:pt x="95250" y="454342"/>
                  </a:lnTo>
                  <a:lnTo>
                    <a:pt x="63818" y="515302"/>
                  </a:lnTo>
                  <a:lnTo>
                    <a:pt x="76200" y="537210"/>
                  </a:lnTo>
                  <a:lnTo>
                    <a:pt x="63818" y="551497"/>
                  </a:lnTo>
                  <a:lnTo>
                    <a:pt x="70485" y="580072"/>
                  </a:lnTo>
                  <a:lnTo>
                    <a:pt x="69532" y="621030"/>
                  </a:lnTo>
                  <a:lnTo>
                    <a:pt x="48577" y="654367"/>
                  </a:lnTo>
                  <a:lnTo>
                    <a:pt x="47625" y="661988"/>
                  </a:lnTo>
                  <a:lnTo>
                    <a:pt x="31432" y="673417"/>
                  </a:lnTo>
                  <a:lnTo>
                    <a:pt x="40957" y="690563"/>
                  </a:lnTo>
                  <a:lnTo>
                    <a:pt x="52388" y="70104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22" name="Freeform: Shape 2121">
              <a:extLst>
                <a:ext uri="{FF2B5EF4-FFF2-40B4-BE49-F238E27FC236}">
                  <a16:creationId xmlns:a16="http://schemas.microsoft.com/office/drawing/2014/main" id="{CA2F4CDB-CA64-7259-5A5F-A188C649347F}"/>
                </a:ext>
              </a:extLst>
            </p:cNvPr>
            <p:cNvSpPr/>
            <p:nvPr/>
          </p:nvSpPr>
          <p:spPr>
            <a:xfrm>
              <a:off x="9682162" y="2112645"/>
              <a:ext cx="239077" cy="93345"/>
            </a:xfrm>
            <a:custGeom>
              <a:avLst/>
              <a:gdLst>
                <a:gd name="connsiteX0" fmla="*/ 0 w 239077"/>
                <a:gd name="connsiteY0" fmla="*/ 93345 h 93345"/>
                <a:gd name="connsiteX1" fmla="*/ 175260 w 239077"/>
                <a:gd name="connsiteY1" fmla="*/ 57150 h 93345"/>
                <a:gd name="connsiteX2" fmla="*/ 184785 w 239077"/>
                <a:gd name="connsiteY2" fmla="*/ 42863 h 93345"/>
                <a:gd name="connsiteX3" fmla="*/ 187643 w 239077"/>
                <a:gd name="connsiteY3" fmla="*/ 26670 h 93345"/>
                <a:gd name="connsiteX4" fmla="*/ 205740 w 239077"/>
                <a:gd name="connsiteY4" fmla="*/ 20955 h 93345"/>
                <a:gd name="connsiteX5" fmla="*/ 210502 w 239077"/>
                <a:gd name="connsiteY5" fmla="*/ 10477 h 93345"/>
                <a:gd name="connsiteX6" fmla="*/ 226695 w 239077"/>
                <a:gd name="connsiteY6" fmla="*/ 0 h 93345"/>
                <a:gd name="connsiteX7" fmla="*/ 239077 w 239077"/>
                <a:gd name="connsiteY7" fmla="*/ 2858 h 93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9077" h="93345">
                  <a:moveTo>
                    <a:pt x="0" y="93345"/>
                  </a:moveTo>
                  <a:lnTo>
                    <a:pt x="175260" y="57150"/>
                  </a:lnTo>
                  <a:lnTo>
                    <a:pt x="184785" y="42863"/>
                  </a:lnTo>
                  <a:lnTo>
                    <a:pt x="187643" y="26670"/>
                  </a:lnTo>
                  <a:lnTo>
                    <a:pt x="205740" y="20955"/>
                  </a:lnTo>
                  <a:lnTo>
                    <a:pt x="210502" y="10477"/>
                  </a:lnTo>
                  <a:lnTo>
                    <a:pt x="226695" y="0"/>
                  </a:lnTo>
                  <a:lnTo>
                    <a:pt x="239077" y="2858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23" name="Freeform: Shape 2122">
              <a:extLst>
                <a:ext uri="{FF2B5EF4-FFF2-40B4-BE49-F238E27FC236}">
                  <a16:creationId xmlns:a16="http://schemas.microsoft.com/office/drawing/2014/main" id="{05442815-55F5-8600-46B4-546A5A4883E5}"/>
                </a:ext>
              </a:extLst>
            </p:cNvPr>
            <p:cNvSpPr/>
            <p:nvPr/>
          </p:nvSpPr>
          <p:spPr>
            <a:xfrm>
              <a:off x="9559289" y="2231707"/>
              <a:ext cx="6667" cy="152400"/>
            </a:xfrm>
            <a:custGeom>
              <a:avLst/>
              <a:gdLst>
                <a:gd name="connsiteX0" fmla="*/ 6668 w 6667"/>
                <a:gd name="connsiteY0" fmla="*/ 152400 h 152400"/>
                <a:gd name="connsiteX1" fmla="*/ 0 w 6667"/>
                <a:gd name="connsiteY1" fmla="*/ 142875 h 152400"/>
                <a:gd name="connsiteX2" fmla="*/ 4763 w 6667"/>
                <a:gd name="connsiteY2" fmla="*/ 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67" h="152400">
                  <a:moveTo>
                    <a:pt x="6668" y="152400"/>
                  </a:moveTo>
                  <a:lnTo>
                    <a:pt x="0" y="142875"/>
                  </a:lnTo>
                  <a:lnTo>
                    <a:pt x="4763" y="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24" name="Freeform: Shape 2123">
              <a:extLst>
                <a:ext uri="{FF2B5EF4-FFF2-40B4-BE49-F238E27FC236}">
                  <a16:creationId xmlns:a16="http://schemas.microsoft.com/office/drawing/2014/main" id="{E2495058-60E4-7C0D-1FE5-4E5972FEDD78}"/>
                </a:ext>
              </a:extLst>
            </p:cNvPr>
            <p:cNvSpPr/>
            <p:nvPr/>
          </p:nvSpPr>
          <p:spPr>
            <a:xfrm>
              <a:off x="9822179" y="2309812"/>
              <a:ext cx="132397" cy="97154"/>
            </a:xfrm>
            <a:custGeom>
              <a:avLst/>
              <a:gdLst>
                <a:gd name="connsiteX0" fmla="*/ 0 w 132397"/>
                <a:gd name="connsiteY0" fmla="*/ 19050 h 97154"/>
                <a:gd name="connsiteX1" fmla="*/ 61913 w 132397"/>
                <a:gd name="connsiteY1" fmla="*/ 0 h 97154"/>
                <a:gd name="connsiteX2" fmla="*/ 68580 w 132397"/>
                <a:gd name="connsiteY2" fmla="*/ 24765 h 97154"/>
                <a:gd name="connsiteX3" fmla="*/ 76200 w 132397"/>
                <a:gd name="connsiteY3" fmla="*/ 24765 h 97154"/>
                <a:gd name="connsiteX4" fmla="*/ 81915 w 132397"/>
                <a:gd name="connsiteY4" fmla="*/ 45720 h 97154"/>
                <a:gd name="connsiteX5" fmla="*/ 106680 w 132397"/>
                <a:gd name="connsiteY5" fmla="*/ 58103 h 97154"/>
                <a:gd name="connsiteX6" fmla="*/ 119063 w 132397"/>
                <a:gd name="connsiteY6" fmla="*/ 68580 h 97154"/>
                <a:gd name="connsiteX7" fmla="*/ 132397 w 132397"/>
                <a:gd name="connsiteY7" fmla="*/ 97155 h 971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32397" h="97154">
                  <a:moveTo>
                    <a:pt x="0" y="19050"/>
                  </a:moveTo>
                  <a:lnTo>
                    <a:pt x="61913" y="0"/>
                  </a:lnTo>
                  <a:lnTo>
                    <a:pt x="68580" y="24765"/>
                  </a:lnTo>
                  <a:lnTo>
                    <a:pt x="76200" y="24765"/>
                  </a:lnTo>
                  <a:lnTo>
                    <a:pt x="81915" y="45720"/>
                  </a:lnTo>
                  <a:lnTo>
                    <a:pt x="106680" y="58103"/>
                  </a:lnTo>
                  <a:lnTo>
                    <a:pt x="119063" y="68580"/>
                  </a:lnTo>
                  <a:lnTo>
                    <a:pt x="132397" y="97155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25" name="Freeform: Shape 2124">
              <a:extLst>
                <a:ext uri="{FF2B5EF4-FFF2-40B4-BE49-F238E27FC236}">
                  <a16:creationId xmlns:a16="http://schemas.microsoft.com/office/drawing/2014/main" id="{0D792AB8-75E1-D3B4-B7BD-D891675814EB}"/>
                </a:ext>
              </a:extLst>
            </p:cNvPr>
            <p:cNvSpPr/>
            <p:nvPr/>
          </p:nvSpPr>
          <p:spPr>
            <a:xfrm>
              <a:off x="9564051" y="2205990"/>
              <a:ext cx="118110" cy="25717"/>
            </a:xfrm>
            <a:custGeom>
              <a:avLst/>
              <a:gdLst>
                <a:gd name="connsiteX0" fmla="*/ 0 w 118110"/>
                <a:gd name="connsiteY0" fmla="*/ 25717 h 25717"/>
                <a:gd name="connsiteX1" fmla="*/ 118110 w 118110"/>
                <a:gd name="connsiteY1" fmla="*/ 0 h 257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8110" h="25717">
                  <a:moveTo>
                    <a:pt x="0" y="25717"/>
                  </a:moveTo>
                  <a:lnTo>
                    <a:pt x="118110" y="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26" name="Freeform: Shape 2125">
              <a:extLst>
                <a:ext uri="{FF2B5EF4-FFF2-40B4-BE49-F238E27FC236}">
                  <a16:creationId xmlns:a16="http://schemas.microsoft.com/office/drawing/2014/main" id="{1389F98D-196D-8514-00BA-2ED6C86D56E4}"/>
                </a:ext>
              </a:extLst>
            </p:cNvPr>
            <p:cNvSpPr/>
            <p:nvPr/>
          </p:nvSpPr>
          <p:spPr>
            <a:xfrm>
              <a:off x="8742997" y="2944177"/>
              <a:ext cx="576262" cy="112394"/>
            </a:xfrm>
            <a:custGeom>
              <a:avLst/>
              <a:gdLst>
                <a:gd name="connsiteX0" fmla="*/ 0 w 576262"/>
                <a:gd name="connsiteY0" fmla="*/ 112395 h 112394"/>
                <a:gd name="connsiteX1" fmla="*/ 576263 w 576262"/>
                <a:gd name="connsiteY1" fmla="*/ 0 h 112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76262" h="112394">
                  <a:moveTo>
                    <a:pt x="0" y="112395"/>
                  </a:moveTo>
                  <a:lnTo>
                    <a:pt x="576263" y="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27" name="Freeform: Shape 2126">
              <a:extLst>
                <a:ext uri="{FF2B5EF4-FFF2-40B4-BE49-F238E27FC236}">
                  <a16:creationId xmlns:a16="http://schemas.microsoft.com/office/drawing/2014/main" id="{97267128-B643-F793-0688-0F72CE94DFC9}"/>
                </a:ext>
              </a:extLst>
            </p:cNvPr>
            <p:cNvSpPr/>
            <p:nvPr/>
          </p:nvSpPr>
          <p:spPr>
            <a:xfrm>
              <a:off x="9036367" y="3088957"/>
              <a:ext cx="448627" cy="229552"/>
            </a:xfrm>
            <a:custGeom>
              <a:avLst/>
              <a:gdLst>
                <a:gd name="connsiteX0" fmla="*/ 330518 w 448627"/>
                <a:gd name="connsiteY0" fmla="*/ 228600 h 229552"/>
                <a:gd name="connsiteX1" fmla="*/ 322897 w 448627"/>
                <a:gd name="connsiteY1" fmla="*/ 229552 h 229552"/>
                <a:gd name="connsiteX2" fmla="*/ 448627 w 448627"/>
                <a:gd name="connsiteY2" fmla="*/ 188595 h 229552"/>
                <a:gd name="connsiteX3" fmla="*/ 442913 w 448627"/>
                <a:gd name="connsiteY3" fmla="*/ 191452 h 229552"/>
                <a:gd name="connsiteX4" fmla="*/ 430530 w 448627"/>
                <a:gd name="connsiteY4" fmla="*/ 193358 h 229552"/>
                <a:gd name="connsiteX5" fmla="*/ 386715 w 448627"/>
                <a:gd name="connsiteY5" fmla="*/ 208598 h 229552"/>
                <a:gd name="connsiteX6" fmla="*/ 380047 w 448627"/>
                <a:gd name="connsiteY6" fmla="*/ 216217 h 229552"/>
                <a:gd name="connsiteX7" fmla="*/ 111443 w 448627"/>
                <a:gd name="connsiteY7" fmla="*/ 62865 h 229552"/>
                <a:gd name="connsiteX8" fmla="*/ 105727 w 448627"/>
                <a:gd name="connsiteY8" fmla="*/ 57150 h 229552"/>
                <a:gd name="connsiteX9" fmla="*/ 96202 w 448627"/>
                <a:gd name="connsiteY9" fmla="*/ 57150 h 229552"/>
                <a:gd name="connsiteX10" fmla="*/ 90488 w 448627"/>
                <a:gd name="connsiteY10" fmla="*/ 56197 h 229552"/>
                <a:gd name="connsiteX11" fmla="*/ 86677 w 448627"/>
                <a:gd name="connsiteY11" fmla="*/ 52388 h 229552"/>
                <a:gd name="connsiteX12" fmla="*/ 87630 w 448627"/>
                <a:gd name="connsiteY12" fmla="*/ 47625 h 229552"/>
                <a:gd name="connsiteX13" fmla="*/ 71438 w 448627"/>
                <a:gd name="connsiteY13" fmla="*/ 41910 h 229552"/>
                <a:gd name="connsiteX14" fmla="*/ 63818 w 448627"/>
                <a:gd name="connsiteY14" fmla="*/ 44767 h 229552"/>
                <a:gd name="connsiteX15" fmla="*/ 52388 w 448627"/>
                <a:gd name="connsiteY15" fmla="*/ 43815 h 229552"/>
                <a:gd name="connsiteX16" fmla="*/ 45720 w 448627"/>
                <a:gd name="connsiteY16" fmla="*/ 37147 h 229552"/>
                <a:gd name="connsiteX17" fmla="*/ 40957 w 448627"/>
                <a:gd name="connsiteY17" fmla="*/ 35242 h 229552"/>
                <a:gd name="connsiteX18" fmla="*/ 39052 w 448627"/>
                <a:gd name="connsiteY18" fmla="*/ 28575 h 229552"/>
                <a:gd name="connsiteX19" fmla="*/ 44768 w 448627"/>
                <a:gd name="connsiteY19" fmla="*/ 20955 h 229552"/>
                <a:gd name="connsiteX20" fmla="*/ 44768 w 448627"/>
                <a:gd name="connsiteY20" fmla="*/ 12383 h 229552"/>
                <a:gd name="connsiteX21" fmla="*/ 33338 w 448627"/>
                <a:gd name="connsiteY21" fmla="*/ 10477 h 229552"/>
                <a:gd name="connsiteX22" fmla="*/ 23813 w 448627"/>
                <a:gd name="connsiteY22" fmla="*/ 1905 h 229552"/>
                <a:gd name="connsiteX23" fmla="*/ 15240 w 448627"/>
                <a:gd name="connsiteY23" fmla="*/ 2858 h 229552"/>
                <a:gd name="connsiteX24" fmla="*/ 0 w 448627"/>
                <a:gd name="connsiteY24" fmla="*/ 0 h 229552"/>
                <a:gd name="connsiteX25" fmla="*/ 110490 w 448627"/>
                <a:gd name="connsiteY25" fmla="*/ 128587 h 229552"/>
                <a:gd name="connsiteX26" fmla="*/ 113347 w 448627"/>
                <a:gd name="connsiteY26" fmla="*/ 124777 h 229552"/>
                <a:gd name="connsiteX27" fmla="*/ 106680 w 448627"/>
                <a:gd name="connsiteY27" fmla="*/ 115252 h 229552"/>
                <a:gd name="connsiteX28" fmla="*/ 116205 w 448627"/>
                <a:gd name="connsiteY28" fmla="*/ 114300 h 229552"/>
                <a:gd name="connsiteX29" fmla="*/ 125730 w 448627"/>
                <a:gd name="connsiteY29" fmla="*/ 105727 h 229552"/>
                <a:gd name="connsiteX30" fmla="*/ 129540 w 448627"/>
                <a:gd name="connsiteY30" fmla="*/ 88583 h 229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448627" h="229552">
                  <a:moveTo>
                    <a:pt x="330518" y="228600"/>
                  </a:moveTo>
                  <a:lnTo>
                    <a:pt x="322897" y="229552"/>
                  </a:lnTo>
                  <a:moveTo>
                    <a:pt x="448627" y="188595"/>
                  </a:moveTo>
                  <a:lnTo>
                    <a:pt x="442913" y="191452"/>
                  </a:lnTo>
                  <a:moveTo>
                    <a:pt x="430530" y="193358"/>
                  </a:moveTo>
                  <a:lnTo>
                    <a:pt x="386715" y="208598"/>
                  </a:lnTo>
                  <a:lnTo>
                    <a:pt x="380047" y="216217"/>
                  </a:lnTo>
                  <a:moveTo>
                    <a:pt x="111443" y="62865"/>
                  </a:moveTo>
                  <a:lnTo>
                    <a:pt x="105727" y="57150"/>
                  </a:lnTo>
                  <a:lnTo>
                    <a:pt x="96202" y="57150"/>
                  </a:lnTo>
                  <a:lnTo>
                    <a:pt x="90488" y="56197"/>
                  </a:lnTo>
                  <a:lnTo>
                    <a:pt x="86677" y="52388"/>
                  </a:lnTo>
                  <a:lnTo>
                    <a:pt x="87630" y="47625"/>
                  </a:lnTo>
                  <a:lnTo>
                    <a:pt x="71438" y="41910"/>
                  </a:lnTo>
                  <a:lnTo>
                    <a:pt x="63818" y="44767"/>
                  </a:lnTo>
                  <a:lnTo>
                    <a:pt x="52388" y="43815"/>
                  </a:lnTo>
                  <a:lnTo>
                    <a:pt x="45720" y="37147"/>
                  </a:lnTo>
                  <a:lnTo>
                    <a:pt x="40957" y="35242"/>
                  </a:lnTo>
                  <a:lnTo>
                    <a:pt x="39052" y="28575"/>
                  </a:lnTo>
                  <a:lnTo>
                    <a:pt x="44768" y="20955"/>
                  </a:lnTo>
                  <a:lnTo>
                    <a:pt x="44768" y="12383"/>
                  </a:lnTo>
                  <a:lnTo>
                    <a:pt x="33338" y="10477"/>
                  </a:lnTo>
                  <a:lnTo>
                    <a:pt x="23813" y="1905"/>
                  </a:lnTo>
                  <a:lnTo>
                    <a:pt x="15240" y="2858"/>
                  </a:lnTo>
                  <a:lnTo>
                    <a:pt x="0" y="0"/>
                  </a:lnTo>
                  <a:moveTo>
                    <a:pt x="110490" y="128587"/>
                  </a:moveTo>
                  <a:lnTo>
                    <a:pt x="113347" y="124777"/>
                  </a:lnTo>
                  <a:lnTo>
                    <a:pt x="106680" y="115252"/>
                  </a:lnTo>
                  <a:lnTo>
                    <a:pt x="116205" y="114300"/>
                  </a:lnTo>
                  <a:lnTo>
                    <a:pt x="125730" y="105727"/>
                  </a:lnTo>
                  <a:lnTo>
                    <a:pt x="129540" y="88583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28" name="Freeform: Shape 2127">
              <a:extLst>
                <a:ext uri="{FF2B5EF4-FFF2-40B4-BE49-F238E27FC236}">
                  <a16:creationId xmlns:a16="http://schemas.microsoft.com/office/drawing/2014/main" id="{03408D76-B1B7-CF4D-34F1-1396EF65E424}"/>
                </a:ext>
              </a:extLst>
            </p:cNvPr>
            <p:cNvSpPr/>
            <p:nvPr/>
          </p:nvSpPr>
          <p:spPr>
            <a:xfrm>
              <a:off x="8742997" y="3026092"/>
              <a:ext cx="293369" cy="139065"/>
            </a:xfrm>
            <a:custGeom>
              <a:avLst/>
              <a:gdLst>
                <a:gd name="connsiteX0" fmla="*/ 0 w 293369"/>
                <a:gd name="connsiteY0" fmla="*/ 30480 h 139065"/>
                <a:gd name="connsiteX1" fmla="*/ 16192 w 293369"/>
                <a:gd name="connsiteY1" fmla="*/ 139065 h 139065"/>
                <a:gd name="connsiteX2" fmla="*/ 33338 w 293369"/>
                <a:gd name="connsiteY2" fmla="*/ 123825 h 139065"/>
                <a:gd name="connsiteX3" fmla="*/ 41910 w 293369"/>
                <a:gd name="connsiteY3" fmla="*/ 108585 h 139065"/>
                <a:gd name="connsiteX4" fmla="*/ 71438 w 293369"/>
                <a:gd name="connsiteY4" fmla="*/ 71438 h 139065"/>
                <a:gd name="connsiteX5" fmla="*/ 92392 w 293369"/>
                <a:gd name="connsiteY5" fmla="*/ 74295 h 139065"/>
                <a:gd name="connsiteX6" fmla="*/ 117157 w 293369"/>
                <a:gd name="connsiteY6" fmla="*/ 38100 h 139065"/>
                <a:gd name="connsiteX7" fmla="*/ 135255 w 293369"/>
                <a:gd name="connsiteY7" fmla="*/ 47625 h 139065"/>
                <a:gd name="connsiteX8" fmla="*/ 166688 w 293369"/>
                <a:gd name="connsiteY8" fmla="*/ 43815 h 139065"/>
                <a:gd name="connsiteX9" fmla="*/ 182880 w 293369"/>
                <a:gd name="connsiteY9" fmla="*/ 16192 h 139065"/>
                <a:gd name="connsiteX10" fmla="*/ 195263 w 293369"/>
                <a:gd name="connsiteY10" fmla="*/ 16192 h 139065"/>
                <a:gd name="connsiteX11" fmla="*/ 203835 w 293369"/>
                <a:gd name="connsiteY11" fmla="*/ 2858 h 139065"/>
                <a:gd name="connsiteX12" fmla="*/ 217170 w 293369"/>
                <a:gd name="connsiteY12" fmla="*/ 0 h 139065"/>
                <a:gd name="connsiteX13" fmla="*/ 238125 w 293369"/>
                <a:gd name="connsiteY13" fmla="*/ 15240 h 139065"/>
                <a:gd name="connsiteX14" fmla="*/ 262890 w 293369"/>
                <a:gd name="connsiteY14" fmla="*/ 11430 h 139065"/>
                <a:gd name="connsiteX15" fmla="*/ 260985 w 293369"/>
                <a:gd name="connsiteY15" fmla="*/ 20955 h 139065"/>
                <a:gd name="connsiteX16" fmla="*/ 268605 w 293369"/>
                <a:gd name="connsiteY16" fmla="*/ 32385 h 139065"/>
                <a:gd name="connsiteX17" fmla="*/ 275272 w 293369"/>
                <a:gd name="connsiteY17" fmla="*/ 32385 h 139065"/>
                <a:gd name="connsiteX18" fmla="*/ 277177 w 293369"/>
                <a:gd name="connsiteY18" fmla="*/ 39053 h 139065"/>
                <a:gd name="connsiteX19" fmla="*/ 286702 w 293369"/>
                <a:gd name="connsiteY19" fmla="*/ 43815 h 139065"/>
                <a:gd name="connsiteX20" fmla="*/ 284797 w 293369"/>
                <a:gd name="connsiteY20" fmla="*/ 59055 h 139065"/>
                <a:gd name="connsiteX21" fmla="*/ 293370 w 293369"/>
                <a:gd name="connsiteY21" fmla="*/ 62865 h 1390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93369" h="139065">
                  <a:moveTo>
                    <a:pt x="0" y="30480"/>
                  </a:moveTo>
                  <a:lnTo>
                    <a:pt x="16192" y="139065"/>
                  </a:lnTo>
                  <a:lnTo>
                    <a:pt x="33338" y="123825"/>
                  </a:lnTo>
                  <a:lnTo>
                    <a:pt x="41910" y="108585"/>
                  </a:lnTo>
                  <a:lnTo>
                    <a:pt x="71438" y="71438"/>
                  </a:lnTo>
                  <a:lnTo>
                    <a:pt x="92392" y="74295"/>
                  </a:lnTo>
                  <a:lnTo>
                    <a:pt x="117157" y="38100"/>
                  </a:lnTo>
                  <a:lnTo>
                    <a:pt x="135255" y="47625"/>
                  </a:lnTo>
                  <a:lnTo>
                    <a:pt x="166688" y="43815"/>
                  </a:lnTo>
                  <a:lnTo>
                    <a:pt x="182880" y="16192"/>
                  </a:lnTo>
                  <a:lnTo>
                    <a:pt x="195263" y="16192"/>
                  </a:lnTo>
                  <a:lnTo>
                    <a:pt x="203835" y="2858"/>
                  </a:lnTo>
                  <a:lnTo>
                    <a:pt x="217170" y="0"/>
                  </a:lnTo>
                  <a:lnTo>
                    <a:pt x="238125" y="15240"/>
                  </a:lnTo>
                  <a:lnTo>
                    <a:pt x="262890" y="11430"/>
                  </a:lnTo>
                  <a:lnTo>
                    <a:pt x="260985" y="20955"/>
                  </a:lnTo>
                  <a:lnTo>
                    <a:pt x="268605" y="32385"/>
                  </a:lnTo>
                  <a:lnTo>
                    <a:pt x="275272" y="32385"/>
                  </a:lnTo>
                  <a:lnTo>
                    <a:pt x="277177" y="39053"/>
                  </a:lnTo>
                  <a:lnTo>
                    <a:pt x="286702" y="43815"/>
                  </a:lnTo>
                  <a:lnTo>
                    <a:pt x="284797" y="59055"/>
                  </a:lnTo>
                  <a:lnTo>
                    <a:pt x="293370" y="62865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29" name="Freeform: Shape 2128">
              <a:extLst>
                <a:ext uri="{FF2B5EF4-FFF2-40B4-BE49-F238E27FC236}">
                  <a16:creationId xmlns:a16="http://schemas.microsoft.com/office/drawing/2014/main" id="{CCAD21BB-8386-8B0C-30D2-2BCFF02D5A90}"/>
                </a:ext>
              </a:extLst>
            </p:cNvPr>
            <p:cNvSpPr/>
            <p:nvPr/>
          </p:nvSpPr>
          <p:spPr>
            <a:xfrm>
              <a:off x="9749789" y="1627822"/>
              <a:ext cx="179070" cy="441960"/>
            </a:xfrm>
            <a:custGeom>
              <a:avLst/>
              <a:gdLst>
                <a:gd name="connsiteX0" fmla="*/ 179070 w 179070"/>
                <a:gd name="connsiteY0" fmla="*/ 441960 h 441960"/>
                <a:gd name="connsiteX1" fmla="*/ 157163 w 179070"/>
                <a:gd name="connsiteY1" fmla="*/ 428625 h 441960"/>
                <a:gd name="connsiteX2" fmla="*/ 149543 w 179070"/>
                <a:gd name="connsiteY2" fmla="*/ 407670 h 441960"/>
                <a:gd name="connsiteX3" fmla="*/ 119063 w 179070"/>
                <a:gd name="connsiteY3" fmla="*/ 388620 h 441960"/>
                <a:gd name="connsiteX4" fmla="*/ 113348 w 179070"/>
                <a:gd name="connsiteY4" fmla="*/ 350520 h 441960"/>
                <a:gd name="connsiteX5" fmla="*/ 0 w 179070"/>
                <a:gd name="connsiteY5" fmla="*/ 0 h 441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9070" h="441960">
                  <a:moveTo>
                    <a:pt x="179070" y="441960"/>
                  </a:moveTo>
                  <a:lnTo>
                    <a:pt x="157163" y="428625"/>
                  </a:lnTo>
                  <a:lnTo>
                    <a:pt x="149543" y="407670"/>
                  </a:lnTo>
                  <a:lnTo>
                    <a:pt x="119063" y="388620"/>
                  </a:lnTo>
                  <a:lnTo>
                    <a:pt x="113348" y="350520"/>
                  </a:lnTo>
                  <a:lnTo>
                    <a:pt x="0" y="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30" name="Freeform: Shape 2129">
              <a:extLst>
                <a:ext uri="{FF2B5EF4-FFF2-40B4-BE49-F238E27FC236}">
                  <a16:creationId xmlns:a16="http://schemas.microsoft.com/office/drawing/2014/main" id="{D2F2340A-B753-78B4-CE5D-D834752B4135}"/>
                </a:ext>
              </a:extLst>
            </p:cNvPr>
            <p:cNvSpPr/>
            <p:nvPr/>
          </p:nvSpPr>
          <p:spPr>
            <a:xfrm>
              <a:off x="7847647" y="2730817"/>
              <a:ext cx="203834" cy="33337"/>
            </a:xfrm>
            <a:custGeom>
              <a:avLst/>
              <a:gdLst>
                <a:gd name="connsiteX0" fmla="*/ 0 w 203834"/>
                <a:gd name="connsiteY0" fmla="*/ 33338 h 33337"/>
                <a:gd name="connsiteX1" fmla="*/ 203835 w 203834"/>
                <a:gd name="connsiteY1" fmla="*/ 0 h 33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3834" h="33337">
                  <a:moveTo>
                    <a:pt x="0" y="33338"/>
                  </a:moveTo>
                  <a:lnTo>
                    <a:pt x="203835" y="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31" name="Freeform: Shape 2130">
              <a:extLst>
                <a:ext uri="{FF2B5EF4-FFF2-40B4-BE49-F238E27FC236}">
                  <a16:creationId xmlns:a16="http://schemas.microsoft.com/office/drawing/2014/main" id="{5195D512-5A53-F7A0-7753-EE4CE0204B1A}"/>
                </a:ext>
              </a:extLst>
            </p:cNvPr>
            <p:cNvSpPr/>
            <p:nvPr/>
          </p:nvSpPr>
          <p:spPr>
            <a:xfrm>
              <a:off x="6916101" y="1822132"/>
              <a:ext cx="435292" cy="273367"/>
            </a:xfrm>
            <a:custGeom>
              <a:avLst/>
              <a:gdLst>
                <a:gd name="connsiteX0" fmla="*/ 0 w 435292"/>
                <a:gd name="connsiteY0" fmla="*/ 0 h 273367"/>
                <a:gd name="connsiteX1" fmla="*/ 18098 w 435292"/>
                <a:gd name="connsiteY1" fmla="*/ 6667 h 273367"/>
                <a:gd name="connsiteX2" fmla="*/ 46673 w 435292"/>
                <a:gd name="connsiteY2" fmla="*/ 42863 h 273367"/>
                <a:gd name="connsiteX3" fmla="*/ 208598 w 435292"/>
                <a:gd name="connsiteY3" fmla="*/ 79057 h 273367"/>
                <a:gd name="connsiteX4" fmla="*/ 221933 w 435292"/>
                <a:gd name="connsiteY4" fmla="*/ 88582 h 273367"/>
                <a:gd name="connsiteX5" fmla="*/ 260033 w 435292"/>
                <a:gd name="connsiteY5" fmla="*/ 96202 h 273367"/>
                <a:gd name="connsiteX6" fmla="*/ 266700 w 435292"/>
                <a:gd name="connsiteY6" fmla="*/ 100965 h 273367"/>
                <a:gd name="connsiteX7" fmla="*/ 293370 w 435292"/>
                <a:gd name="connsiteY7" fmla="*/ 99060 h 273367"/>
                <a:gd name="connsiteX8" fmla="*/ 340043 w 435292"/>
                <a:gd name="connsiteY8" fmla="*/ 106680 h 273367"/>
                <a:gd name="connsiteX9" fmla="*/ 353378 w 435292"/>
                <a:gd name="connsiteY9" fmla="*/ 120967 h 273367"/>
                <a:gd name="connsiteX10" fmla="*/ 343853 w 435292"/>
                <a:gd name="connsiteY10" fmla="*/ 130492 h 273367"/>
                <a:gd name="connsiteX11" fmla="*/ 351473 w 435292"/>
                <a:gd name="connsiteY11" fmla="*/ 138113 h 273367"/>
                <a:gd name="connsiteX12" fmla="*/ 387668 w 435292"/>
                <a:gd name="connsiteY12" fmla="*/ 144780 h 273367"/>
                <a:gd name="connsiteX13" fmla="*/ 399098 w 435292"/>
                <a:gd name="connsiteY13" fmla="*/ 156210 h 273367"/>
                <a:gd name="connsiteX14" fmla="*/ 400050 w 435292"/>
                <a:gd name="connsiteY14" fmla="*/ 198120 h 273367"/>
                <a:gd name="connsiteX15" fmla="*/ 387668 w 435292"/>
                <a:gd name="connsiteY15" fmla="*/ 224790 h 273367"/>
                <a:gd name="connsiteX16" fmla="*/ 406718 w 435292"/>
                <a:gd name="connsiteY16" fmla="*/ 225742 h 273367"/>
                <a:gd name="connsiteX17" fmla="*/ 416243 w 435292"/>
                <a:gd name="connsiteY17" fmla="*/ 218122 h 273367"/>
                <a:gd name="connsiteX18" fmla="*/ 424815 w 435292"/>
                <a:gd name="connsiteY18" fmla="*/ 225742 h 273367"/>
                <a:gd name="connsiteX19" fmla="*/ 414338 w 435292"/>
                <a:gd name="connsiteY19" fmla="*/ 255270 h 273367"/>
                <a:gd name="connsiteX20" fmla="*/ 423863 w 435292"/>
                <a:gd name="connsiteY20" fmla="*/ 270510 h 273367"/>
                <a:gd name="connsiteX21" fmla="*/ 435293 w 435292"/>
                <a:gd name="connsiteY21" fmla="*/ 273367 h 2733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435292" h="273367">
                  <a:moveTo>
                    <a:pt x="0" y="0"/>
                  </a:moveTo>
                  <a:lnTo>
                    <a:pt x="18098" y="6667"/>
                  </a:lnTo>
                  <a:lnTo>
                    <a:pt x="46673" y="42863"/>
                  </a:lnTo>
                  <a:lnTo>
                    <a:pt x="208598" y="79057"/>
                  </a:lnTo>
                  <a:lnTo>
                    <a:pt x="221933" y="88582"/>
                  </a:lnTo>
                  <a:lnTo>
                    <a:pt x="260033" y="96202"/>
                  </a:lnTo>
                  <a:lnTo>
                    <a:pt x="266700" y="100965"/>
                  </a:lnTo>
                  <a:lnTo>
                    <a:pt x="293370" y="99060"/>
                  </a:lnTo>
                  <a:lnTo>
                    <a:pt x="340043" y="106680"/>
                  </a:lnTo>
                  <a:lnTo>
                    <a:pt x="353378" y="120967"/>
                  </a:lnTo>
                  <a:lnTo>
                    <a:pt x="343853" y="130492"/>
                  </a:lnTo>
                  <a:lnTo>
                    <a:pt x="351473" y="138113"/>
                  </a:lnTo>
                  <a:lnTo>
                    <a:pt x="387668" y="144780"/>
                  </a:lnTo>
                  <a:lnTo>
                    <a:pt x="399098" y="156210"/>
                  </a:lnTo>
                  <a:lnTo>
                    <a:pt x="400050" y="198120"/>
                  </a:lnTo>
                  <a:lnTo>
                    <a:pt x="387668" y="224790"/>
                  </a:lnTo>
                  <a:lnTo>
                    <a:pt x="406718" y="225742"/>
                  </a:lnTo>
                  <a:lnTo>
                    <a:pt x="416243" y="218122"/>
                  </a:lnTo>
                  <a:lnTo>
                    <a:pt x="424815" y="225742"/>
                  </a:lnTo>
                  <a:lnTo>
                    <a:pt x="414338" y="255270"/>
                  </a:lnTo>
                  <a:lnTo>
                    <a:pt x="423863" y="270510"/>
                  </a:lnTo>
                  <a:lnTo>
                    <a:pt x="435293" y="273367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32" name="Freeform: Shape 2131">
              <a:extLst>
                <a:ext uri="{FF2B5EF4-FFF2-40B4-BE49-F238E27FC236}">
                  <a16:creationId xmlns:a16="http://schemas.microsoft.com/office/drawing/2014/main" id="{DC24DF8A-55B1-DC7F-2F47-3686FDEF7F63}"/>
                </a:ext>
              </a:extLst>
            </p:cNvPr>
            <p:cNvSpPr/>
            <p:nvPr/>
          </p:nvSpPr>
          <p:spPr>
            <a:xfrm>
              <a:off x="5932169" y="1336357"/>
              <a:ext cx="93345" cy="639127"/>
            </a:xfrm>
            <a:custGeom>
              <a:avLst/>
              <a:gdLst>
                <a:gd name="connsiteX0" fmla="*/ 0 w 93345"/>
                <a:gd name="connsiteY0" fmla="*/ 0 h 639127"/>
                <a:gd name="connsiteX1" fmla="*/ 22860 w 93345"/>
                <a:gd name="connsiteY1" fmla="*/ 69532 h 639127"/>
                <a:gd name="connsiteX2" fmla="*/ 12383 w 93345"/>
                <a:gd name="connsiteY2" fmla="*/ 96203 h 639127"/>
                <a:gd name="connsiteX3" fmla="*/ 20003 w 93345"/>
                <a:gd name="connsiteY3" fmla="*/ 109538 h 639127"/>
                <a:gd name="connsiteX4" fmla="*/ 17145 w 93345"/>
                <a:gd name="connsiteY4" fmla="*/ 158115 h 639127"/>
                <a:gd name="connsiteX5" fmla="*/ 12383 w 93345"/>
                <a:gd name="connsiteY5" fmla="*/ 168593 h 639127"/>
                <a:gd name="connsiteX6" fmla="*/ 38100 w 93345"/>
                <a:gd name="connsiteY6" fmla="*/ 255270 h 639127"/>
                <a:gd name="connsiteX7" fmla="*/ 50483 w 93345"/>
                <a:gd name="connsiteY7" fmla="*/ 279083 h 639127"/>
                <a:gd name="connsiteX8" fmla="*/ 57150 w 93345"/>
                <a:gd name="connsiteY8" fmla="*/ 412433 h 639127"/>
                <a:gd name="connsiteX9" fmla="*/ 66675 w 93345"/>
                <a:gd name="connsiteY9" fmla="*/ 438150 h 639127"/>
                <a:gd name="connsiteX10" fmla="*/ 62865 w 93345"/>
                <a:gd name="connsiteY10" fmla="*/ 493395 h 639127"/>
                <a:gd name="connsiteX11" fmla="*/ 90488 w 93345"/>
                <a:gd name="connsiteY11" fmla="*/ 563880 h 639127"/>
                <a:gd name="connsiteX12" fmla="*/ 93345 w 93345"/>
                <a:gd name="connsiteY12" fmla="*/ 619125 h 639127"/>
                <a:gd name="connsiteX13" fmla="*/ 92393 w 93345"/>
                <a:gd name="connsiteY13" fmla="*/ 639127 h 6391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93345" h="639127">
                  <a:moveTo>
                    <a:pt x="0" y="0"/>
                  </a:moveTo>
                  <a:lnTo>
                    <a:pt x="22860" y="69532"/>
                  </a:lnTo>
                  <a:lnTo>
                    <a:pt x="12383" y="96203"/>
                  </a:lnTo>
                  <a:lnTo>
                    <a:pt x="20003" y="109538"/>
                  </a:lnTo>
                  <a:lnTo>
                    <a:pt x="17145" y="158115"/>
                  </a:lnTo>
                  <a:lnTo>
                    <a:pt x="12383" y="168593"/>
                  </a:lnTo>
                  <a:lnTo>
                    <a:pt x="38100" y="255270"/>
                  </a:lnTo>
                  <a:lnTo>
                    <a:pt x="50483" y="279083"/>
                  </a:lnTo>
                  <a:lnTo>
                    <a:pt x="57150" y="412433"/>
                  </a:lnTo>
                  <a:lnTo>
                    <a:pt x="66675" y="438150"/>
                  </a:lnTo>
                  <a:lnTo>
                    <a:pt x="62865" y="493395"/>
                  </a:lnTo>
                  <a:lnTo>
                    <a:pt x="90488" y="563880"/>
                  </a:lnTo>
                  <a:lnTo>
                    <a:pt x="93345" y="619125"/>
                  </a:lnTo>
                  <a:lnTo>
                    <a:pt x="92393" y="639127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33" name="Freeform: Shape 2132">
              <a:extLst>
                <a:ext uri="{FF2B5EF4-FFF2-40B4-BE49-F238E27FC236}">
                  <a16:creationId xmlns:a16="http://schemas.microsoft.com/office/drawing/2014/main" id="{1B4D7ED8-A666-3910-9396-0C463A61A42E}"/>
                </a:ext>
              </a:extLst>
            </p:cNvPr>
            <p:cNvSpPr/>
            <p:nvPr/>
          </p:nvSpPr>
          <p:spPr>
            <a:xfrm>
              <a:off x="5982652" y="1975484"/>
              <a:ext cx="59054" cy="510540"/>
            </a:xfrm>
            <a:custGeom>
              <a:avLst/>
              <a:gdLst>
                <a:gd name="connsiteX0" fmla="*/ 57150 w 59054"/>
                <a:gd name="connsiteY0" fmla="*/ 510540 h 510540"/>
                <a:gd name="connsiteX1" fmla="*/ 59055 w 59054"/>
                <a:gd name="connsiteY1" fmla="*/ 134303 h 510540"/>
                <a:gd name="connsiteX2" fmla="*/ 44767 w 59054"/>
                <a:gd name="connsiteY2" fmla="*/ 116205 h 510540"/>
                <a:gd name="connsiteX3" fmla="*/ 20003 w 59054"/>
                <a:gd name="connsiteY3" fmla="*/ 110490 h 510540"/>
                <a:gd name="connsiteX4" fmla="*/ 16192 w 59054"/>
                <a:gd name="connsiteY4" fmla="*/ 93345 h 510540"/>
                <a:gd name="connsiteX5" fmla="*/ 0 w 59054"/>
                <a:gd name="connsiteY5" fmla="*/ 69533 h 510540"/>
                <a:gd name="connsiteX6" fmla="*/ 2857 w 59054"/>
                <a:gd name="connsiteY6" fmla="*/ 58103 h 510540"/>
                <a:gd name="connsiteX7" fmla="*/ 32385 w 59054"/>
                <a:gd name="connsiteY7" fmla="*/ 40005 h 510540"/>
                <a:gd name="connsiteX8" fmla="*/ 40957 w 59054"/>
                <a:gd name="connsiteY8" fmla="*/ 20955 h 510540"/>
                <a:gd name="connsiteX9" fmla="*/ 41910 w 59054"/>
                <a:gd name="connsiteY9" fmla="*/ 0 h 510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9054" h="510540">
                  <a:moveTo>
                    <a:pt x="57150" y="510540"/>
                  </a:moveTo>
                  <a:lnTo>
                    <a:pt x="59055" y="134303"/>
                  </a:lnTo>
                  <a:lnTo>
                    <a:pt x="44767" y="116205"/>
                  </a:lnTo>
                  <a:lnTo>
                    <a:pt x="20003" y="110490"/>
                  </a:lnTo>
                  <a:lnTo>
                    <a:pt x="16192" y="93345"/>
                  </a:lnTo>
                  <a:lnTo>
                    <a:pt x="0" y="69533"/>
                  </a:lnTo>
                  <a:lnTo>
                    <a:pt x="2857" y="58103"/>
                  </a:lnTo>
                  <a:lnTo>
                    <a:pt x="32385" y="40005"/>
                  </a:lnTo>
                  <a:lnTo>
                    <a:pt x="40957" y="20955"/>
                  </a:lnTo>
                  <a:lnTo>
                    <a:pt x="41910" y="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34" name="Freeform: Shape 2133">
              <a:extLst>
                <a:ext uri="{FF2B5EF4-FFF2-40B4-BE49-F238E27FC236}">
                  <a16:creationId xmlns:a16="http://schemas.microsoft.com/office/drawing/2014/main" id="{4242755E-A7E1-CD8E-372A-C1EB0D87DAEB}"/>
                </a:ext>
              </a:extLst>
            </p:cNvPr>
            <p:cNvSpPr/>
            <p:nvPr/>
          </p:nvSpPr>
          <p:spPr>
            <a:xfrm>
              <a:off x="6563676" y="1796414"/>
              <a:ext cx="267652" cy="674369"/>
            </a:xfrm>
            <a:custGeom>
              <a:avLst/>
              <a:gdLst>
                <a:gd name="connsiteX0" fmla="*/ 267653 w 267652"/>
                <a:gd name="connsiteY0" fmla="*/ 674370 h 674369"/>
                <a:gd name="connsiteX1" fmla="*/ 257175 w 267652"/>
                <a:gd name="connsiteY1" fmla="*/ 631507 h 674369"/>
                <a:gd name="connsiteX2" fmla="*/ 255270 w 267652"/>
                <a:gd name="connsiteY2" fmla="*/ 602932 h 674369"/>
                <a:gd name="connsiteX3" fmla="*/ 234315 w 267652"/>
                <a:gd name="connsiteY3" fmla="*/ 574357 h 674369"/>
                <a:gd name="connsiteX4" fmla="*/ 207645 w 267652"/>
                <a:gd name="connsiteY4" fmla="*/ 567690 h 674369"/>
                <a:gd name="connsiteX5" fmla="*/ 158115 w 267652"/>
                <a:gd name="connsiteY5" fmla="*/ 533400 h 674369"/>
                <a:gd name="connsiteX6" fmla="*/ 152400 w 267652"/>
                <a:gd name="connsiteY6" fmla="*/ 501968 h 674369"/>
                <a:gd name="connsiteX7" fmla="*/ 92393 w 267652"/>
                <a:gd name="connsiteY7" fmla="*/ 472440 h 674369"/>
                <a:gd name="connsiteX8" fmla="*/ 90488 w 267652"/>
                <a:gd name="connsiteY8" fmla="*/ 460057 h 674369"/>
                <a:gd name="connsiteX9" fmla="*/ 59055 w 267652"/>
                <a:gd name="connsiteY9" fmla="*/ 460057 h 674369"/>
                <a:gd name="connsiteX10" fmla="*/ 38100 w 267652"/>
                <a:gd name="connsiteY10" fmla="*/ 435293 h 674369"/>
                <a:gd name="connsiteX11" fmla="*/ 19050 w 267652"/>
                <a:gd name="connsiteY11" fmla="*/ 422910 h 674369"/>
                <a:gd name="connsiteX12" fmla="*/ 25718 w 267652"/>
                <a:gd name="connsiteY12" fmla="*/ 374332 h 674369"/>
                <a:gd name="connsiteX13" fmla="*/ 17145 w 267652"/>
                <a:gd name="connsiteY13" fmla="*/ 359093 h 674369"/>
                <a:gd name="connsiteX14" fmla="*/ 21908 w 267652"/>
                <a:gd name="connsiteY14" fmla="*/ 307657 h 674369"/>
                <a:gd name="connsiteX15" fmla="*/ 31433 w 267652"/>
                <a:gd name="connsiteY15" fmla="*/ 290513 h 674369"/>
                <a:gd name="connsiteX16" fmla="*/ 28575 w 267652"/>
                <a:gd name="connsiteY16" fmla="*/ 264795 h 674369"/>
                <a:gd name="connsiteX17" fmla="*/ 17145 w 267652"/>
                <a:gd name="connsiteY17" fmla="*/ 252413 h 674369"/>
                <a:gd name="connsiteX18" fmla="*/ 0 w 267652"/>
                <a:gd name="connsiteY18" fmla="*/ 249555 h 674369"/>
                <a:gd name="connsiteX19" fmla="*/ 0 w 267652"/>
                <a:gd name="connsiteY19" fmla="*/ 233363 h 674369"/>
                <a:gd name="connsiteX20" fmla="*/ 26670 w 267652"/>
                <a:gd name="connsiteY20" fmla="*/ 178118 h 674369"/>
                <a:gd name="connsiteX21" fmla="*/ 82868 w 267652"/>
                <a:gd name="connsiteY21" fmla="*/ 140970 h 674369"/>
                <a:gd name="connsiteX22" fmla="*/ 79058 w 267652"/>
                <a:gd name="connsiteY22" fmla="*/ 17145 h 674369"/>
                <a:gd name="connsiteX23" fmla="*/ 87630 w 267652"/>
                <a:gd name="connsiteY23" fmla="*/ 20955 h 674369"/>
                <a:gd name="connsiteX24" fmla="*/ 93345 w 267652"/>
                <a:gd name="connsiteY24" fmla="*/ 16193 h 674369"/>
                <a:gd name="connsiteX25" fmla="*/ 94298 w 267652"/>
                <a:gd name="connsiteY25" fmla="*/ 5715 h 674369"/>
                <a:gd name="connsiteX26" fmla="*/ 102870 w 267652"/>
                <a:gd name="connsiteY26" fmla="*/ 0 h 674369"/>
                <a:gd name="connsiteX27" fmla="*/ 116205 w 267652"/>
                <a:gd name="connsiteY27" fmla="*/ 11430 h 674369"/>
                <a:gd name="connsiteX28" fmla="*/ 122873 w 267652"/>
                <a:gd name="connsiteY28" fmla="*/ 10477 h 674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67652" h="674369">
                  <a:moveTo>
                    <a:pt x="267653" y="674370"/>
                  </a:moveTo>
                  <a:lnTo>
                    <a:pt x="257175" y="631507"/>
                  </a:lnTo>
                  <a:lnTo>
                    <a:pt x="255270" y="602932"/>
                  </a:lnTo>
                  <a:lnTo>
                    <a:pt x="234315" y="574357"/>
                  </a:lnTo>
                  <a:lnTo>
                    <a:pt x="207645" y="567690"/>
                  </a:lnTo>
                  <a:lnTo>
                    <a:pt x="158115" y="533400"/>
                  </a:lnTo>
                  <a:lnTo>
                    <a:pt x="152400" y="501968"/>
                  </a:lnTo>
                  <a:lnTo>
                    <a:pt x="92393" y="472440"/>
                  </a:lnTo>
                  <a:lnTo>
                    <a:pt x="90488" y="460057"/>
                  </a:lnTo>
                  <a:lnTo>
                    <a:pt x="59055" y="460057"/>
                  </a:lnTo>
                  <a:lnTo>
                    <a:pt x="38100" y="435293"/>
                  </a:lnTo>
                  <a:lnTo>
                    <a:pt x="19050" y="422910"/>
                  </a:lnTo>
                  <a:lnTo>
                    <a:pt x="25718" y="374332"/>
                  </a:lnTo>
                  <a:lnTo>
                    <a:pt x="17145" y="359093"/>
                  </a:lnTo>
                  <a:lnTo>
                    <a:pt x="21908" y="307657"/>
                  </a:lnTo>
                  <a:lnTo>
                    <a:pt x="31433" y="290513"/>
                  </a:lnTo>
                  <a:lnTo>
                    <a:pt x="28575" y="264795"/>
                  </a:lnTo>
                  <a:lnTo>
                    <a:pt x="17145" y="252413"/>
                  </a:lnTo>
                  <a:lnTo>
                    <a:pt x="0" y="249555"/>
                  </a:lnTo>
                  <a:lnTo>
                    <a:pt x="0" y="233363"/>
                  </a:lnTo>
                  <a:lnTo>
                    <a:pt x="26670" y="178118"/>
                  </a:lnTo>
                  <a:lnTo>
                    <a:pt x="82868" y="140970"/>
                  </a:lnTo>
                  <a:lnTo>
                    <a:pt x="79058" y="17145"/>
                  </a:lnTo>
                  <a:lnTo>
                    <a:pt x="87630" y="20955"/>
                  </a:lnTo>
                  <a:lnTo>
                    <a:pt x="93345" y="16193"/>
                  </a:lnTo>
                  <a:lnTo>
                    <a:pt x="94298" y="5715"/>
                  </a:lnTo>
                  <a:lnTo>
                    <a:pt x="102870" y="0"/>
                  </a:lnTo>
                  <a:lnTo>
                    <a:pt x="116205" y="11430"/>
                  </a:lnTo>
                  <a:lnTo>
                    <a:pt x="122873" y="10477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35" name="Freeform: Shape 2134">
              <a:extLst>
                <a:ext uri="{FF2B5EF4-FFF2-40B4-BE49-F238E27FC236}">
                  <a16:creationId xmlns:a16="http://schemas.microsoft.com/office/drawing/2014/main" id="{59371E6E-F555-5735-D2CC-D3D461586604}"/>
                </a:ext>
              </a:extLst>
            </p:cNvPr>
            <p:cNvSpPr/>
            <p:nvPr/>
          </p:nvSpPr>
          <p:spPr>
            <a:xfrm>
              <a:off x="6143624" y="3103245"/>
              <a:ext cx="66675" cy="120967"/>
            </a:xfrm>
            <a:custGeom>
              <a:avLst/>
              <a:gdLst>
                <a:gd name="connsiteX0" fmla="*/ 66675 w 66675"/>
                <a:gd name="connsiteY0" fmla="*/ 120967 h 120967"/>
                <a:gd name="connsiteX1" fmla="*/ 29528 w 66675"/>
                <a:gd name="connsiteY1" fmla="*/ 60960 h 120967"/>
                <a:gd name="connsiteX2" fmla="*/ 9525 w 66675"/>
                <a:gd name="connsiteY2" fmla="*/ 25717 h 120967"/>
                <a:gd name="connsiteX3" fmla="*/ 12382 w 66675"/>
                <a:gd name="connsiteY3" fmla="*/ 12383 h 120967"/>
                <a:gd name="connsiteX4" fmla="*/ 0 w 66675"/>
                <a:gd name="connsiteY4" fmla="*/ 0 h 1209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75" h="120967">
                  <a:moveTo>
                    <a:pt x="66675" y="120967"/>
                  </a:moveTo>
                  <a:lnTo>
                    <a:pt x="29528" y="60960"/>
                  </a:lnTo>
                  <a:lnTo>
                    <a:pt x="9525" y="25717"/>
                  </a:lnTo>
                  <a:lnTo>
                    <a:pt x="12382" y="12383"/>
                  </a:lnTo>
                  <a:lnTo>
                    <a:pt x="0" y="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36" name="Freeform: Shape 2135">
              <a:extLst>
                <a:ext uri="{FF2B5EF4-FFF2-40B4-BE49-F238E27FC236}">
                  <a16:creationId xmlns:a16="http://schemas.microsoft.com/office/drawing/2014/main" id="{025D2757-A39B-0258-67A7-C24FE9E9A618}"/>
                </a:ext>
              </a:extLst>
            </p:cNvPr>
            <p:cNvSpPr/>
            <p:nvPr/>
          </p:nvSpPr>
          <p:spPr>
            <a:xfrm>
              <a:off x="6332219" y="3860482"/>
              <a:ext cx="1905" cy="102870"/>
            </a:xfrm>
            <a:custGeom>
              <a:avLst/>
              <a:gdLst>
                <a:gd name="connsiteX0" fmla="*/ 0 w 1905"/>
                <a:gd name="connsiteY0" fmla="*/ 0 h 102870"/>
                <a:gd name="connsiteX1" fmla="*/ 1905 w 1905"/>
                <a:gd name="connsiteY1" fmla="*/ 102870 h 102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05" h="102870">
                  <a:moveTo>
                    <a:pt x="0" y="0"/>
                  </a:moveTo>
                  <a:lnTo>
                    <a:pt x="1905" y="10287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37" name="Freeform: Shape 2136">
              <a:extLst>
                <a:ext uri="{FF2B5EF4-FFF2-40B4-BE49-F238E27FC236}">
                  <a16:creationId xmlns:a16="http://schemas.microsoft.com/office/drawing/2014/main" id="{9A238E1E-E2B5-0A6A-854F-62A3F204E8AA}"/>
                </a:ext>
              </a:extLst>
            </p:cNvPr>
            <p:cNvSpPr/>
            <p:nvPr/>
          </p:nvSpPr>
          <p:spPr>
            <a:xfrm>
              <a:off x="7164704" y="3929062"/>
              <a:ext cx="47625" cy="108584"/>
            </a:xfrm>
            <a:custGeom>
              <a:avLst/>
              <a:gdLst>
                <a:gd name="connsiteX0" fmla="*/ 0 w 47625"/>
                <a:gd name="connsiteY0" fmla="*/ 108585 h 108584"/>
                <a:gd name="connsiteX1" fmla="*/ 9525 w 47625"/>
                <a:gd name="connsiteY1" fmla="*/ 89535 h 108584"/>
                <a:gd name="connsiteX2" fmla="*/ 20955 w 47625"/>
                <a:gd name="connsiteY2" fmla="*/ 84772 h 108584"/>
                <a:gd name="connsiteX3" fmla="*/ 20955 w 47625"/>
                <a:gd name="connsiteY3" fmla="*/ 78105 h 108584"/>
                <a:gd name="connsiteX4" fmla="*/ 9525 w 47625"/>
                <a:gd name="connsiteY4" fmla="*/ 67628 h 108584"/>
                <a:gd name="connsiteX5" fmla="*/ 3810 w 47625"/>
                <a:gd name="connsiteY5" fmla="*/ 58103 h 108584"/>
                <a:gd name="connsiteX6" fmla="*/ 20002 w 47625"/>
                <a:gd name="connsiteY6" fmla="*/ 60007 h 108584"/>
                <a:gd name="connsiteX7" fmla="*/ 27622 w 47625"/>
                <a:gd name="connsiteY7" fmla="*/ 53340 h 108584"/>
                <a:gd name="connsiteX8" fmla="*/ 14288 w 47625"/>
                <a:gd name="connsiteY8" fmla="*/ 39053 h 108584"/>
                <a:gd name="connsiteX9" fmla="*/ 27622 w 47625"/>
                <a:gd name="connsiteY9" fmla="*/ 34290 h 108584"/>
                <a:gd name="connsiteX10" fmla="*/ 28575 w 47625"/>
                <a:gd name="connsiteY10" fmla="*/ 24765 h 108584"/>
                <a:gd name="connsiteX11" fmla="*/ 22860 w 47625"/>
                <a:gd name="connsiteY11" fmla="*/ 15240 h 108584"/>
                <a:gd name="connsiteX12" fmla="*/ 22860 w 47625"/>
                <a:gd name="connsiteY12" fmla="*/ 2857 h 108584"/>
                <a:gd name="connsiteX13" fmla="*/ 32385 w 47625"/>
                <a:gd name="connsiteY13" fmla="*/ 2857 h 108584"/>
                <a:gd name="connsiteX14" fmla="*/ 40005 w 47625"/>
                <a:gd name="connsiteY14" fmla="*/ 9525 h 108584"/>
                <a:gd name="connsiteX15" fmla="*/ 47625 w 47625"/>
                <a:gd name="connsiteY15" fmla="*/ 0 h 1085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7625" h="108584">
                  <a:moveTo>
                    <a:pt x="0" y="108585"/>
                  </a:moveTo>
                  <a:lnTo>
                    <a:pt x="9525" y="89535"/>
                  </a:lnTo>
                  <a:lnTo>
                    <a:pt x="20955" y="84772"/>
                  </a:lnTo>
                  <a:lnTo>
                    <a:pt x="20955" y="78105"/>
                  </a:lnTo>
                  <a:lnTo>
                    <a:pt x="9525" y="67628"/>
                  </a:lnTo>
                  <a:lnTo>
                    <a:pt x="3810" y="58103"/>
                  </a:lnTo>
                  <a:lnTo>
                    <a:pt x="20002" y="60007"/>
                  </a:lnTo>
                  <a:lnTo>
                    <a:pt x="27622" y="53340"/>
                  </a:lnTo>
                  <a:lnTo>
                    <a:pt x="14288" y="39053"/>
                  </a:lnTo>
                  <a:lnTo>
                    <a:pt x="27622" y="34290"/>
                  </a:lnTo>
                  <a:lnTo>
                    <a:pt x="28575" y="24765"/>
                  </a:lnTo>
                  <a:lnTo>
                    <a:pt x="22860" y="15240"/>
                  </a:lnTo>
                  <a:lnTo>
                    <a:pt x="22860" y="2857"/>
                  </a:lnTo>
                  <a:moveTo>
                    <a:pt x="32385" y="2857"/>
                  </a:moveTo>
                  <a:lnTo>
                    <a:pt x="40005" y="9525"/>
                  </a:lnTo>
                  <a:lnTo>
                    <a:pt x="47625" y="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38" name="Freeform: Shape 2137">
              <a:extLst>
                <a:ext uri="{FF2B5EF4-FFF2-40B4-BE49-F238E27FC236}">
                  <a16:creationId xmlns:a16="http://schemas.microsoft.com/office/drawing/2014/main" id="{56A0493D-D892-3449-0547-8D2655DA4F3E}"/>
                </a:ext>
              </a:extLst>
            </p:cNvPr>
            <p:cNvSpPr/>
            <p:nvPr/>
          </p:nvSpPr>
          <p:spPr>
            <a:xfrm>
              <a:off x="7078026" y="4230052"/>
              <a:ext cx="364807" cy="24765"/>
            </a:xfrm>
            <a:custGeom>
              <a:avLst/>
              <a:gdLst>
                <a:gd name="connsiteX0" fmla="*/ 0 w 364807"/>
                <a:gd name="connsiteY0" fmla="*/ 24765 h 24765"/>
                <a:gd name="connsiteX1" fmla="*/ 364808 w 364807"/>
                <a:gd name="connsiteY1" fmla="*/ 0 h 24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64807" h="24765">
                  <a:moveTo>
                    <a:pt x="0" y="24765"/>
                  </a:moveTo>
                  <a:lnTo>
                    <a:pt x="364808" y="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39" name="Freeform: Shape 2138">
              <a:extLst>
                <a:ext uri="{FF2B5EF4-FFF2-40B4-BE49-F238E27FC236}">
                  <a16:creationId xmlns:a16="http://schemas.microsoft.com/office/drawing/2014/main" id="{89B4364B-8980-E0A4-2514-3C843CC9F59A}"/>
                </a:ext>
              </a:extLst>
            </p:cNvPr>
            <p:cNvSpPr/>
            <p:nvPr/>
          </p:nvSpPr>
          <p:spPr>
            <a:xfrm>
              <a:off x="4932044" y="1288732"/>
              <a:ext cx="49530" cy="635317"/>
            </a:xfrm>
            <a:custGeom>
              <a:avLst/>
              <a:gdLst>
                <a:gd name="connsiteX0" fmla="*/ 49530 w 49530"/>
                <a:gd name="connsiteY0" fmla="*/ 0 h 635317"/>
                <a:gd name="connsiteX1" fmla="*/ 0 w 49530"/>
                <a:gd name="connsiteY1" fmla="*/ 635318 h 635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9530" h="635317">
                  <a:moveTo>
                    <a:pt x="49530" y="0"/>
                  </a:moveTo>
                  <a:lnTo>
                    <a:pt x="0" y="635318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40" name="Freeform: Shape 2139">
              <a:extLst>
                <a:ext uri="{FF2B5EF4-FFF2-40B4-BE49-F238E27FC236}">
                  <a16:creationId xmlns:a16="http://schemas.microsoft.com/office/drawing/2014/main" id="{CB3B0FBF-F5F7-F9CC-E14D-C9BDD24C86B2}"/>
                </a:ext>
              </a:extLst>
            </p:cNvPr>
            <p:cNvSpPr/>
            <p:nvPr/>
          </p:nvSpPr>
          <p:spPr>
            <a:xfrm>
              <a:off x="4912994" y="1924050"/>
              <a:ext cx="19050" cy="197167"/>
            </a:xfrm>
            <a:custGeom>
              <a:avLst/>
              <a:gdLst>
                <a:gd name="connsiteX0" fmla="*/ 19050 w 19050"/>
                <a:gd name="connsiteY0" fmla="*/ 0 h 197167"/>
                <a:gd name="connsiteX1" fmla="*/ 0 w 19050"/>
                <a:gd name="connsiteY1" fmla="*/ 197167 h 197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050" h="197167">
                  <a:moveTo>
                    <a:pt x="19050" y="0"/>
                  </a:moveTo>
                  <a:lnTo>
                    <a:pt x="0" y="197167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41" name="Freeform: Shape 2140">
              <a:extLst>
                <a:ext uri="{FF2B5EF4-FFF2-40B4-BE49-F238E27FC236}">
                  <a16:creationId xmlns:a16="http://schemas.microsoft.com/office/drawing/2014/main" id="{BA91BB5F-1E7A-9F53-D77A-C238CC4C8F32}"/>
                </a:ext>
              </a:extLst>
            </p:cNvPr>
            <p:cNvSpPr/>
            <p:nvPr/>
          </p:nvSpPr>
          <p:spPr>
            <a:xfrm>
              <a:off x="3862387" y="1995487"/>
              <a:ext cx="1050607" cy="125729"/>
            </a:xfrm>
            <a:custGeom>
              <a:avLst/>
              <a:gdLst>
                <a:gd name="connsiteX0" fmla="*/ 1050607 w 1050607"/>
                <a:gd name="connsiteY0" fmla="*/ 125730 h 125729"/>
                <a:gd name="connsiteX1" fmla="*/ 564832 w 1050607"/>
                <a:gd name="connsiteY1" fmla="*/ 75247 h 125729"/>
                <a:gd name="connsiteX2" fmla="*/ 19050 w 1050607"/>
                <a:gd name="connsiteY2" fmla="*/ 0 h 125729"/>
                <a:gd name="connsiteX3" fmla="*/ 0 w 1050607"/>
                <a:gd name="connsiteY3" fmla="*/ 101917 h 125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0607" h="125729">
                  <a:moveTo>
                    <a:pt x="1050607" y="125730"/>
                  </a:moveTo>
                  <a:lnTo>
                    <a:pt x="564832" y="75247"/>
                  </a:lnTo>
                  <a:lnTo>
                    <a:pt x="19050" y="0"/>
                  </a:lnTo>
                  <a:lnTo>
                    <a:pt x="0" y="101917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42" name="Freeform: Shape 2141">
              <a:extLst>
                <a:ext uri="{FF2B5EF4-FFF2-40B4-BE49-F238E27FC236}">
                  <a16:creationId xmlns:a16="http://schemas.microsoft.com/office/drawing/2014/main" id="{D4ECF46E-6CEC-4C2A-A3B2-A29C046BBF05}"/>
                </a:ext>
              </a:extLst>
            </p:cNvPr>
            <p:cNvSpPr/>
            <p:nvPr/>
          </p:nvSpPr>
          <p:spPr>
            <a:xfrm>
              <a:off x="8300084" y="4054792"/>
              <a:ext cx="818197" cy="196214"/>
            </a:xfrm>
            <a:custGeom>
              <a:avLst/>
              <a:gdLst>
                <a:gd name="connsiteX0" fmla="*/ 0 w 818197"/>
                <a:gd name="connsiteY0" fmla="*/ 80963 h 196214"/>
                <a:gd name="connsiteX1" fmla="*/ 41910 w 818197"/>
                <a:gd name="connsiteY1" fmla="*/ 62865 h 196214"/>
                <a:gd name="connsiteX2" fmla="*/ 54292 w 818197"/>
                <a:gd name="connsiteY2" fmla="*/ 61913 h 196214"/>
                <a:gd name="connsiteX3" fmla="*/ 123825 w 818197"/>
                <a:gd name="connsiteY3" fmla="*/ 20955 h 196214"/>
                <a:gd name="connsiteX4" fmla="*/ 344805 w 818197"/>
                <a:gd name="connsiteY4" fmla="*/ 0 h 196214"/>
                <a:gd name="connsiteX5" fmla="*/ 348615 w 818197"/>
                <a:gd name="connsiteY5" fmla="*/ 4763 h 196214"/>
                <a:gd name="connsiteX6" fmla="*/ 346710 w 818197"/>
                <a:gd name="connsiteY6" fmla="*/ 18097 h 196214"/>
                <a:gd name="connsiteX7" fmla="*/ 353377 w 818197"/>
                <a:gd name="connsiteY7" fmla="*/ 20955 h 196214"/>
                <a:gd name="connsiteX8" fmla="*/ 364807 w 818197"/>
                <a:gd name="connsiteY8" fmla="*/ 6667 h 196214"/>
                <a:gd name="connsiteX9" fmla="*/ 396240 w 818197"/>
                <a:gd name="connsiteY9" fmla="*/ 35242 h 196214"/>
                <a:gd name="connsiteX10" fmla="*/ 397192 w 818197"/>
                <a:gd name="connsiteY10" fmla="*/ 60007 h 196214"/>
                <a:gd name="connsiteX11" fmla="*/ 584835 w 818197"/>
                <a:gd name="connsiteY11" fmla="*/ 33338 h 196214"/>
                <a:gd name="connsiteX12" fmla="*/ 818197 w 818197"/>
                <a:gd name="connsiteY12" fmla="*/ 196215 h 1962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18197" h="196214">
                  <a:moveTo>
                    <a:pt x="0" y="80963"/>
                  </a:moveTo>
                  <a:lnTo>
                    <a:pt x="41910" y="62865"/>
                  </a:lnTo>
                  <a:lnTo>
                    <a:pt x="54292" y="61913"/>
                  </a:lnTo>
                  <a:lnTo>
                    <a:pt x="123825" y="20955"/>
                  </a:lnTo>
                  <a:lnTo>
                    <a:pt x="344805" y="0"/>
                  </a:lnTo>
                  <a:lnTo>
                    <a:pt x="348615" y="4763"/>
                  </a:lnTo>
                  <a:lnTo>
                    <a:pt x="346710" y="18097"/>
                  </a:lnTo>
                  <a:lnTo>
                    <a:pt x="353377" y="20955"/>
                  </a:lnTo>
                  <a:lnTo>
                    <a:pt x="364807" y="6667"/>
                  </a:lnTo>
                  <a:lnTo>
                    <a:pt x="396240" y="35242"/>
                  </a:lnTo>
                  <a:lnTo>
                    <a:pt x="397192" y="60007"/>
                  </a:lnTo>
                  <a:lnTo>
                    <a:pt x="584835" y="33338"/>
                  </a:lnTo>
                  <a:lnTo>
                    <a:pt x="818197" y="196215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43" name="Freeform: Shape 2142">
              <a:extLst>
                <a:ext uri="{FF2B5EF4-FFF2-40B4-BE49-F238E27FC236}">
                  <a16:creationId xmlns:a16="http://schemas.microsoft.com/office/drawing/2014/main" id="{C68E144C-1325-09B0-A039-B21C797D3127}"/>
                </a:ext>
              </a:extLst>
            </p:cNvPr>
            <p:cNvSpPr/>
            <p:nvPr/>
          </p:nvSpPr>
          <p:spPr>
            <a:xfrm>
              <a:off x="8096249" y="3771900"/>
              <a:ext cx="396239" cy="392430"/>
            </a:xfrm>
            <a:custGeom>
              <a:avLst/>
              <a:gdLst>
                <a:gd name="connsiteX0" fmla="*/ 396240 w 396239"/>
                <a:gd name="connsiteY0" fmla="*/ 0 h 392430"/>
                <a:gd name="connsiteX1" fmla="*/ 396240 w 396239"/>
                <a:gd name="connsiteY1" fmla="*/ 49530 h 392430"/>
                <a:gd name="connsiteX2" fmla="*/ 381952 w 396239"/>
                <a:gd name="connsiteY2" fmla="*/ 48578 h 392430"/>
                <a:gd name="connsiteX3" fmla="*/ 368618 w 396239"/>
                <a:gd name="connsiteY3" fmla="*/ 60007 h 392430"/>
                <a:gd name="connsiteX4" fmla="*/ 345757 w 396239"/>
                <a:gd name="connsiteY4" fmla="*/ 109538 h 392430"/>
                <a:gd name="connsiteX5" fmla="*/ 320993 w 396239"/>
                <a:gd name="connsiteY5" fmla="*/ 99060 h 392430"/>
                <a:gd name="connsiteX6" fmla="*/ 287655 w 396239"/>
                <a:gd name="connsiteY6" fmla="*/ 122872 h 392430"/>
                <a:gd name="connsiteX7" fmla="*/ 280988 w 396239"/>
                <a:gd name="connsiteY7" fmla="*/ 142875 h 392430"/>
                <a:gd name="connsiteX8" fmla="*/ 266700 w 396239"/>
                <a:gd name="connsiteY8" fmla="*/ 154305 h 392430"/>
                <a:gd name="connsiteX9" fmla="*/ 259080 w 396239"/>
                <a:gd name="connsiteY9" fmla="*/ 146685 h 392430"/>
                <a:gd name="connsiteX10" fmla="*/ 258127 w 396239"/>
                <a:gd name="connsiteY10" fmla="*/ 132397 h 392430"/>
                <a:gd name="connsiteX11" fmla="*/ 250507 w 396239"/>
                <a:gd name="connsiteY11" fmla="*/ 130493 h 392430"/>
                <a:gd name="connsiteX12" fmla="*/ 212407 w 396239"/>
                <a:gd name="connsiteY12" fmla="*/ 161925 h 392430"/>
                <a:gd name="connsiteX13" fmla="*/ 206693 w 396239"/>
                <a:gd name="connsiteY13" fmla="*/ 194310 h 392430"/>
                <a:gd name="connsiteX14" fmla="*/ 161925 w 396239"/>
                <a:gd name="connsiteY14" fmla="*/ 217170 h 392430"/>
                <a:gd name="connsiteX15" fmla="*/ 157163 w 396239"/>
                <a:gd name="connsiteY15" fmla="*/ 228600 h 392430"/>
                <a:gd name="connsiteX16" fmla="*/ 126682 w 396239"/>
                <a:gd name="connsiteY16" fmla="*/ 253365 h 392430"/>
                <a:gd name="connsiteX17" fmla="*/ 92393 w 396239"/>
                <a:gd name="connsiteY17" fmla="*/ 258128 h 392430"/>
                <a:gd name="connsiteX18" fmla="*/ 48577 w 396239"/>
                <a:gd name="connsiteY18" fmla="*/ 286703 h 392430"/>
                <a:gd name="connsiteX19" fmla="*/ 40957 w 396239"/>
                <a:gd name="connsiteY19" fmla="*/ 325755 h 392430"/>
                <a:gd name="connsiteX20" fmla="*/ 28575 w 396239"/>
                <a:gd name="connsiteY20" fmla="*/ 334328 h 392430"/>
                <a:gd name="connsiteX21" fmla="*/ 14288 w 396239"/>
                <a:gd name="connsiteY21" fmla="*/ 333375 h 392430"/>
                <a:gd name="connsiteX22" fmla="*/ 952 w 396239"/>
                <a:gd name="connsiteY22" fmla="*/ 345757 h 392430"/>
                <a:gd name="connsiteX23" fmla="*/ 0 w 396239"/>
                <a:gd name="connsiteY23" fmla="*/ 392430 h 392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396239" h="392430">
                  <a:moveTo>
                    <a:pt x="396240" y="0"/>
                  </a:moveTo>
                  <a:lnTo>
                    <a:pt x="396240" y="49530"/>
                  </a:lnTo>
                  <a:lnTo>
                    <a:pt x="381952" y="48578"/>
                  </a:lnTo>
                  <a:lnTo>
                    <a:pt x="368618" y="60007"/>
                  </a:lnTo>
                  <a:lnTo>
                    <a:pt x="345757" y="109538"/>
                  </a:lnTo>
                  <a:lnTo>
                    <a:pt x="320993" y="99060"/>
                  </a:lnTo>
                  <a:lnTo>
                    <a:pt x="287655" y="122872"/>
                  </a:lnTo>
                  <a:lnTo>
                    <a:pt x="280988" y="142875"/>
                  </a:lnTo>
                  <a:lnTo>
                    <a:pt x="266700" y="154305"/>
                  </a:lnTo>
                  <a:lnTo>
                    <a:pt x="259080" y="146685"/>
                  </a:lnTo>
                  <a:lnTo>
                    <a:pt x="258127" y="132397"/>
                  </a:lnTo>
                  <a:lnTo>
                    <a:pt x="250507" y="130493"/>
                  </a:lnTo>
                  <a:lnTo>
                    <a:pt x="212407" y="161925"/>
                  </a:lnTo>
                  <a:lnTo>
                    <a:pt x="206693" y="194310"/>
                  </a:lnTo>
                  <a:lnTo>
                    <a:pt x="161925" y="217170"/>
                  </a:lnTo>
                  <a:lnTo>
                    <a:pt x="157163" y="228600"/>
                  </a:lnTo>
                  <a:lnTo>
                    <a:pt x="126682" y="253365"/>
                  </a:lnTo>
                  <a:lnTo>
                    <a:pt x="92393" y="258128"/>
                  </a:lnTo>
                  <a:lnTo>
                    <a:pt x="48577" y="286703"/>
                  </a:lnTo>
                  <a:lnTo>
                    <a:pt x="40957" y="325755"/>
                  </a:lnTo>
                  <a:lnTo>
                    <a:pt x="28575" y="334328"/>
                  </a:lnTo>
                  <a:lnTo>
                    <a:pt x="14288" y="333375"/>
                  </a:lnTo>
                  <a:lnTo>
                    <a:pt x="952" y="345757"/>
                  </a:lnTo>
                  <a:lnTo>
                    <a:pt x="0" y="39243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44" name="Freeform: Shape 2143">
              <a:extLst>
                <a:ext uri="{FF2B5EF4-FFF2-40B4-BE49-F238E27FC236}">
                  <a16:creationId xmlns:a16="http://schemas.microsoft.com/office/drawing/2014/main" id="{93E3954F-D319-4974-9CA5-407B92D72EC3}"/>
                </a:ext>
              </a:extLst>
            </p:cNvPr>
            <p:cNvSpPr/>
            <p:nvPr/>
          </p:nvSpPr>
          <p:spPr>
            <a:xfrm>
              <a:off x="8492489" y="3610927"/>
              <a:ext cx="932497" cy="160972"/>
            </a:xfrm>
            <a:custGeom>
              <a:avLst/>
              <a:gdLst>
                <a:gd name="connsiteX0" fmla="*/ 0 w 932497"/>
                <a:gd name="connsiteY0" fmla="*/ 160972 h 160972"/>
                <a:gd name="connsiteX1" fmla="*/ 280035 w 932497"/>
                <a:gd name="connsiteY1" fmla="*/ 127635 h 160972"/>
                <a:gd name="connsiteX2" fmla="*/ 655320 w 932497"/>
                <a:gd name="connsiteY2" fmla="*/ 58103 h 160972"/>
                <a:gd name="connsiteX3" fmla="*/ 932498 w 932497"/>
                <a:gd name="connsiteY3" fmla="*/ 0 h 160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32497" h="160972">
                  <a:moveTo>
                    <a:pt x="0" y="160972"/>
                  </a:moveTo>
                  <a:lnTo>
                    <a:pt x="280035" y="127635"/>
                  </a:lnTo>
                  <a:lnTo>
                    <a:pt x="655320" y="58103"/>
                  </a:lnTo>
                  <a:lnTo>
                    <a:pt x="932498" y="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45" name="Freeform: Shape 2144">
              <a:extLst>
                <a:ext uri="{FF2B5EF4-FFF2-40B4-BE49-F238E27FC236}">
                  <a16:creationId xmlns:a16="http://schemas.microsoft.com/office/drawing/2014/main" id="{59504BCB-8EC5-3535-07B9-80F42BD00B45}"/>
                </a:ext>
              </a:extLst>
            </p:cNvPr>
            <p:cNvSpPr/>
            <p:nvPr/>
          </p:nvSpPr>
          <p:spPr>
            <a:xfrm>
              <a:off x="4932044" y="1924050"/>
              <a:ext cx="1092517" cy="51434"/>
            </a:xfrm>
            <a:custGeom>
              <a:avLst/>
              <a:gdLst>
                <a:gd name="connsiteX0" fmla="*/ 0 w 1092517"/>
                <a:gd name="connsiteY0" fmla="*/ 0 h 51434"/>
                <a:gd name="connsiteX1" fmla="*/ 373380 w 1092517"/>
                <a:gd name="connsiteY1" fmla="*/ 27623 h 51434"/>
                <a:gd name="connsiteX2" fmla="*/ 811530 w 1092517"/>
                <a:gd name="connsiteY2" fmla="*/ 47625 h 51434"/>
                <a:gd name="connsiteX3" fmla="*/ 1092518 w 1092517"/>
                <a:gd name="connsiteY3" fmla="*/ 51435 h 51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2517" h="51434">
                  <a:moveTo>
                    <a:pt x="0" y="0"/>
                  </a:moveTo>
                  <a:lnTo>
                    <a:pt x="373380" y="27623"/>
                  </a:lnTo>
                  <a:lnTo>
                    <a:pt x="811530" y="47625"/>
                  </a:lnTo>
                  <a:lnTo>
                    <a:pt x="1092518" y="51435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46" name="Freeform: Shape 2145">
              <a:extLst>
                <a:ext uri="{FF2B5EF4-FFF2-40B4-BE49-F238E27FC236}">
                  <a16:creationId xmlns:a16="http://schemas.microsoft.com/office/drawing/2014/main" id="{A9ED76F4-4ED4-9C93-CC90-6159A8A75747}"/>
                </a:ext>
              </a:extLst>
            </p:cNvPr>
            <p:cNvSpPr/>
            <p:nvPr/>
          </p:nvSpPr>
          <p:spPr>
            <a:xfrm>
              <a:off x="4875846" y="2539365"/>
              <a:ext cx="1163002" cy="160019"/>
            </a:xfrm>
            <a:custGeom>
              <a:avLst/>
              <a:gdLst>
                <a:gd name="connsiteX0" fmla="*/ 0 w 1163002"/>
                <a:gd name="connsiteY0" fmla="*/ 0 h 160019"/>
                <a:gd name="connsiteX1" fmla="*/ 486728 w 1163002"/>
                <a:gd name="connsiteY1" fmla="*/ 33338 h 160019"/>
                <a:gd name="connsiteX2" fmla="*/ 848678 w 1163002"/>
                <a:gd name="connsiteY2" fmla="*/ 48577 h 160019"/>
                <a:gd name="connsiteX3" fmla="*/ 881063 w 1163002"/>
                <a:gd name="connsiteY3" fmla="*/ 79057 h 160019"/>
                <a:gd name="connsiteX4" fmla="*/ 897255 w 1163002"/>
                <a:gd name="connsiteY4" fmla="*/ 80963 h 160019"/>
                <a:gd name="connsiteX5" fmla="*/ 917258 w 1163002"/>
                <a:gd name="connsiteY5" fmla="*/ 100013 h 160019"/>
                <a:gd name="connsiteX6" fmla="*/ 934403 w 1163002"/>
                <a:gd name="connsiteY6" fmla="*/ 99060 h 160019"/>
                <a:gd name="connsiteX7" fmla="*/ 951547 w 1163002"/>
                <a:gd name="connsiteY7" fmla="*/ 80010 h 160019"/>
                <a:gd name="connsiteX8" fmla="*/ 965835 w 1163002"/>
                <a:gd name="connsiteY8" fmla="*/ 85725 h 160019"/>
                <a:gd name="connsiteX9" fmla="*/ 975360 w 1163002"/>
                <a:gd name="connsiteY9" fmla="*/ 79057 h 160019"/>
                <a:gd name="connsiteX10" fmla="*/ 982028 w 1163002"/>
                <a:gd name="connsiteY10" fmla="*/ 83820 h 160019"/>
                <a:gd name="connsiteX11" fmla="*/ 990600 w 1163002"/>
                <a:gd name="connsiteY11" fmla="*/ 80010 h 160019"/>
                <a:gd name="connsiteX12" fmla="*/ 997268 w 1163002"/>
                <a:gd name="connsiteY12" fmla="*/ 83820 h 160019"/>
                <a:gd name="connsiteX13" fmla="*/ 1005840 w 1163002"/>
                <a:gd name="connsiteY13" fmla="*/ 80010 h 160019"/>
                <a:gd name="connsiteX14" fmla="*/ 1015365 w 1163002"/>
                <a:gd name="connsiteY14" fmla="*/ 84772 h 160019"/>
                <a:gd name="connsiteX15" fmla="*/ 1028700 w 1163002"/>
                <a:gd name="connsiteY15" fmla="*/ 79057 h 160019"/>
                <a:gd name="connsiteX16" fmla="*/ 1047750 w 1163002"/>
                <a:gd name="connsiteY16" fmla="*/ 84772 h 160019"/>
                <a:gd name="connsiteX17" fmla="*/ 1053465 w 1163002"/>
                <a:gd name="connsiteY17" fmla="*/ 95250 h 160019"/>
                <a:gd name="connsiteX18" fmla="*/ 1111568 w 1163002"/>
                <a:gd name="connsiteY18" fmla="*/ 116205 h 160019"/>
                <a:gd name="connsiteX19" fmla="*/ 1122998 w 1163002"/>
                <a:gd name="connsiteY19" fmla="*/ 128588 h 160019"/>
                <a:gd name="connsiteX20" fmla="*/ 1131570 w 1163002"/>
                <a:gd name="connsiteY20" fmla="*/ 153352 h 160019"/>
                <a:gd name="connsiteX21" fmla="*/ 1148715 w 1163002"/>
                <a:gd name="connsiteY21" fmla="*/ 160020 h 160019"/>
                <a:gd name="connsiteX22" fmla="*/ 1163003 w 1163002"/>
                <a:gd name="connsiteY22" fmla="*/ 158115 h 160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163002" h="160019">
                  <a:moveTo>
                    <a:pt x="0" y="0"/>
                  </a:moveTo>
                  <a:lnTo>
                    <a:pt x="486728" y="33338"/>
                  </a:lnTo>
                  <a:lnTo>
                    <a:pt x="848678" y="48577"/>
                  </a:lnTo>
                  <a:lnTo>
                    <a:pt x="881063" y="79057"/>
                  </a:lnTo>
                  <a:lnTo>
                    <a:pt x="897255" y="80963"/>
                  </a:lnTo>
                  <a:lnTo>
                    <a:pt x="917258" y="100013"/>
                  </a:lnTo>
                  <a:lnTo>
                    <a:pt x="934403" y="99060"/>
                  </a:lnTo>
                  <a:lnTo>
                    <a:pt x="951547" y="80010"/>
                  </a:lnTo>
                  <a:lnTo>
                    <a:pt x="965835" y="85725"/>
                  </a:lnTo>
                  <a:lnTo>
                    <a:pt x="975360" y="79057"/>
                  </a:lnTo>
                  <a:lnTo>
                    <a:pt x="982028" y="83820"/>
                  </a:lnTo>
                  <a:lnTo>
                    <a:pt x="990600" y="80010"/>
                  </a:lnTo>
                  <a:lnTo>
                    <a:pt x="997268" y="83820"/>
                  </a:lnTo>
                  <a:lnTo>
                    <a:pt x="1005840" y="80010"/>
                  </a:lnTo>
                  <a:lnTo>
                    <a:pt x="1015365" y="84772"/>
                  </a:lnTo>
                  <a:lnTo>
                    <a:pt x="1028700" y="79057"/>
                  </a:lnTo>
                  <a:lnTo>
                    <a:pt x="1047750" y="84772"/>
                  </a:lnTo>
                  <a:lnTo>
                    <a:pt x="1053465" y="95250"/>
                  </a:lnTo>
                  <a:lnTo>
                    <a:pt x="1111568" y="116205"/>
                  </a:lnTo>
                  <a:lnTo>
                    <a:pt x="1122998" y="128588"/>
                  </a:lnTo>
                  <a:lnTo>
                    <a:pt x="1131570" y="153352"/>
                  </a:lnTo>
                  <a:lnTo>
                    <a:pt x="1148715" y="160020"/>
                  </a:lnTo>
                  <a:lnTo>
                    <a:pt x="1163003" y="158115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47" name="Freeform: Shape 2146">
              <a:extLst>
                <a:ext uri="{FF2B5EF4-FFF2-40B4-BE49-F238E27FC236}">
                  <a16:creationId xmlns:a16="http://schemas.microsoft.com/office/drawing/2014/main" id="{9C426B76-3DC0-5B8B-EC47-E80A8E32BAAD}"/>
                </a:ext>
              </a:extLst>
            </p:cNvPr>
            <p:cNvSpPr/>
            <p:nvPr/>
          </p:nvSpPr>
          <p:spPr>
            <a:xfrm>
              <a:off x="4840604" y="2539365"/>
              <a:ext cx="35242" cy="421004"/>
            </a:xfrm>
            <a:custGeom>
              <a:avLst/>
              <a:gdLst>
                <a:gd name="connsiteX0" fmla="*/ 0 w 35242"/>
                <a:gd name="connsiteY0" fmla="*/ 421005 h 421004"/>
                <a:gd name="connsiteX1" fmla="*/ 35242 w 35242"/>
                <a:gd name="connsiteY1" fmla="*/ 0 h 4210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242" h="421004">
                  <a:moveTo>
                    <a:pt x="0" y="421005"/>
                  </a:moveTo>
                  <a:lnTo>
                    <a:pt x="35242" y="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48" name="Freeform: Shape 2147">
              <a:extLst>
                <a:ext uri="{FF2B5EF4-FFF2-40B4-BE49-F238E27FC236}">
                  <a16:creationId xmlns:a16="http://schemas.microsoft.com/office/drawing/2014/main" id="{A74C8F74-D1A5-E510-5B4A-D72F1E23A944}"/>
                </a:ext>
              </a:extLst>
            </p:cNvPr>
            <p:cNvSpPr/>
            <p:nvPr/>
          </p:nvSpPr>
          <p:spPr>
            <a:xfrm>
              <a:off x="9652634" y="1705927"/>
              <a:ext cx="68579" cy="500062"/>
            </a:xfrm>
            <a:custGeom>
              <a:avLst/>
              <a:gdLst>
                <a:gd name="connsiteX0" fmla="*/ 47625 w 68579"/>
                <a:gd name="connsiteY0" fmla="*/ 0 h 500062"/>
                <a:gd name="connsiteX1" fmla="*/ 59055 w 68579"/>
                <a:gd name="connsiteY1" fmla="*/ 21908 h 500062"/>
                <a:gd name="connsiteX2" fmla="*/ 48577 w 68579"/>
                <a:gd name="connsiteY2" fmla="*/ 55245 h 500062"/>
                <a:gd name="connsiteX3" fmla="*/ 68580 w 68579"/>
                <a:gd name="connsiteY3" fmla="*/ 81915 h 500062"/>
                <a:gd name="connsiteX4" fmla="*/ 64770 w 68579"/>
                <a:gd name="connsiteY4" fmla="*/ 98108 h 500062"/>
                <a:gd name="connsiteX5" fmla="*/ 65722 w 68579"/>
                <a:gd name="connsiteY5" fmla="*/ 110490 h 500062"/>
                <a:gd name="connsiteX6" fmla="*/ 55245 w 68579"/>
                <a:gd name="connsiteY6" fmla="*/ 130493 h 500062"/>
                <a:gd name="connsiteX7" fmla="*/ 41910 w 68579"/>
                <a:gd name="connsiteY7" fmla="*/ 134302 h 500062"/>
                <a:gd name="connsiteX8" fmla="*/ 36195 w 68579"/>
                <a:gd name="connsiteY8" fmla="*/ 146685 h 500062"/>
                <a:gd name="connsiteX9" fmla="*/ 16192 w 68579"/>
                <a:gd name="connsiteY9" fmla="*/ 156210 h 500062"/>
                <a:gd name="connsiteX10" fmla="*/ 9525 w 68579"/>
                <a:gd name="connsiteY10" fmla="*/ 170498 h 500062"/>
                <a:gd name="connsiteX11" fmla="*/ 22860 w 68579"/>
                <a:gd name="connsiteY11" fmla="*/ 202883 h 500062"/>
                <a:gd name="connsiteX12" fmla="*/ 18097 w 68579"/>
                <a:gd name="connsiteY12" fmla="*/ 226695 h 500062"/>
                <a:gd name="connsiteX13" fmla="*/ 22860 w 68579"/>
                <a:gd name="connsiteY13" fmla="*/ 240983 h 500062"/>
                <a:gd name="connsiteX14" fmla="*/ 13335 w 68579"/>
                <a:gd name="connsiteY14" fmla="*/ 259080 h 500062"/>
                <a:gd name="connsiteX15" fmla="*/ 17145 w 68579"/>
                <a:gd name="connsiteY15" fmla="*/ 277178 h 500062"/>
                <a:gd name="connsiteX16" fmla="*/ 4763 w 68579"/>
                <a:gd name="connsiteY16" fmla="*/ 295275 h 500062"/>
                <a:gd name="connsiteX17" fmla="*/ 6667 w 68579"/>
                <a:gd name="connsiteY17" fmla="*/ 316230 h 500062"/>
                <a:gd name="connsiteX18" fmla="*/ 0 w 68579"/>
                <a:gd name="connsiteY18" fmla="*/ 326707 h 500062"/>
                <a:gd name="connsiteX19" fmla="*/ 6667 w 68579"/>
                <a:gd name="connsiteY19" fmla="*/ 369570 h 500062"/>
                <a:gd name="connsiteX20" fmla="*/ 13335 w 68579"/>
                <a:gd name="connsiteY20" fmla="*/ 383857 h 500062"/>
                <a:gd name="connsiteX21" fmla="*/ 8572 w 68579"/>
                <a:gd name="connsiteY21" fmla="*/ 408623 h 500062"/>
                <a:gd name="connsiteX22" fmla="*/ 17145 w 68579"/>
                <a:gd name="connsiteY22" fmla="*/ 425768 h 500062"/>
                <a:gd name="connsiteX23" fmla="*/ 15240 w 68579"/>
                <a:gd name="connsiteY23" fmla="*/ 449580 h 500062"/>
                <a:gd name="connsiteX24" fmla="*/ 10477 w 68579"/>
                <a:gd name="connsiteY24" fmla="*/ 461963 h 500062"/>
                <a:gd name="connsiteX25" fmla="*/ 9525 w 68579"/>
                <a:gd name="connsiteY25" fmla="*/ 475298 h 500062"/>
                <a:gd name="connsiteX26" fmla="*/ 29527 w 68579"/>
                <a:gd name="connsiteY26" fmla="*/ 500063 h 500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68579" h="500062">
                  <a:moveTo>
                    <a:pt x="47625" y="0"/>
                  </a:moveTo>
                  <a:lnTo>
                    <a:pt x="59055" y="21908"/>
                  </a:lnTo>
                  <a:lnTo>
                    <a:pt x="48577" y="55245"/>
                  </a:lnTo>
                  <a:lnTo>
                    <a:pt x="68580" y="81915"/>
                  </a:lnTo>
                  <a:lnTo>
                    <a:pt x="64770" y="98108"/>
                  </a:lnTo>
                  <a:lnTo>
                    <a:pt x="65722" y="110490"/>
                  </a:lnTo>
                  <a:lnTo>
                    <a:pt x="55245" y="130493"/>
                  </a:lnTo>
                  <a:lnTo>
                    <a:pt x="41910" y="134302"/>
                  </a:lnTo>
                  <a:lnTo>
                    <a:pt x="36195" y="146685"/>
                  </a:lnTo>
                  <a:lnTo>
                    <a:pt x="16192" y="156210"/>
                  </a:lnTo>
                  <a:lnTo>
                    <a:pt x="9525" y="170498"/>
                  </a:lnTo>
                  <a:lnTo>
                    <a:pt x="22860" y="202883"/>
                  </a:lnTo>
                  <a:lnTo>
                    <a:pt x="18097" y="226695"/>
                  </a:lnTo>
                  <a:lnTo>
                    <a:pt x="22860" y="240983"/>
                  </a:lnTo>
                  <a:lnTo>
                    <a:pt x="13335" y="259080"/>
                  </a:lnTo>
                  <a:lnTo>
                    <a:pt x="17145" y="277178"/>
                  </a:lnTo>
                  <a:lnTo>
                    <a:pt x="4763" y="295275"/>
                  </a:lnTo>
                  <a:lnTo>
                    <a:pt x="6667" y="316230"/>
                  </a:lnTo>
                  <a:lnTo>
                    <a:pt x="0" y="326707"/>
                  </a:lnTo>
                  <a:lnTo>
                    <a:pt x="6667" y="369570"/>
                  </a:lnTo>
                  <a:lnTo>
                    <a:pt x="13335" y="383857"/>
                  </a:lnTo>
                  <a:lnTo>
                    <a:pt x="8572" y="408623"/>
                  </a:lnTo>
                  <a:lnTo>
                    <a:pt x="17145" y="425768"/>
                  </a:lnTo>
                  <a:lnTo>
                    <a:pt x="15240" y="449580"/>
                  </a:lnTo>
                  <a:lnTo>
                    <a:pt x="10477" y="461963"/>
                  </a:lnTo>
                  <a:lnTo>
                    <a:pt x="9525" y="475298"/>
                  </a:lnTo>
                  <a:lnTo>
                    <a:pt x="29527" y="500063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49" name="Freeform: Shape 2148">
              <a:extLst>
                <a:ext uri="{FF2B5EF4-FFF2-40B4-BE49-F238E27FC236}">
                  <a16:creationId xmlns:a16="http://schemas.microsoft.com/office/drawing/2014/main" id="{623547AA-5A6A-853A-6E09-F862DBE5DDA4}"/>
                </a:ext>
              </a:extLst>
            </p:cNvPr>
            <p:cNvSpPr/>
            <p:nvPr/>
          </p:nvSpPr>
          <p:spPr>
            <a:xfrm>
              <a:off x="9414509" y="2566987"/>
              <a:ext cx="139064" cy="102870"/>
            </a:xfrm>
            <a:custGeom>
              <a:avLst/>
              <a:gdLst>
                <a:gd name="connsiteX0" fmla="*/ 0 w 139064"/>
                <a:gd name="connsiteY0" fmla="*/ 0 h 102870"/>
                <a:gd name="connsiteX1" fmla="*/ 139065 w 139064"/>
                <a:gd name="connsiteY1" fmla="*/ 46672 h 102870"/>
                <a:gd name="connsiteX2" fmla="*/ 135255 w 139064"/>
                <a:gd name="connsiteY2" fmla="*/ 102870 h 102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9064" h="102870">
                  <a:moveTo>
                    <a:pt x="0" y="0"/>
                  </a:moveTo>
                  <a:lnTo>
                    <a:pt x="139065" y="46672"/>
                  </a:lnTo>
                  <a:lnTo>
                    <a:pt x="135255" y="10287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50" name="Freeform: Shape 2149">
              <a:extLst>
                <a:ext uri="{FF2B5EF4-FFF2-40B4-BE49-F238E27FC236}">
                  <a16:creationId xmlns:a16="http://schemas.microsoft.com/office/drawing/2014/main" id="{22F06826-90DA-6A04-85E6-F851F4FC758C}"/>
                </a:ext>
              </a:extLst>
            </p:cNvPr>
            <p:cNvSpPr/>
            <p:nvPr/>
          </p:nvSpPr>
          <p:spPr>
            <a:xfrm>
              <a:off x="9367837" y="2566987"/>
              <a:ext cx="100012" cy="349567"/>
            </a:xfrm>
            <a:custGeom>
              <a:avLst/>
              <a:gdLst>
                <a:gd name="connsiteX0" fmla="*/ 7620 w 100012"/>
                <a:gd name="connsiteY0" fmla="*/ 349567 h 349567"/>
                <a:gd name="connsiteX1" fmla="*/ 20955 w 100012"/>
                <a:gd name="connsiteY1" fmla="*/ 333375 h 349567"/>
                <a:gd name="connsiteX2" fmla="*/ 36195 w 100012"/>
                <a:gd name="connsiteY2" fmla="*/ 327660 h 349567"/>
                <a:gd name="connsiteX3" fmla="*/ 53340 w 100012"/>
                <a:gd name="connsiteY3" fmla="*/ 299085 h 349567"/>
                <a:gd name="connsiteX4" fmla="*/ 68580 w 100012"/>
                <a:gd name="connsiteY4" fmla="*/ 277178 h 349567"/>
                <a:gd name="connsiteX5" fmla="*/ 100013 w 100012"/>
                <a:gd name="connsiteY5" fmla="*/ 252413 h 349567"/>
                <a:gd name="connsiteX6" fmla="*/ 60007 w 100012"/>
                <a:gd name="connsiteY6" fmla="*/ 221933 h 349567"/>
                <a:gd name="connsiteX7" fmla="*/ 40005 w 100012"/>
                <a:gd name="connsiteY7" fmla="*/ 211455 h 349567"/>
                <a:gd name="connsiteX8" fmla="*/ 30480 w 100012"/>
                <a:gd name="connsiteY8" fmla="*/ 184785 h 349567"/>
                <a:gd name="connsiteX9" fmla="*/ 4763 w 100012"/>
                <a:gd name="connsiteY9" fmla="*/ 176213 h 349567"/>
                <a:gd name="connsiteX10" fmla="*/ 0 w 100012"/>
                <a:gd name="connsiteY10" fmla="*/ 141922 h 349567"/>
                <a:gd name="connsiteX11" fmla="*/ 9525 w 100012"/>
                <a:gd name="connsiteY11" fmla="*/ 132397 h 349567"/>
                <a:gd name="connsiteX12" fmla="*/ 16193 w 100012"/>
                <a:gd name="connsiteY12" fmla="*/ 113347 h 349567"/>
                <a:gd name="connsiteX13" fmla="*/ 1905 w 100012"/>
                <a:gd name="connsiteY13" fmla="*/ 96203 h 349567"/>
                <a:gd name="connsiteX14" fmla="*/ 30480 w 100012"/>
                <a:gd name="connsiteY14" fmla="*/ 44767 h 349567"/>
                <a:gd name="connsiteX15" fmla="*/ 29527 w 100012"/>
                <a:gd name="connsiteY15" fmla="*/ 23813 h 349567"/>
                <a:gd name="connsiteX16" fmla="*/ 46673 w 100012"/>
                <a:gd name="connsiteY16" fmla="*/ 0 h 349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0012" h="349567">
                  <a:moveTo>
                    <a:pt x="7620" y="349567"/>
                  </a:moveTo>
                  <a:lnTo>
                    <a:pt x="20955" y="333375"/>
                  </a:lnTo>
                  <a:lnTo>
                    <a:pt x="36195" y="327660"/>
                  </a:lnTo>
                  <a:lnTo>
                    <a:pt x="53340" y="299085"/>
                  </a:lnTo>
                  <a:lnTo>
                    <a:pt x="68580" y="277178"/>
                  </a:lnTo>
                  <a:lnTo>
                    <a:pt x="100013" y="252413"/>
                  </a:lnTo>
                  <a:lnTo>
                    <a:pt x="60007" y="221933"/>
                  </a:lnTo>
                  <a:lnTo>
                    <a:pt x="40005" y="211455"/>
                  </a:lnTo>
                  <a:lnTo>
                    <a:pt x="30480" y="184785"/>
                  </a:lnTo>
                  <a:lnTo>
                    <a:pt x="4763" y="176213"/>
                  </a:lnTo>
                  <a:lnTo>
                    <a:pt x="0" y="141922"/>
                  </a:lnTo>
                  <a:lnTo>
                    <a:pt x="9525" y="132397"/>
                  </a:lnTo>
                  <a:lnTo>
                    <a:pt x="16193" y="113347"/>
                  </a:lnTo>
                  <a:lnTo>
                    <a:pt x="1905" y="96203"/>
                  </a:lnTo>
                  <a:lnTo>
                    <a:pt x="30480" y="44767"/>
                  </a:lnTo>
                  <a:lnTo>
                    <a:pt x="29527" y="23813"/>
                  </a:lnTo>
                  <a:lnTo>
                    <a:pt x="46673" y="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51" name="Freeform: Shape 2150">
              <a:extLst>
                <a:ext uri="{FF2B5EF4-FFF2-40B4-BE49-F238E27FC236}">
                  <a16:creationId xmlns:a16="http://schemas.microsoft.com/office/drawing/2014/main" id="{D9B8D9D6-26CD-4F95-F4D8-17B47B5A5570}"/>
                </a:ext>
              </a:extLst>
            </p:cNvPr>
            <p:cNvSpPr/>
            <p:nvPr/>
          </p:nvSpPr>
          <p:spPr>
            <a:xfrm>
              <a:off x="4933949" y="3822382"/>
              <a:ext cx="5715" cy="100965"/>
            </a:xfrm>
            <a:custGeom>
              <a:avLst/>
              <a:gdLst>
                <a:gd name="connsiteX0" fmla="*/ 5715 w 5715"/>
                <a:gd name="connsiteY0" fmla="*/ 0 h 100965"/>
                <a:gd name="connsiteX1" fmla="*/ 0 w 5715"/>
                <a:gd name="connsiteY1" fmla="*/ 100965 h 100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715" h="100965">
                  <a:moveTo>
                    <a:pt x="5715" y="0"/>
                  </a:moveTo>
                  <a:lnTo>
                    <a:pt x="0" y="100965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52" name="Freeform: Shape 2151">
              <a:extLst>
                <a:ext uri="{FF2B5EF4-FFF2-40B4-BE49-F238E27FC236}">
                  <a16:creationId xmlns:a16="http://schemas.microsoft.com/office/drawing/2014/main" id="{6B335E05-52AC-602E-8B57-189D4CCB628A}"/>
                </a:ext>
              </a:extLst>
            </p:cNvPr>
            <p:cNvSpPr/>
            <p:nvPr/>
          </p:nvSpPr>
          <p:spPr>
            <a:xfrm>
              <a:off x="4217669" y="3923347"/>
              <a:ext cx="716280" cy="945832"/>
            </a:xfrm>
            <a:custGeom>
              <a:avLst/>
              <a:gdLst>
                <a:gd name="connsiteX0" fmla="*/ 19050 w 716280"/>
                <a:gd name="connsiteY0" fmla="*/ 936308 h 945832"/>
                <a:gd name="connsiteX1" fmla="*/ 0 w 716280"/>
                <a:gd name="connsiteY1" fmla="*/ 915353 h 945832"/>
                <a:gd name="connsiteX2" fmla="*/ 2858 w 716280"/>
                <a:gd name="connsiteY2" fmla="*/ 886778 h 945832"/>
                <a:gd name="connsiteX3" fmla="*/ 330518 w 716280"/>
                <a:gd name="connsiteY3" fmla="*/ 921068 h 945832"/>
                <a:gd name="connsiteX4" fmla="*/ 633413 w 716280"/>
                <a:gd name="connsiteY4" fmla="*/ 945833 h 945832"/>
                <a:gd name="connsiteX5" fmla="*/ 708660 w 716280"/>
                <a:gd name="connsiteY5" fmla="*/ 0 h 945832"/>
                <a:gd name="connsiteX6" fmla="*/ 716280 w 716280"/>
                <a:gd name="connsiteY6" fmla="*/ 0 h 945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16280" h="945832">
                  <a:moveTo>
                    <a:pt x="19050" y="936308"/>
                  </a:moveTo>
                  <a:lnTo>
                    <a:pt x="0" y="915353"/>
                  </a:lnTo>
                  <a:lnTo>
                    <a:pt x="2858" y="886778"/>
                  </a:lnTo>
                  <a:lnTo>
                    <a:pt x="330518" y="921068"/>
                  </a:lnTo>
                  <a:lnTo>
                    <a:pt x="633413" y="945833"/>
                  </a:lnTo>
                  <a:lnTo>
                    <a:pt x="708660" y="0"/>
                  </a:lnTo>
                  <a:lnTo>
                    <a:pt x="716280" y="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53" name="Freeform: Shape 2152">
              <a:extLst>
                <a:ext uri="{FF2B5EF4-FFF2-40B4-BE49-F238E27FC236}">
                  <a16:creationId xmlns:a16="http://schemas.microsoft.com/office/drawing/2014/main" id="{3DFD75AF-EC5F-C7F2-F466-929750232FC9}"/>
                </a:ext>
              </a:extLst>
            </p:cNvPr>
            <p:cNvSpPr/>
            <p:nvPr/>
          </p:nvSpPr>
          <p:spPr>
            <a:xfrm>
              <a:off x="2423159" y="2338387"/>
              <a:ext cx="447674" cy="106679"/>
            </a:xfrm>
            <a:custGeom>
              <a:avLst/>
              <a:gdLst>
                <a:gd name="connsiteX0" fmla="*/ 0 w 447674"/>
                <a:gd name="connsiteY0" fmla="*/ 0 h 106679"/>
                <a:gd name="connsiteX1" fmla="*/ 447675 w 447674"/>
                <a:gd name="connsiteY1" fmla="*/ 106680 h 1066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47674" h="106679">
                  <a:moveTo>
                    <a:pt x="0" y="0"/>
                  </a:moveTo>
                  <a:lnTo>
                    <a:pt x="447675" y="10668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54" name="Freeform: Shape 2153">
              <a:extLst>
                <a:ext uri="{FF2B5EF4-FFF2-40B4-BE49-F238E27FC236}">
                  <a16:creationId xmlns:a16="http://schemas.microsoft.com/office/drawing/2014/main" id="{A6FAA49A-4ADD-1FB5-60AE-C64A26F83407}"/>
                </a:ext>
              </a:extLst>
            </p:cNvPr>
            <p:cNvSpPr/>
            <p:nvPr/>
          </p:nvSpPr>
          <p:spPr>
            <a:xfrm>
              <a:off x="3125152" y="2541270"/>
              <a:ext cx="200025" cy="1038224"/>
            </a:xfrm>
            <a:custGeom>
              <a:avLst/>
              <a:gdLst>
                <a:gd name="connsiteX0" fmla="*/ 200025 w 200025"/>
                <a:gd name="connsiteY0" fmla="*/ 0 h 1038224"/>
                <a:gd name="connsiteX1" fmla="*/ 0 w 200025"/>
                <a:gd name="connsiteY1" fmla="*/ 1038225 h 1038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00025" h="1038224">
                  <a:moveTo>
                    <a:pt x="200025" y="0"/>
                  </a:moveTo>
                  <a:lnTo>
                    <a:pt x="0" y="1038225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55" name="Freeform: Shape 2154">
              <a:extLst>
                <a:ext uri="{FF2B5EF4-FFF2-40B4-BE49-F238E27FC236}">
                  <a16:creationId xmlns:a16="http://schemas.microsoft.com/office/drawing/2014/main" id="{8B5150F1-FE3A-30C9-BE68-6AEBA3EC3403}"/>
                </a:ext>
              </a:extLst>
            </p:cNvPr>
            <p:cNvSpPr/>
            <p:nvPr/>
          </p:nvSpPr>
          <p:spPr>
            <a:xfrm>
              <a:off x="8605837" y="2458402"/>
              <a:ext cx="808672" cy="132397"/>
            </a:xfrm>
            <a:custGeom>
              <a:avLst/>
              <a:gdLst>
                <a:gd name="connsiteX0" fmla="*/ 808673 w 808672"/>
                <a:gd name="connsiteY0" fmla="*/ 108585 h 132397"/>
                <a:gd name="connsiteX1" fmla="*/ 793432 w 808672"/>
                <a:gd name="connsiteY1" fmla="*/ 98107 h 132397"/>
                <a:gd name="connsiteX2" fmla="*/ 775335 w 808672"/>
                <a:gd name="connsiteY2" fmla="*/ 100965 h 132397"/>
                <a:gd name="connsiteX3" fmla="*/ 746760 w 808672"/>
                <a:gd name="connsiteY3" fmla="*/ 80010 h 132397"/>
                <a:gd name="connsiteX4" fmla="*/ 718185 w 808672"/>
                <a:gd name="connsiteY4" fmla="*/ 24765 h 132397"/>
                <a:gd name="connsiteX5" fmla="*/ 699135 w 808672"/>
                <a:gd name="connsiteY5" fmla="*/ 24765 h 132397"/>
                <a:gd name="connsiteX6" fmla="*/ 695325 w 808672"/>
                <a:gd name="connsiteY6" fmla="*/ 10477 h 132397"/>
                <a:gd name="connsiteX7" fmla="*/ 679132 w 808672"/>
                <a:gd name="connsiteY7" fmla="*/ 0 h 132397"/>
                <a:gd name="connsiteX8" fmla="*/ 7620 w 808672"/>
                <a:gd name="connsiteY8" fmla="*/ 132397 h 132397"/>
                <a:gd name="connsiteX9" fmla="*/ 0 w 808672"/>
                <a:gd name="connsiteY9" fmla="*/ 75247 h 1323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08672" h="132397">
                  <a:moveTo>
                    <a:pt x="808673" y="108585"/>
                  </a:moveTo>
                  <a:lnTo>
                    <a:pt x="793432" y="98107"/>
                  </a:lnTo>
                  <a:lnTo>
                    <a:pt x="775335" y="100965"/>
                  </a:lnTo>
                  <a:lnTo>
                    <a:pt x="746760" y="80010"/>
                  </a:lnTo>
                  <a:lnTo>
                    <a:pt x="718185" y="24765"/>
                  </a:lnTo>
                  <a:lnTo>
                    <a:pt x="699135" y="24765"/>
                  </a:lnTo>
                  <a:lnTo>
                    <a:pt x="695325" y="10477"/>
                  </a:lnTo>
                  <a:lnTo>
                    <a:pt x="679132" y="0"/>
                  </a:lnTo>
                  <a:lnTo>
                    <a:pt x="7620" y="132397"/>
                  </a:lnTo>
                  <a:lnTo>
                    <a:pt x="0" y="75247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56" name="Freeform: Shape 2155">
              <a:extLst>
                <a:ext uri="{FF2B5EF4-FFF2-40B4-BE49-F238E27FC236}">
                  <a16:creationId xmlns:a16="http://schemas.microsoft.com/office/drawing/2014/main" id="{C464CF2B-0154-5B7C-A188-900E50788209}"/>
                </a:ext>
              </a:extLst>
            </p:cNvPr>
            <p:cNvSpPr/>
            <p:nvPr/>
          </p:nvSpPr>
          <p:spPr>
            <a:xfrm>
              <a:off x="9440226" y="1771650"/>
              <a:ext cx="123825" cy="460057"/>
            </a:xfrm>
            <a:custGeom>
              <a:avLst/>
              <a:gdLst>
                <a:gd name="connsiteX0" fmla="*/ 123825 w 123825"/>
                <a:gd name="connsiteY0" fmla="*/ 460058 h 460057"/>
                <a:gd name="connsiteX1" fmla="*/ 113348 w 123825"/>
                <a:gd name="connsiteY1" fmla="*/ 450533 h 460057"/>
                <a:gd name="connsiteX2" fmla="*/ 118110 w 123825"/>
                <a:gd name="connsiteY2" fmla="*/ 431483 h 460057"/>
                <a:gd name="connsiteX3" fmla="*/ 89535 w 123825"/>
                <a:gd name="connsiteY3" fmla="*/ 296228 h 460057"/>
                <a:gd name="connsiteX4" fmla="*/ 71438 w 123825"/>
                <a:gd name="connsiteY4" fmla="*/ 281940 h 460057"/>
                <a:gd name="connsiteX5" fmla="*/ 62865 w 123825"/>
                <a:gd name="connsiteY5" fmla="*/ 297180 h 460057"/>
                <a:gd name="connsiteX6" fmla="*/ 54293 w 123825"/>
                <a:gd name="connsiteY6" fmla="*/ 276225 h 460057"/>
                <a:gd name="connsiteX7" fmla="*/ 61913 w 123825"/>
                <a:gd name="connsiteY7" fmla="*/ 259080 h 460057"/>
                <a:gd name="connsiteX8" fmla="*/ 32385 w 123825"/>
                <a:gd name="connsiteY8" fmla="*/ 195263 h 460057"/>
                <a:gd name="connsiteX9" fmla="*/ 35243 w 123825"/>
                <a:gd name="connsiteY9" fmla="*/ 159067 h 460057"/>
                <a:gd name="connsiteX10" fmla="*/ 39053 w 123825"/>
                <a:gd name="connsiteY10" fmla="*/ 149542 h 460057"/>
                <a:gd name="connsiteX11" fmla="*/ 33338 w 123825"/>
                <a:gd name="connsiteY11" fmla="*/ 130492 h 460057"/>
                <a:gd name="connsiteX12" fmla="*/ 37148 w 123825"/>
                <a:gd name="connsiteY12" fmla="*/ 109538 h 460057"/>
                <a:gd name="connsiteX13" fmla="*/ 16193 w 123825"/>
                <a:gd name="connsiteY13" fmla="*/ 87630 h 460057"/>
                <a:gd name="connsiteX14" fmla="*/ 11430 w 123825"/>
                <a:gd name="connsiteY14" fmla="*/ 57150 h 460057"/>
                <a:gd name="connsiteX15" fmla="*/ 15240 w 123825"/>
                <a:gd name="connsiteY15" fmla="*/ 42863 h 460057"/>
                <a:gd name="connsiteX16" fmla="*/ 1905 w 123825"/>
                <a:gd name="connsiteY16" fmla="*/ 34290 h 460057"/>
                <a:gd name="connsiteX17" fmla="*/ 7620 w 123825"/>
                <a:gd name="connsiteY17" fmla="*/ 16192 h 460057"/>
                <a:gd name="connsiteX18" fmla="*/ 0 w 123825"/>
                <a:gd name="connsiteY18" fmla="*/ 0 h 460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3825" h="460057">
                  <a:moveTo>
                    <a:pt x="123825" y="460058"/>
                  </a:moveTo>
                  <a:lnTo>
                    <a:pt x="113348" y="450533"/>
                  </a:lnTo>
                  <a:lnTo>
                    <a:pt x="118110" y="431483"/>
                  </a:lnTo>
                  <a:lnTo>
                    <a:pt x="89535" y="296228"/>
                  </a:lnTo>
                  <a:lnTo>
                    <a:pt x="71438" y="281940"/>
                  </a:lnTo>
                  <a:lnTo>
                    <a:pt x="62865" y="297180"/>
                  </a:lnTo>
                  <a:lnTo>
                    <a:pt x="54293" y="276225"/>
                  </a:lnTo>
                  <a:lnTo>
                    <a:pt x="61913" y="259080"/>
                  </a:lnTo>
                  <a:lnTo>
                    <a:pt x="32385" y="195263"/>
                  </a:lnTo>
                  <a:lnTo>
                    <a:pt x="35243" y="159067"/>
                  </a:lnTo>
                  <a:lnTo>
                    <a:pt x="39053" y="149542"/>
                  </a:lnTo>
                  <a:lnTo>
                    <a:pt x="33338" y="130492"/>
                  </a:lnTo>
                  <a:lnTo>
                    <a:pt x="37148" y="109538"/>
                  </a:lnTo>
                  <a:lnTo>
                    <a:pt x="16193" y="87630"/>
                  </a:lnTo>
                  <a:lnTo>
                    <a:pt x="11430" y="57150"/>
                  </a:lnTo>
                  <a:lnTo>
                    <a:pt x="15240" y="42863"/>
                  </a:lnTo>
                  <a:lnTo>
                    <a:pt x="1905" y="34290"/>
                  </a:lnTo>
                  <a:lnTo>
                    <a:pt x="7620" y="16192"/>
                  </a:lnTo>
                  <a:lnTo>
                    <a:pt x="0" y="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57" name="Freeform: Shape 2156">
              <a:extLst>
                <a:ext uri="{FF2B5EF4-FFF2-40B4-BE49-F238E27FC236}">
                  <a16:creationId xmlns:a16="http://schemas.microsoft.com/office/drawing/2014/main" id="{2E137D08-8922-C080-4088-6670D7F48810}"/>
                </a:ext>
              </a:extLst>
            </p:cNvPr>
            <p:cNvSpPr/>
            <p:nvPr/>
          </p:nvSpPr>
          <p:spPr>
            <a:xfrm>
              <a:off x="8500109" y="2611754"/>
              <a:ext cx="46672" cy="284797"/>
            </a:xfrm>
            <a:custGeom>
              <a:avLst/>
              <a:gdLst>
                <a:gd name="connsiteX0" fmla="*/ 46672 w 46672"/>
                <a:gd name="connsiteY0" fmla="*/ 284798 h 284797"/>
                <a:gd name="connsiteX1" fmla="*/ 0 w 46672"/>
                <a:gd name="connsiteY1" fmla="*/ 0 h 284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672" h="284797">
                  <a:moveTo>
                    <a:pt x="46672" y="284798"/>
                  </a:moveTo>
                  <a:lnTo>
                    <a:pt x="0" y="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58" name="Freeform: Shape 2157">
              <a:extLst>
                <a:ext uri="{FF2B5EF4-FFF2-40B4-BE49-F238E27FC236}">
                  <a16:creationId xmlns:a16="http://schemas.microsoft.com/office/drawing/2014/main" id="{1F54DBE1-A7C4-9696-AF8D-AC1725C81BBD}"/>
                </a:ext>
              </a:extLst>
            </p:cNvPr>
            <p:cNvSpPr/>
            <p:nvPr/>
          </p:nvSpPr>
          <p:spPr>
            <a:xfrm>
              <a:off x="8284844" y="2896552"/>
              <a:ext cx="261937" cy="517207"/>
            </a:xfrm>
            <a:custGeom>
              <a:avLst/>
              <a:gdLst>
                <a:gd name="connsiteX0" fmla="*/ 0 w 261937"/>
                <a:gd name="connsiteY0" fmla="*/ 517207 h 517207"/>
                <a:gd name="connsiteX1" fmla="*/ 30480 w 261937"/>
                <a:gd name="connsiteY1" fmla="*/ 503872 h 517207"/>
                <a:gd name="connsiteX2" fmla="*/ 44768 w 261937"/>
                <a:gd name="connsiteY2" fmla="*/ 503872 h 517207"/>
                <a:gd name="connsiteX3" fmla="*/ 48578 w 261937"/>
                <a:gd name="connsiteY3" fmla="*/ 470535 h 517207"/>
                <a:gd name="connsiteX4" fmla="*/ 62865 w 261937"/>
                <a:gd name="connsiteY4" fmla="*/ 462915 h 517207"/>
                <a:gd name="connsiteX5" fmla="*/ 50482 w 261937"/>
                <a:gd name="connsiteY5" fmla="*/ 428625 h 517207"/>
                <a:gd name="connsiteX6" fmla="*/ 60960 w 261937"/>
                <a:gd name="connsiteY6" fmla="*/ 416242 h 517207"/>
                <a:gd name="connsiteX7" fmla="*/ 63818 w 261937"/>
                <a:gd name="connsiteY7" fmla="*/ 395288 h 517207"/>
                <a:gd name="connsiteX8" fmla="*/ 73343 w 261937"/>
                <a:gd name="connsiteY8" fmla="*/ 373380 h 517207"/>
                <a:gd name="connsiteX9" fmla="*/ 88582 w 261937"/>
                <a:gd name="connsiteY9" fmla="*/ 378142 h 517207"/>
                <a:gd name="connsiteX10" fmla="*/ 94298 w 261937"/>
                <a:gd name="connsiteY10" fmla="*/ 398145 h 517207"/>
                <a:gd name="connsiteX11" fmla="*/ 103823 w 261937"/>
                <a:gd name="connsiteY11" fmla="*/ 393382 h 517207"/>
                <a:gd name="connsiteX12" fmla="*/ 110490 w 261937"/>
                <a:gd name="connsiteY12" fmla="*/ 385763 h 517207"/>
                <a:gd name="connsiteX13" fmla="*/ 120015 w 261937"/>
                <a:gd name="connsiteY13" fmla="*/ 383857 h 517207"/>
                <a:gd name="connsiteX14" fmla="*/ 120015 w 261937"/>
                <a:gd name="connsiteY14" fmla="*/ 365760 h 517207"/>
                <a:gd name="connsiteX15" fmla="*/ 106680 w 261937"/>
                <a:gd name="connsiteY15" fmla="*/ 355282 h 517207"/>
                <a:gd name="connsiteX16" fmla="*/ 116205 w 261937"/>
                <a:gd name="connsiteY16" fmla="*/ 350520 h 517207"/>
                <a:gd name="connsiteX17" fmla="*/ 115253 w 261937"/>
                <a:gd name="connsiteY17" fmla="*/ 330517 h 517207"/>
                <a:gd name="connsiteX18" fmla="*/ 127635 w 261937"/>
                <a:gd name="connsiteY18" fmla="*/ 309563 h 517207"/>
                <a:gd name="connsiteX19" fmla="*/ 140018 w 261937"/>
                <a:gd name="connsiteY19" fmla="*/ 309563 h 517207"/>
                <a:gd name="connsiteX20" fmla="*/ 142875 w 261937"/>
                <a:gd name="connsiteY20" fmla="*/ 298132 h 517207"/>
                <a:gd name="connsiteX21" fmla="*/ 157163 w 261937"/>
                <a:gd name="connsiteY21" fmla="*/ 280988 h 517207"/>
                <a:gd name="connsiteX22" fmla="*/ 169545 w 261937"/>
                <a:gd name="connsiteY22" fmla="*/ 292417 h 517207"/>
                <a:gd name="connsiteX23" fmla="*/ 186690 w 261937"/>
                <a:gd name="connsiteY23" fmla="*/ 276225 h 517207"/>
                <a:gd name="connsiteX24" fmla="*/ 192405 w 261937"/>
                <a:gd name="connsiteY24" fmla="*/ 276225 h 517207"/>
                <a:gd name="connsiteX25" fmla="*/ 209550 w 261937"/>
                <a:gd name="connsiteY25" fmla="*/ 257175 h 517207"/>
                <a:gd name="connsiteX26" fmla="*/ 228600 w 261937"/>
                <a:gd name="connsiteY26" fmla="*/ 225742 h 517207"/>
                <a:gd name="connsiteX27" fmla="*/ 239078 w 261937"/>
                <a:gd name="connsiteY27" fmla="*/ 220980 h 517207"/>
                <a:gd name="connsiteX28" fmla="*/ 242888 w 261937"/>
                <a:gd name="connsiteY28" fmla="*/ 200025 h 517207"/>
                <a:gd name="connsiteX29" fmla="*/ 238125 w 261937"/>
                <a:gd name="connsiteY29" fmla="*/ 189547 h 517207"/>
                <a:gd name="connsiteX30" fmla="*/ 247650 w 261937"/>
                <a:gd name="connsiteY30" fmla="*/ 155257 h 517207"/>
                <a:gd name="connsiteX31" fmla="*/ 248603 w 261937"/>
                <a:gd name="connsiteY31" fmla="*/ 103822 h 517207"/>
                <a:gd name="connsiteX32" fmla="*/ 259080 w 261937"/>
                <a:gd name="connsiteY32" fmla="*/ 71438 h 517207"/>
                <a:gd name="connsiteX33" fmla="*/ 253365 w 261937"/>
                <a:gd name="connsiteY33" fmla="*/ 52388 h 517207"/>
                <a:gd name="connsiteX34" fmla="*/ 254318 w 261937"/>
                <a:gd name="connsiteY34" fmla="*/ 31432 h 517207"/>
                <a:gd name="connsiteX35" fmla="*/ 240982 w 261937"/>
                <a:gd name="connsiteY35" fmla="*/ 11430 h 517207"/>
                <a:gd name="connsiteX36" fmla="*/ 261938 w 261937"/>
                <a:gd name="connsiteY36" fmla="*/ 0 h 517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261937" h="517207">
                  <a:moveTo>
                    <a:pt x="0" y="517207"/>
                  </a:moveTo>
                  <a:lnTo>
                    <a:pt x="30480" y="503872"/>
                  </a:lnTo>
                  <a:lnTo>
                    <a:pt x="44768" y="503872"/>
                  </a:lnTo>
                  <a:lnTo>
                    <a:pt x="48578" y="470535"/>
                  </a:lnTo>
                  <a:lnTo>
                    <a:pt x="62865" y="462915"/>
                  </a:lnTo>
                  <a:lnTo>
                    <a:pt x="50482" y="428625"/>
                  </a:lnTo>
                  <a:lnTo>
                    <a:pt x="60960" y="416242"/>
                  </a:lnTo>
                  <a:lnTo>
                    <a:pt x="63818" y="395288"/>
                  </a:lnTo>
                  <a:lnTo>
                    <a:pt x="73343" y="373380"/>
                  </a:lnTo>
                  <a:lnTo>
                    <a:pt x="88582" y="378142"/>
                  </a:lnTo>
                  <a:lnTo>
                    <a:pt x="94298" y="398145"/>
                  </a:lnTo>
                  <a:lnTo>
                    <a:pt x="103823" y="393382"/>
                  </a:lnTo>
                  <a:lnTo>
                    <a:pt x="110490" y="385763"/>
                  </a:lnTo>
                  <a:lnTo>
                    <a:pt x="120015" y="383857"/>
                  </a:lnTo>
                  <a:lnTo>
                    <a:pt x="120015" y="365760"/>
                  </a:lnTo>
                  <a:lnTo>
                    <a:pt x="106680" y="355282"/>
                  </a:lnTo>
                  <a:lnTo>
                    <a:pt x="116205" y="350520"/>
                  </a:lnTo>
                  <a:lnTo>
                    <a:pt x="115253" y="330517"/>
                  </a:lnTo>
                  <a:lnTo>
                    <a:pt x="127635" y="309563"/>
                  </a:lnTo>
                  <a:lnTo>
                    <a:pt x="140018" y="309563"/>
                  </a:lnTo>
                  <a:lnTo>
                    <a:pt x="142875" y="298132"/>
                  </a:lnTo>
                  <a:lnTo>
                    <a:pt x="157163" y="280988"/>
                  </a:lnTo>
                  <a:lnTo>
                    <a:pt x="169545" y="292417"/>
                  </a:lnTo>
                  <a:lnTo>
                    <a:pt x="186690" y="276225"/>
                  </a:lnTo>
                  <a:lnTo>
                    <a:pt x="192405" y="276225"/>
                  </a:lnTo>
                  <a:lnTo>
                    <a:pt x="209550" y="257175"/>
                  </a:lnTo>
                  <a:lnTo>
                    <a:pt x="228600" y="225742"/>
                  </a:lnTo>
                  <a:lnTo>
                    <a:pt x="239078" y="220980"/>
                  </a:lnTo>
                  <a:lnTo>
                    <a:pt x="242888" y="200025"/>
                  </a:lnTo>
                  <a:lnTo>
                    <a:pt x="238125" y="189547"/>
                  </a:lnTo>
                  <a:lnTo>
                    <a:pt x="247650" y="155257"/>
                  </a:lnTo>
                  <a:lnTo>
                    <a:pt x="248603" y="103822"/>
                  </a:lnTo>
                  <a:lnTo>
                    <a:pt x="259080" y="71438"/>
                  </a:lnTo>
                  <a:lnTo>
                    <a:pt x="253365" y="52388"/>
                  </a:lnTo>
                  <a:lnTo>
                    <a:pt x="254318" y="31432"/>
                  </a:lnTo>
                  <a:lnTo>
                    <a:pt x="240982" y="11430"/>
                  </a:lnTo>
                  <a:lnTo>
                    <a:pt x="261938" y="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59" name="Freeform: Shape 2158">
              <a:extLst>
                <a:ext uri="{FF2B5EF4-FFF2-40B4-BE49-F238E27FC236}">
                  <a16:creationId xmlns:a16="http://schemas.microsoft.com/office/drawing/2014/main" id="{44A5DF5C-6299-3F64-6A72-A1B491AC43D3}"/>
                </a:ext>
              </a:extLst>
            </p:cNvPr>
            <p:cNvSpPr/>
            <p:nvPr/>
          </p:nvSpPr>
          <p:spPr>
            <a:xfrm>
              <a:off x="4933949" y="3923347"/>
              <a:ext cx="1432559" cy="643890"/>
            </a:xfrm>
            <a:custGeom>
              <a:avLst/>
              <a:gdLst>
                <a:gd name="connsiteX0" fmla="*/ 0 w 1432559"/>
                <a:gd name="connsiteY0" fmla="*/ 0 h 643890"/>
                <a:gd name="connsiteX1" fmla="*/ 501015 w 1432559"/>
                <a:gd name="connsiteY1" fmla="*/ 30480 h 643890"/>
                <a:gd name="connsiteX2" fmla="*/ 487680 w 1432559"/>
                <a:gd name="connsiteY2" fmla="*/ 437197 h 643890"/>
                <a:gd name="connsiteX3" fmla="*/ 513397 w 1432559"/>
                <a:gd name="connsiteY3" fmla="*/ 449580 h 643890"/>
                <a:gd name="connsiteX4" fmla="*/ 537210 w 1432559"/>
                <a:gd name="connsiteY4" fmla="*/ 478155 h 643890"/>
                <a:gd name="connsiteX5" fmla="*/ 551497 w 1432559"/>
                <a:gd name="connsiteY5" fmla="*/ 481013 h 643890"/>
                <a:gd name="connsiteX6" fmla="*/ 561975 w 1432559"/>
                <a:gd name="connsiteY6" fmla="*/ 471488 h 643890"/>
                <a:gd name="connsiteX7" fmla="*/ 573405 w 1432559"/>
                <a:gd name="connsiteY7" fmla="*/ 475297 h 643890"/>
                <a:gd name="connsiteX8" fmla="*/ 586740 w 1432559"/>
                <a:gd name="connsiteY8" fmla="*/ 484822 h 643890"/>
                <a:gd name="connsiteX9" fmla="*/ 597218 w 1432559"/>
                <a:gd name="connsiteY9" fmla="*/ 470535 h 643890"/>
                <a:gd name="connsiteX10" fmla="*/ 619125 w 1432559"/>
                <a:gd name="connsiteY10" fmla="*/ 486728 h 643890"/>
                <a:gd name="connsiteX11" fmla="*/ 623888 w 1432559"/>
                <a:gd name="connsiteY11" fmla="*/ 514350 h 643890"/>
                <a:gd name="connsiteX12" fmla="*/ 635318 w 1432559"/>
                <a:gd name="connsiteY12" fmla="*/ 521018 h 643890"/>
                <a:gd name="connsiteX13" fmla="*/ 657225 w 1432559"/>
                <a:gd name="connsiteY13" fmla="*/ 520065 h 643890"/>
                <a:gd name="connsiteX14" fmla="*/ 690563 w 1432559"/>
                <a:gd name="connsiteY14" fmla="*/ 538163 h 643890"/>
                <a:gd name="connsiteX15" fmla="*/ 709613 w 1432559"/>
                <a:gd name="connsiteY15" fmla="*/ 537210 h 643890"/>
                <a:gd name="connsiteX16" fmla="*/ 722947 w 1432559"/>
                <a:gd name="connsiteY16" fmla="*/ 533400 h 643890"/>
                <a:gd name="connsiteX17" fmla="*/ 744855 w 1432559"/>
                <a:gd name="connsiteY17" fmla="*/ 554355 h 643890"/>
                <a:gd name="connsiteX18" fmla="*/ 763905 w 1432559"/>
                <a:gd name="connsiteY18" fmla="*/ 532447 h 643890"/>
                <a:gd name="connsiteX19" fmla="*/ 797243 w 1432559"/>
                <a:gd name="connsiteY19" fmla="*/ 542925 h 643890"/>
                <a:gd name="connsiteX20" fmla="*/ 815340 w 1432559"/>
                <a:gd name="connsiteY20" fmla="*/ 571500 h 643890"/>
                <a:gd name="connsiteX21" fmla="*/ 837247 w 1432559"/>
                <a:gd name="connsiteY21" fmla="*/ 570547 h 643890"/>
                <a:gd name="connsiteX22" fmla="*/ 830580 w 1432559"/>
                <a:gd name="connsiteY22" fmla="*/ 590550 h 643890"/>
                <a:gd name="connsiteX23" fmla="*/ 852488 w 1432559"/>
                <a:gd name="connsiteY23" fmla="*/ 601028 h 643890"/>
                <a:gd name="connsiteX24" fmla="*/ 881063 w 1432559"/>
                <a:gd name="connsiteY24" fmla="*/ 576263 h 643890"/>
                <a:gd name="connsiteX25" fmla="*/ 905828 w 1432559"/>
                <a:gd name="connsiteY25" fmla="*/ 592455 h 643890"/>
                <a:gd name="connsiteX26" fmla="*/ 918210 w 1432559"/>
                <a:gd name="connsiteY26" fmla="*/ 587693 h 643890"/>
                <a:gd name="connsiteX27" fmla="*/ 919163 w 1432559"/>
                <a:gd name="connsiteY27" fmla="*/ 601980 h 643890"/>
                <a:gd name="connsiteX28" fmla="*/ 935355 w 1432559"/>
                <a:gd name="connsiteY28" fmla="*/ 613410 h 643890"/>
                <a:gd name="connsiteX29" fmla="*/ 957263 w 1432559"/>
                <a:gd name="connsiteY29" fmla="*/ 589597 h 643890"/>
                <a:gd name="connsiteX30" fmla="*/ 968693 w 1432559"/>
                <a:gd name="connsiteY30" fmla="*/ 596265 h 643890"/>
                <a:gd name="connsiteX31" fmla="*/ 965835 w 1432559"/>
                <a:gd name="connsiteY31" fmla="*/ 615315 h 643890"/>
                <a:gd name="connsiteX32" fmla="*/ 975360 w 1432559"/>
                <a:gd name="connsiteY32" fmla="*/ 632460 h 643890"/>
                <a:gd name="connsiteX33" fmla="*/ 986790 w 1432559"/>
                <a:gd name="connsiteY33" fmla="*/ 624840 h 643890"/>
                <a:gd name="connsiteX34" fmla="*/ 1010603 w 1432559"/>
                <a:gd name="connsiteY34" fmla="*/ 584835 h 643890"/>
                <a:gd name="connsiteX35" fmla="*/ 1027747 w 1432559"/>
                <a:gd name="connsiteY35" fmla="*/ 603885 h 643890"/>
                <a:gd name="connsiteX36" fmla="*/ 1046797 w 1432559"/>
                <a:gd name="connsiteY36" fmla="*/ 608647 h 643890"/>
                <a:gd name="connsiteX37" fmla="*/ 1066800 w 1432559"/>
                <a:gd name="connsiteY37" fmla="*/ 601980 h 643890"/>
                <a:gd name="connsiteX38" fmla="*/ 1085850 w 1432559"/>
                <a:gd name="connsiteY38" fmla="*/ 619125 h 643890"/>
                <a:gd name="connsiteX39" fmla="*/ 1097280 w 1432559"/>
                <a:gd name="connsiteY39" fmla="*/ 618172 h 643890"/>
                <a:gd name="connsiteX40" fmla="*/ 1109663 w 1432559"/>
                <a:gd name="connsiteY40" fmla="*/ 629603 h 643890"/>
                <a:gd name="connsiteX41" fmla="*/ 1143953 w 1432559"/>
                <a:gd name="connsiteY41" fmla="*/ 621030 h 643890"/>
                <a:gd name="connsiteX42" fmla="*/ 1149668 w 1432559"/>
                <a:gd name="connsiteY42" fmla="*/ 604838 h 643890"/>
                <a:gd name="connsiteX43" fmla="*/ 1184910 w 1432559"/>
                <a:gd name="connsiteY43" fmla="*/ 601980 h 643890"/>
                <a:gd name="connsiteX44" fmla="*/ 1200150 w 1432559"/>
                <a:gd name="connsiteY44" fmla="*/ 608647 h 643890"/>
                <a:gd name="connsiteX45" fmla="*/ 1247775 w 1432559"/>
                <a:gd name="connsiteY45" fmla="*/ 584835 h 643890"/>
                <a:gd name="connsiteX46" fmla="*/ 1253490 w 1432559"/>
                <a:gd name="connsiteY46" fmla="*/ 599122 h 643890"/>
                <a:gd name="connsiteX47" fmla="*/ 1302068 w 1432559"/>
                <a:gd name="connsiteY47" fmla="*/ 596265 h 643890"/>
                <a:gd name="connsiteX48" fmla="*/ 1306830 w 1432559"/>
                <a:gd name="connsiteY48" fmla="*/ 581025 h 643890"/>
                <a:gd name="connsiteX49" fmla="*/ 1327785 w 1432559"/>
                <a:gd name="connsiteY49" fmla="*/ 589597 h 643890"/>
                <a:gd name="connsiteX50" fmla="*/ 1371600 w 1432559"/>
                <a:gd name="connsiteY50" fmla="*/ 625793 h 643890"/>
                <a:gd name="connsiteX51" fmla="*/ 1432560 w 1432559"/>
                <a:gd name="connsiteY51" fmla="*/ 643890 h 64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432559" h="643890">
                  <a:moveTo>
                    <a:pt x="0" y="0"/>
                  </a:moveTo>
                  <a:lnTo>
                    <a:pt x="501015" y="30480"/>
                  </a:lnTo>
                  <a:lnTo>
                    <a:pt x="487680" y="437197"/>
                  </a:lnTo>
                  <a:lnTo>
                    <a:pt x="513397" y="449580"/>
                  </a:lnTo>
                  <a:lnTo>
                    <a:pt x="537210" y="478155"/>
                  </a:lnTo>
                  <a:lnTo>
                    <a:pt x="551497" y="481013"/>
                  </a:lnTo>
                  <a:lnTo>
                    <a:pt x="561975" y="471488"/>
                  </a:lnTo>
                  <a:lnTo>
                    <a:pt x="573405" y="475297"/>
                  </a:lnTo>
                  <a:lnTo>
                    <a:pt x="586740" y="484822"/>
                  </a:lnTo>
                  <a:lnTo>
                    <a:pt x="597218" y="470535"/>
                  </a:lnTo>
                  <a:lnTo>
                    <a:pt x="619125" y="486728"/>
                  </a:lnTo>
                  <a:lnTo>
                    <a:pt x="623888" y="514350"/>
                  </a:lnTo>
                  <a:lnTo>
                    <a:pt x="635318" y="521018"/>
                  </a:lnTo>
                  <a:lnTo>
                    <a:pt x="657225" y="520065"/>
                  </a:lnTo>
                  <a:lnTo>
                    <a:pt x="690563" y="538163"/>
                  </a:lnTo>
                  <a:lnTo>
                    <a:pt x="709613" y="537210"/>
                  </a:lnTo>
                  <a:lnTo>
                    <a:pt x="722947" y="533400"/>
                  </a:lnTo>
                  <a:lnTo>
                    <a:pt x="744855" y="554355"/>
                  </a:lnTo>
                  <a:lnTo>
                    <a:pt x="763905" y="532447"/>
                  </a:lnTo>
                  <a:lnTo>
                    <a:pt x="797243" y="542925"/>
                  </a:lnTo>
                  <a:lnTo>
                    <a:pt x="815340" y="571500"/>
                  </a:lnTo>
                  <a:lnTo>
                    <a:pt x="837247" y="570547"/>
                  </a:lnTo>
                  <a:lnTo>
                    <a:pt x="830580" y="590550"/>
                  </a:lnTo>
                  <a:lnTo>
                    <a:pt x="852488" y="601028"/>
                  </a:lnTo>
                  <a:lnTo>
                    <a:pt x="881063" y="576263"/>
                  </a:lnTo>
                  <a:lnTo>
                    <a:pt x="905828" y="592455"/>
                  </a:lnTo>
                  <a:lnTo>
                    <a:pt x="918210" y="587693"/>
                  </a:lnTo>
                  <a:lnTo>
                    <a:pt x="919163" y="601980"/>
                  </a:lnTo>
                  <a:lnTo>
                    <a:pt x="935355" y="613410"/>
                  </a:lnTo>
                  <a:lnTo>
                    <a:pt x="957263" y="589597"/>
                  </a:lnTo>
                  <a:lnTo>
                    <a:pt x="968693" y="596265"/>
                  </a:lnTo>
                  <a:lnTo>
                    <a:pt x="965835" y="615315"/>
                  </a:lnTo>
                  <a:lnTo>
                    <a:pt x="975360" y="632460"/>
                  </a:lnTo>
                  <a:lnTo>
                    <a:pt x="986790" y="624840"/>
                  </a:lnTo>
                  <a:lnTo>
                    <a:pt x="1010603" y="584835"/>
                  </a:lnTo>
                  <a:lnTo>
                    <a:pt x="1027747" y="603885"/>
                  </a:lnTo>
                  <a:lnTo>
                    <a:pt x="1046797" y="608647"/>
                  </a:lnTo>
                  <a:lnTo>
                    <a:pt x="1066800" y="601980"/>
                  </a:lnTo>
                  <a:lnTo>
                    <a:pt x="1085850" y="619125"/>
                  </a:lnTo>
                  <a:lnTo>
                    <a:pt x="1097280" y="618172"/>
                  </a:lnTo>
                  <a:lnTo>
                    <a:pt x="1109663" y="629603"/>
                  </a:lnTo>
                  <a:lnTo>
                    <a:pt x="1143953" y="621030"/>
                  </a:lnTo>
                  <a:lnTo>
                    <a:pt x="1149668" y="604838"/>
                  </a:lnTo>
                  <a:lnTo>
                    <a:pt x="1184910" y="601980"/>
                  </a:lnTo>
                  <a:lnTo>
                    <a:pt x="1200150" y="608647"/>
                  </a:lnTo>
                  <a:lnTo>
                    <a:pt x="1247775" y="584835"/>
                  </a:lnTo>
                  <a:lnTo>
                    <a:pt x="1253490" y="599122"/>
                  </a:lnTo>
                  <a:lnTo>
                    <a:pt x="1302068" y="596265"/>
                  </a:lnTo>
                  <a:lnTo>
                    <a:pt x="1306830" y="581025"/>
                  </a:lnTo>
                  <a:lnTo>
                    <a:pt x="1327785" y="589597"/>
                  </a:lnTo>
                  <a:lnTo>
                    <a:pt x="1371600" y="625793"/>
                  </a:lnTo>
                  <a:lnTo>
                    <a:pt x="1432560" y="64389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60" name="Freeform: Shape 2159">
              <a:extLst>
                <a:ext uri="{FF2B5EF4-FFF2-40B4-BE49-F238E27FC236}">
                  <a16:creationId xmlns:a16="http://schemas.microsoft.com/office/drawing/2014/main" id="{1EFFC25C-11A3-9014-7F61-BC2B53AC9F86}"/>
                </a:ext>
              </a:extLst>
            </p:cNvPr>
            <p:cNvSpPr/>
            <p:nvPr/>
          </p:nvSpPr>
          <p:spPr>
            <a:xfrm>
              <a:off x="2147887" y="1331594"/>
              <a:ext cx="919162" cy="296227"/>
            </a:xfrm>
            <a:custGeom>
              <a:avLst/>
              <a:gdLst>
                <a:gd name="connsiteX0" fmla="*/ 919163 w 919162"/>
                <a:gd name="connsiteY0" fmla="*/ 296228 h 296227"/>
                <a:gd name="connsiteX1" fmla="*/ 630555 w 919162"/>
                <a:gd name="connsiteY1" fmla="*/ 226695 h 296227"/>
                <a:gd name="connsiteX2" fmla="*/ 603885 w 919162"/>
                <a:gd name="connsiteY2" fmla="*/ 236220 h 296227"/>
                <a:gd name="connsiteX3" fmla="*/ 552450 w 919162"/>
                <a:gd name="connsiteY3" fmla="*/ 227647 h 296227"/>
                <a:gd name="connsiteX4" fmla="*/ 535305 w 919162"/>
                <a:gd name="connsiteY4" fmla="*/ 219075 h 296227"/>
                <a:gd name="connsiteX5" fmla="*/ 521017 w 919162"/>
                <a:gd name="connsiteY5" fmla="*/ 230505 h 296227"/>
                <a:gd name="connsiteX6" fmla="*/ 489585 w 919162"/>
                <a:gd name="connsiteY6" fmla="*/ 226695 h 296227"/>
                <a:gd name="connsiteX7" fmla="*/ 446723 w 919162"/>
                <a:gd name="connsiteY7" fmla="*/ 231458 h 296227"/>
                <a:gd name="connsiteX8" fmla="*/ 438150 w 919162"/>
                <a:gd name="connsiteY8" fmla="*/ 238125 h 296227"/>
                <a:gd name="connsiteX9" fmla="*/ 398145 w 919162"/>
                <a:gd name="connsiteY9" fmla="*/ 234315 h 296227"/>
                <a:gd name="connsiteX10" fmla="*/ 390525 w 919162"/>
                <a:gd name="connsiteY10" fmla="*/ 219075 h 296227"/>
                <a:gd name="connsiteX11" fmla="*/ 379095 w 919162"/>
                <a:gd name="connsiteY11" fmla="*/ 217170 h 296227"/>
                <a:gd name="connsiteX12" fmla="*/ 337185 w 919162"/>
                <a:gd name="connsiteY12" fmla="*/ 229553 h 296227"/>
                <a:gd name="connsiteX13" fmla="*/ 321945 w 919162"/>
                <a:gd name="connsiteY13" fmla="*/ 219075 h 296227"/>
                <a:gd name="connsiteX14" fmla="*/ 300990 w 919162"/>
                <a:gd name="connsiteY14" fmla="*/ 226695 h 296227"/>
                <a:gd name="connsiteX15" fmla="*/ 299085 w 919162"/>
                <a:gd name="connsiteY15" fmla="*/ 209550 h 296227"/>
                <a:gd name="connsiteX16" fmla="*/ 277178 w 919162"/>
                <a:gd name="connsiteY16" fmla="*/ 198120 h 296227"/>
                <a:gd name="connsiteX17" fmla="*/ 262890 w 919162"/>
                <a:gd name="connsiteY17" fmla="*/ 196215 h 296227"/>
                <a:gd name="connsiteX18" fmla="*/ 253365 w 919162"/>
                <a:gd name="connsiteY18" fmla="*/ 185738 h 296227"/>
                <a:gd name="connsiteX19" fmla="*/ 224790 w 919162"/>
                <a:gd name="connsiteY19" fmla="*/ 188595 h 296227"/>
                <a:gd name="connsiteX20" fmla="*/ 213360 w 919162"/>
                <a:gd name="connsiteY20" fmla="*/ 180975 h 296227"/>
                <a:gd name="connsiteX21" fmla="*/ 201930 w 919162"/>
                <a:gd name="connsiteY21" fmla="*/ 180975 h 296227"/>
                <a:gd name="connsiteX22" fmla="*/ 190500 w 919162"/>
                <a:gd name="connsiteY22" fmla="*/ 189547 h 296227"/>
                <a:gd name="connsiteX23" fmla="*/ 138113 w 919162"/>
                <a:gd name="connsiteY23" fmla="*/ 196215 h 296227"/>
                <a:gd name="connsiteX24" fmla="*/ 75248 w 919162"/>
                <a:gd name="connsiteY24" fmla="*/ 156210 h 296227"/>
                <a:gd name="connsiteX25" fmla="*/ 85725 w 919162"/>
                <a:gd name="connsiteY25" fmla="*/ 102870 h 296227"/>
                <a:gd name="connsiteX26" fmla="*/ 81915 w 919162"/>
                <a:gd name="connsiteY26" fmla="*/ 63818 h 296227"/>
                <a:gd name="connsiteX27" fmla="*/ 51435 w 919162"/>
                <a:gd name="connsiteY27" fmla="*/ 28575 h 296227"/>
                <a:gd name="connsiteX28" fmla="*/ 16192 w 919162"/>
                <a:gd name="connsiteY28" fmla="*/ 29528 h 296227"/>
                <a:gd name="connsiteX29" fmla="*/ 12383 w 919162"/>
                <a:gd name="connsiteY29" fmla="*/ 19050 h 296227"/>
                <a:gd name="connsiteX30" fmla="*/ 16192 w 919162"/>
                <a:gd name="connsiteY30" fmla="*/ 7620 h 296227"/>
                <a:gd name="connsiteX31" fmla="*/ 9525 w 919162"/>
                <a:gd name="connsiteY31" fmla="*/ 0 h 296227"/>
                <a:gd name="connsiteX32" fmla="*/ 0 w 919162"/>
                <a:gd name="connsiteY32" fmla="*/ 953 h 296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919162" h="296227">
                  <a:moveTo>
                    <a:pt x="919163" y="296228"/>
                  </a:moveTo>
                  <a:lnTo>
                    <a:pt x="630555" y="226695"/>
                  </a:lnTo>
                  <a:lnTo>
                    <a:pt x="603885" y="236220"/>
                  </a:lnTo>
                  <a:lnTo>
                    <a:pt x="552450" y="227647"/>
                  </a:lnTo>
                  <a:lnTo>
                    <a:pt x="535305" y="219075"/>
                  </a:lnTo>
                  <a:lnTo>
                    <a:pt x="521017" y="230505"/>
                  </a:lnTo>
                  <a:lnTo>
                    <a:pt x="489585" y="226695"/>
                  </a:lnTo>
                  <a:lnTo>
                    <a:pt x="446723" y="231458"/>
                  </a:lnTo>
                  <a:lnTo>
                    <a:pt x="438150" y="238125"/>
                  </a:lnTo>
                  <a:lnTo>
                    <a:pt x="398145" y="234315"/>
                  </a:lnTo>
                  <a:lnTo>
                    <a:pt x="390525" y="219075"/>
                  </a:lnTo>
                  <a:lnTo>
                    <a:pt x="379095" y="217170"/>
                  </a:lnTo>
                  <a:lnTo>
                    <a:pt x="337185" y="229553"/>
                  </a:lnTo>
                  <a:lnTo>
                    <a:pt x="321945" y="219075"/>
                  </a:lnTo>
                  <a:lnTo>
                    <a:pt x="300990" y="226695"/>
                  </a:lnTo>
                  <a:lnTo>
                    <a:pt x="299085" y="209550"/>
                  </a:lnTo>
                  <a:lnTo>
                    <a:pt x="277178" y="198120"/>
                  </a:lnTo>
                  <a:lnTo>
                    <a:pt x="262890" y="196215"/>
                  </a:lnTo>
                  <a:lnTo>
                    <a:pt x="253365" y="185738"/>
                  </a:lnTo>
                  <a:lnTo>
                    <a:pt x="224790" y="188595"/>
                  </a:lnTo>
                  <a:lnTo>
                    <a:pt x="213360" y="180975"/>
                  </a:lnTo>
                  <a:lnTo>
                    <a:pt x="201930" y="180975"/>
                  </a:lnTo>
                  <a:lnTo>
                    <a:pt x="190500" y="189547"/>
                  </a:lnTo>
                  <a:lnTo>
                    <a:pt x="138113" y="196215"/>
                  </a:lnTo>
                  <a:lnTo>
                    <a:pt x="75248" y="156210"/>
                  </a:lnTo>
                  <a:lnTo>
                    <a:pt x="85725" y="102870"/>
                  </a:lnTo>
                  <a:lnTo>
                    <a:pt x="81915" y="63818"/>
                  </a:lnTo>
                  <a:lnTo>
                    <a:pt x="51435" y="28575"/>
                  </a:lnTo>
                  <a:lnTo>
                    <a:pt x="16192" y="29528"/>
                  </a:lnTo>
                  <a:lnTo>
                    <a:pt x="12383" y="19050"/>
                  </a:lnTo>
                  <a:lnTo>
                    <a:pt x="16192" y="7620"/>
                  </a:lnTo>
                  <a:lnTo>
                    <a:pt x="9525" y="0"/>
                  </a:lnTo>
                  <a:lnTo>
                    <a:pt x="0" y="953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61" name="Freeform: Shape 2160">
              <a:extLst>
                <a:ext uri="{FF2B5EF4-FFF2-40B4-BE49-F238E27FC236}">
                  <a16:creationId xmlns:a16="http://schemas.microsoft.com/office/drawing/2014/main" id="{964A51CE-7F44-F277-3E37-5480D1D5F198}"/>
                </a:ext>
              </a:extLst>
            </p:cNvPr>
            <p:cNvSpPr/>
            <p:nvPr/>
          </p:nvSpPr>
          <p:spPr>
            <a:xfrm>
              <a:off x="8546781" y="2896552"/>
              <a:ext cx="196215" cy="187642"/>
            </a:xfrm>
            <a:custGeom>
              <a:avLst/>
              <a:gdLst>
                <a:gd name="connsiteX0" fmla="*/ 0 w 196215"/>
                <a:gd name="connsiteY0" fmla="*/ 0 h 187642"/>
                <a:gd name="connsiteX1" fmla="*/ 30480 w 196215"/>
                <a:gd name="connsiteY1" fmla="*/ 187642 h 187642"/>
                <a:gd name="connsiteX2" fmla="*/ 196215 w 196215"/>
                <a:gd name="connsiteY2" fmla="*/ 160020 h 1876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6215" h="187642">
                  <a:moveTo>
                    <a:pt x="0" y="0"/>
                  </a:moveTo>
                  <a:lnTo>
                    <a:pt x="30480" y="187642"/>
                  </a:lnTo>
                  <a:lnTo>
                    <a:pt x="196215" y="16002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62" name="Freeform: Shape 2161">
              <a:extLst>
                <a:ext uri="{FF2B5EF4-FFF2-40B4-BE49-F238E27FC236}">
                  <a16:creationId xmlns:a16="http://schemas.microsoft.com/office/drawing/2014/main" id="{62E119A3-95C7-AD3A-F47D-DE9C84E89F62}"/>
                </a:ext>
              </a:extLst>
            </p:cNvPr>
            <p:cNvSpPr/>
            <p:nvPr/>
          </p:nvSpPr>
          <p:spPr>
            <a:xfrm>
              <a:off x="4875846" y="2121217"/>
              <a:ext cx="37147" cy="418147"/>
            </a:xfrm>
            <a:custGeom>
              <a:avLst/>
              <a:gdLst>
                <a:gd name="connsiteX0" fmla="*/ 0 w 37147"/>
                <a:gd name="connsiteY0" fmla="*/ 418148 h 418147"/>
                <a:gd name="connsiteX1" fmla="*/ 37147 w 37147"/>
                <a:gd name="connsiteY1" fmla="*/ 0 h 418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7147" h="418147">
                  <a:moveTo>
                    <a:pt x="0" y="418148"/>
                  </a:moveTo>
                  <a:lnTo>
                    <a:pt x="37147" y="0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63" name="Freeform: Shape 2162">
              <a:extLst>
                <a:ext uri="{FF2B5EF4-FFF2-40B4-BE49-F238E27FC236}">
                  <a16:creationId xmlns:a16="http://schemas.microsoft.com/office/drawing/2014/main" id="{F817E9A1-708F-11BF-C607-6FA56B4237F1}"/>
                </a:ext>
              </a:extLst>
            </p:cNvPr>
            <p:cNvSpPr/>
            <p:nvPr/>
          </p:nvSpPr>
          <p:spPr>
            <a:xfrm>
              <a:off x="8174354" y="3765232"/>
              <a:ext cx="320992" cy="45720"/>
            </a:xfrm>
            <a:custGeom>
              <a:avLst/>
              <a:gdLst>
                <a:gd name="connsiteX0" fmla="*/ 0 w 320992"/>
                <a:gd name="connsiteY0" fmla="*/ 45720 h 45720"/>
                <a:gd name="connsiteX1" fmla="*/ 275272 w 320992"/>
                <a:gd name="connsiteY1" fmla="*/ 14288 h 45720"/>
                <a:gd name="connsiteX2" fmla="*/ 277177 w 320992"/>
                <a:gd name="connsiteY2" fmla="*/ 4763 h 45720"/>
                <a:gd name="connsiteX3" fmla="*/ 320993 w 320992"/>
                <a:gd name="connsiteY3" fmla="*/ 0 h 45720"/>
                <a:gd name="connsiteX4" fmla="*/ 318135 w 320992"/>
                <a:gd name="connsiteY4" fmla="*/ 6668 h 45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0992" h="45720">
                  <a:moveTo>
                    <a:pt x="0" y="45720"/>
                  </a:moveTo>
                  <a:lnTo>
                    <a:pt x="275272" y="14288"/>
                  </a:lnTo>
                  <a:lnTo>
                    <a:pt x="277177" y="4763"/>
                  </a:lnTo>
                  <a:lnTo>
                    <a:pt x="320993" y="0"/>
                  </a:lnTo>
                  <a:lnTo>
                    <a:pt x="318135" y="6668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64" name="Freeform: Shape 2163">
              <a:extLst>
                <a:ext uri="{FF2B5EF4-FFF2-40B4-BE49-F238E27FC236}">
                  <a16:creationId xmlns:a16="http://schemas.microsoft.com/office/drawing/2014/main" id="{E1251596-3012-B937-300A-BD299DC20F4C}"/>
                </a:ext>
              </a:extLst>
            </p:cNvPr>
            <p:cNvSpPr/>
            <p:nvPr/>
          </p:nvSpPr>
          <p:spPr>
            <a:xfrm>
              <a:off x="3749991" y="2619375"/>
              <a:ext cx="305752" cy="254317"/>
            </a:xfrm>
            <a:custGeom>
              <a:avLst/>
              <a:gdLst>
                <a:gd name="connsiteX0" fmla="*/ 31433 w 305752"/>
                <a:gd name="connsiteY0" fmla="*/ 0 h 254317"/>
                <a:gd name="connsiteX1" fmla="*/ 0 w 305752"/>
                <a:gd name="connsiteY1" fmla="*/ 208597 h 254317"/>
                <a:gd name="connsiteX2" fmla="*/ 305752 w 305752"/>
                <a:gd name="connsiteY2" fmla="*/ 254317 h 254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05752" h="254317">
                  <a:moveTo>
                    <a:pt x="31433" y="0"/>
                  </a:moveTo>
                  <a:lnTo>
                    <a:pt x="0" y="208597"/>
                  </a:lnTo>
                  <a:lnTo>
                    <a:pt x="305752" y="254317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  <p:sp>
          <p:nvSpPr>
            <p:cNvPr id="2165" name="Freeform: Shape 2164">
              <a:extLst>
                <a:ext uri="{FF2B5EF4-FFF2-40B4-BE49-F238E27FC236}">
                  <a16:creationId xmlns:a16="http://schemas.microsoft.com/office/drawing/2014/main" id="{DFA09A96-FAF2-7AB7-1535-3D501336C76F}"/>
                </a:ext>
              </a:extLst>
            </p:cNvPr>
            <p:cNvSpPr/>
            <p:nvPr/>
          </p:nvSpPr>
          <p:spPr>
            <a:xfrm>
              <a:off x="8411526" y="3083242"/>
              <a:ext cx="624840" cy="557212"/>
            </a:xfrm>
            <a:custGeom>
              <a:avLst/>
              <a:gdLst>
                <a:gd name="connsiteX0" fmla="*/ 953 w 624840"/>
                <a:gd name="connsiteY0" fmla="*/ 497205 h 557212"/>
                <a:gd name="connsiteX1" fmla="*/ 7620 w 624840"/>
                <a:gd name="connsiteY1" fmla="*/ 502920 h 557212"/>
                <a:gd name="connsiteX2" fmla="*/ 0 w 624840"/>
                <a:gd name="connsiteY2" fmla="*/ 514350 h 557212"/>
                <a:gd name="connsiteX3" fmla="*/ 14288 w 624840"/>
                <a:gd name="connsiteY3" fmla="*/ 521017 h 557212"/>
                <a:gd name="connsiteX4" fmla="*/ 15240 w 624840"/>
                <a:gd name="connsiteY4" fmla="*/ 535305 h 557212"/>
                <a:gd name="connsiteX5" fmla="*/ 57150 w 624840"/>
                <a:gd name="connsiteY5" fmla="*/ 557213 h 557212"/>
                <a:gd name="connsiteX6" fmla="*/ 79058 w 624840"/>
                <a:gd name="connsiteY6" fmla="*/ 556260 h 557212"/>
                <a:gd name="connsiteX7" fmla="*/ 97155 w 624840"/>
                <a:gd name="connsiteY7" fmla="*/ 539115 h 557212"/>
                <a:gd name="connsiteX8" fmla="*/ 104775 w 624840"/>
                <a:gd name="connsiteY8" fmla="*/ 522923 h 557212"/>
                <a:gd name="connsiteX9" fmla="*/ 133350 w 624840"/>
                <a:gd name="connsiteY9" fmla="*/ 540068 h 557212"/>
                <a:gd name="connsiteX10" fmla="*/ 185738 w 624840"/>
                <a:gd name="connsiteY10" fmla="*/ 517208 h 557212"/>
                <a:gd name="connsiteX11" fmla="*/ 190500 w 624840"/>
                <a:gd name="connsiteY11" fmla="*/ 508635 h 557212"/>
                <a:gd name="connsiteX12" fmla="*/ 182880 w 624840"/>
                <a:gd name="connsiteY12" fmla="*/ 503873 h 557212"/>
                <a:gd name="connsiteX13" fmla="*/ 188595 w 624840"/>
                <a:gd name="connsiteY13" fmla="*/ 490538 h 557212"/>
                <a:gd name="connsiteX14" fmla="*/ 202883 w 624840"/>
                <a:gd name="connsiteY14" fmla="*/ 500063 h 557212"/>
                <a:gd name="connsiteX15" fmla="*/ 243840 w 624840"/>
                <a:gd name="connsiteY15" fmla="*/ 470535 h 557212"/>
                <a:gd name="connsiteX16" fmla="*/ 250508 w 624840"/>
                <a:gd name="connsiteY16" fmla="*/ 481013 h 557212"/>
                <a:gd name="connsiteX17" fmla="*/ 272415 w 624840"/>
                <a:gd name="connsiteY17" fmla="*/ 461963 h 557212"/>
                <a:gd name="connsiteX18" fmla="*/ 271463 w 624840"/>
                <a:gd name="connsiteY18" fmla="*/ 448627 h 557212"/>
                <a:gd name="connsiteX19" fmla="*/ 285750 w 624840"/>
                <a:gd name="connsiteY19" fmla="*/ 430530 h 557212"/>
                <a:gd name="connsiteX20" fmla="*/ 271463 w 624840"/>
                <a:gd name="connsiteY20" fmla="*/ 419100 h 557212"/>
                <a:gd name="connsiteX21" fmla="*/ 280988 w 624840"/>
                <a:gd name="connsiteY21" fmla="*/ 387667 h 557212"/>
                <a:gd name="connsiteX22" fmla="*/ 316230 w 624840"/>
                <a:gd name="connsiteY22" fmla="*/ 327660 h 557212"/>
                <a:gd name="connsiteX23" fmla="*/ 312420 w 624840"/>
                <a:gd name="connsiteY23" fmla="*/ 309563 h 557212"/>
                <a:gd name="connsiteX24" fmla="*/ 332423 w 624840"/>
                <a:gd name="connsiteY24" fmla="*/ 288608 h 557212"/>
                <a:gd name="connsiteX25" fmla="*/ 328613 w 624840"/>
                <a:gd name="connsiteY25" fmla="*/ 274320 h 557212"/>
                <a:gd name="connsiteX26" fmla="*/ 341948 w 624840"/>
                <a:gd name="connsiteY26" fmla="*/ 258127 h 557212"/>
                <a:gd name="connsiteX27" fmla="*/ 342900 w 624840"/>
                <a:gd name="connsiteY27" fmla="*/ 213360 h 557212"/>
                <a:gd name="connsiteX28" fmla="*/ 364808 w 624840"/>
                <a:gd name="connsiteY28" fmla="*/ 220027 h 557212"/>
                <a:gd name="connsiteX29" fmla="*/ 377190 w 624840"/>
                <a:gd name="connsiteY29" fmla="*/ 238125 h 557212"/>
                <a:gd name="connsiteX30" fmla="*/ 403860 w 624840"/>
                <a:gd name="connsiteY30" fmla="*/ 242888 h 557212"/>
                <a:gd name="connsiteX31" fmla="*/ 416243 w 624840"/>
                <a:gd name="connsiteY31" fmla="*/ 227648 h 557212"/>
                <a:gd name="connsiteX32" fmla="*/ 438150 w 624840"/>
                <a:gd name="connsiteY32" fmla="*/ 146685 h 557212"/>
                <a:gd name="connsiteX33" fmla="*/ 461010 w 624840"/>
                <a:gd name="connsiteY33" fmla="*/ 157163 h 557212"/>
                <a:gd name="connsiteX34" fmla="*/ 470535 w 624840"/>
                <a:gd name="connsiteY34" fmla="*/ 133350 h 557212"/>
                <a:gd name="connsiteX35" fmla="*/ 479108 w 624840"/>
                <a:gd name="connsiteY35" fmla="*/ 125730 h 557212"/>
                <a:gd name="connsiteX36" fmla="*/ 492443 w 624840"/>
                <a:gd name="connsiteY36" fmla="*/ 108585 h 557212"/>
                <a:gd name="connsiteX37" fmla="*/ 501015 w 624840"/>
                <a:gd name="connsiteY37" fmla="*/ 100965 h 557212"/>
                <a:gd name="connsiteX38" fmla="*/ 505778 w 624840"/>
                <a:gd name="connsiteY38" fmla="*/ 80963 h 557212"/>
                <a:gd name="connsiteX39" fmla="*/ 517208 w 624840"/>
                <a:gd name="connsiteY39" fmla="*/ 73342 h 557212"/>
                <a:gd name="connsiteX40" fmla="*/ 516255 w 624840"/>
                <a:gd name="connsiteY40" fmla="*/ 45720 h 557212"/>
                <a:gd name="connsiteX41" fmla="*/ 523875 w 624840"/>
                <a:gd name="connsiteY41" fmla="*/ 23813 h 557212"/>
                <a:gd name="connsiteX42" fmla="*/ 515303 w 624840"/>
                <a:gd name="connsiteY42" fmla="*/ 8573 h 557212"/>
                <a:gd name="connsiteX43" fmla="*/ 517208 w 624840"/>
                <a:gd name="connsiteY43" fmla="*/ 0 h 557212"/>
                <a:gd name="connsiteX44" fmla="*/ 612458 w 624840"/>
                <a:gd name="connsiteY44" fmla="*/ 49530 h 557212"/>
                <a:gd name="connsiteX45" fmla="*/ 617220 w 624840"/>
                <a:gd name="connsiteY45" fmla="*/ 27623 h 557212"/>
                <a:gd name="connsiteX46" fmla="*/ 621030 w 624840"/>
                <a:gd name="connsiteY46" fmla="*/ 12383 h 557212"/>
                <a:gd name="connsiteX47" fmla="*/ 624840 w 624840"/>
                <a:gd name="connsiteY47" fmla="*/ 5715 h 557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</a:cxnLst>
              <a:rect l="l" t="t" r="r" b="b"/>
              <a:pathLst>
                <a:path w="624840" h="557212">
                  <a:moveTo>
                    <a:pt x="953" y="497205"/>
                  </a:moveTo>
                  <a:lnTo>
                    <a:pt x="7620" y="502920"/>
                  </a:lnTo>
                  <a:lnTo>
                    <a:pt x="0" y="514350"/>
                  </a:lnTo>
                  <a:lnTo>
                    <a:pt x="14288" y="521017"/>
                  </a:lnTo>
                  <a:lnTo>
                    <a:pt x="15240" y="535305"/>
                  </a:lnTo>
                  <a:lnTo>
                    <a:pt x="57150" y="557213"/>
                  </a:lnTo>
                  <a:lnTo>
                    <a:pt x="79058" y="556260"/>
                  </a:lnTo>
                  <a:lnTo>
                    <a:pt x="97155" y="539115"/>
                  </a:lnTo>
                  <a:lnTo>
                    <a:pt x="104775" y="522923"/>
                  </a:lnTo>
                  <a:lnTo>
                    <a:pt x="133350" y="540068"/>
                  </a:lnTo>
                  <a:lnTo>
                    <a:pt x="185738" y="517208"/>
                  </a:lnTo>
                  <a:lnTo>
                    <a:pt x="190500" y="508635"/>
                  </a:lnTo>
                  <a:lnTo>
                    <a:pt x="182880" y="503873"/>
                  </a:lnTo>
                  <a:lnTo>
                    <a:pt x="188595" y="490538"/>
                  </a:lnTo>
                  <a:lnTo>
                    <a:pt x="202883" y="500063"/>
                  </a:lnTo>
                  <a:lnTo>
                    <a:pt x="243840" y="470535"/>
                  </a:lnTo>
                  <a:lnTo>
                    <a:pt x="250508" y="481013"/>
                  </a:lnTo>
                  <a:lnTo>
                    <a:pt x="272415" y="461963"/>
                  </a:lnTo>
                  <a:lnTo>
                    <a:pt x="271463" y="448627"/>
                  </a:lnTo>
                  <a:lnTo>
                    <a:pt x="285750" y="430530"/>
                  </a:lnTo>
                  <a:lnTo>
                    <a:pt x="271463" y="419100"/>
                  </a:lnTo>
                  <a:lnTo>
                    <a:pt x="280988" y="387667"/>
                  </a:lnTo>
                  <a:lnTo>
                    <a:pt x="316230" y="327660"/>
                  </a:lnTo>
                  <a:lnTo>
                    <a:pt x="312420" y="309563"/>
                  </a:lnTo>
                  <a:lnTo>
                    <a:pt x="332423" y="288608"/>
                  </a:lnTo>
                  <a:lnTo>
                    <a:pt x="328613" y="274320"/>
                  </a:lnTo>
                  <a:lnTo>
                    <a:pt x="341948" y="258127"/>
                  </a:lnTo>
                  <a:lnTo>
                    <a:pt x="342900" y="213360"/>
                  </a:lnTo>
                  <a:lnTo>
                    <a:pt x="364808" y="220027"/>
                  </a:lnTo>
                  <a:lnTo>
                    <a:pt x="377190" y="238125"/>
                  </a:lnTo>
                  <a:lnTo>
                    <a:pt x="403860" y="242888"/>
                  </a:lnTo>
                  <a:lnTo>
                    <a:pt x="416243" y="227648"/>
                  </a:lnTo>
                  <a:lnTo>
                    <a:pt x="438150" y="146685"/>
                  </a:lnTo>
                  <a:lnTo>
                    <a:pt x="461010" y="157163"/>
                  </a:lnTo>
                  <a:lnTo>
                    <a:pt x="470535" y="133350"/>
                  </a:lnTo>
                  <a:lnTo>
                    <a:pt x="479108" y="125730"/>
                  </a:lnTo>
                  <a:lnTo>
                    <a:pt x="492443" y="108585"/>
                  </a:lnTo>
                  <a:lnTo>
                    <a:pt x="501015" y="100965"/>
                  </a:lnTo>
                  <a:lnTo>
                    <a:pt x="505778" y="80963"/>
                  </a:lnTo>
                  <a:lnTo>
                    <a:pt x="517208" y="73342"/>
                  </a:lnTo>
                  <a:lnTo>
                    <a:pt x="516255" y="45720"/>
                  </a:lnTo>
                  <a:lnTo>
                    <a:pt x="523875" y="23813"/>
                  </a:lnTo>
                  <a:lnTo>
                    <a:pt x="515303" y="8573"/>
                  </a:lnTo>
                  <a:lnTo>
                    <a:pt x="517208" y="0"/>
                  </a:lnTo>
                  <a:lnTo>
                    <a:pt x="612458" y="49530"/>
                  </a:lnTo>
                  <a:lnTo>
                    <a:pt x="617220" y="27623"/>
                  </a:lnTo>
                  <a:lnTo>
                    <a:pt x="621030" y="12383"/>
                  </a:lnTo>
                  <a:lnTo>
                    <a:pt x="624840" y="5715"/>
                  </a:ln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13"/>
            </a:p>
          </p:txBody>
        </p:sp>
      </p:grpSp>
      <p:sp>
        <p:nvSpPr>
          <p:cNvPr id="2166" name="Freeform: Shape 2165">
            <a:extLst>
              <a:ext uri="{FF2B5EF4-FFF2-40B4-BE49-F238E27FC236}">
                <a16:creationId xmlns:a16="http://schemas.microsoft.com/office/drawing/2014/main" id="{03B21AFE-8366-3849-3FA5-5742E23F486D}"/>
              </a:ext>
            </a:extLst>
          </p:cNvPr>
          <p:cNvSpPr/>
          <p:nvPr/>
        </p:nvSpPr>
        <p:spPr>
          <a:xfrm>
            <a:off x="6753459" y="2425303"/>
            <a:ext cx="71438" cy="71438"/>
          </a:xfrm>
          <a:custGeom>
            <a:avLst/>
            <a:gdLst>
              <a:gd name="connsiteX0" fmla="*/ 95250 w 95250"/>
              <a:gd name="connsiteY0" fmla="*/ 47625 h 95250"/>
              <a:gd name="connsiteX1" fmla="*/ 47625 w 95250"/>
              <a:gd name="connsiteY1" fmla="*/ 95250 h 95250"/>
              <a:gd name="connsiteX2" fmla="*/ 0 w 95250"/>
              <a:gd name="connsiteY2" fmla="*/ 47625 h 95250"/>
              <a:gd name="connsiteX3" fmla="*/ 47625 w 95250"/>
              <a:gd name="connsiteY3" fmla="*/ 0 h 95250"/>
              <a:gd name="connsiteX4" fmla="*/ 95250 w 95250"/>
              <a:gd name="connsiteY4" fmla="*/ 47625 h 95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250" h="95250">
                <a:moveTo>
                  <a:pt x="95250" y="47625"/>
                </a:moveTo>
                <a:cubicBezTo>
                  <a:pt x="95250" y="73928"/>
                  <a:pt x="73927" y="95250"/>
                  <a:pt x="47625" y="95250"/>
                </a:cubicBezTo>
                <a:cubicBezTo>
                  <a:pt x="21322" y="95250"/>
                  <a:pt x="0" y="73928"/>
                  <a:pt x="0" y="47625"/>
                </a:cubicBezTo>
                <a:cubicBezTo>
                  <a:pt x="0" y="21322"/>
                  <a:pt x="21322" y="0"/>
                  <a:pt x="47625" y="0"/>
                </a:cubicBezTo>
                <a:cubicBezTo>
                  <a:pt x="73927" y="0"/>
                  <a:pt x="95250" y="21322"/>
                  <a:pt x="95250" y="47625"/>
                </a:cubicBezTo>
                <a:close/>
              </a:path>
            </a:pathLst>
          </a:custGeom>
          <a:solidFill>
            <a:srgbClr val="D0D0D0"/>
          </a:solidFill>
          <a:ln w="9525" cap="flat">
            <a:solidFill>
              <a:srgbClr val="FFFFFF"/>
            </a:solidFill>
            <a:prstDash val="solid"/>
            <a:miter/>
          </a:ln>
        </p:spPr>
        <p:txBody>
          <a:bodyPr rtlCol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013"/>
          </a:p>
        </p:txBody>
      </p:sp>
      <p:sp>
        <p:nvSpPr>
          <p:cNvPr id="2169" name="Title 1">
            <a:extLst>
              <a:ext uri="{FF2B5EF4-FFF2-40B4-BE49-F238E27FC236}">
                <a16:creationId xmlns:a16="http://schemas.microsoft.com/office/drawing/2014/main" id="{FB56E5E1-D686-2E6C-DCF3-12D4B6ED7B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391" y="107537"/>
            <a:ext cx="8458200" cy="521804"/>
          </a:xfrm>
        </p:spPr>
        <p:txBody>
          <a:bodyPr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U.S. Pilot Programs | </a:t>
            </a:r>
            <a:r>
              <a:rPr lang="en-US" b="0" dirty="0"/>
              <a:t>Active and Previous</a:t>
            </a:r>
            <a:endParaRPr lang="en-US" dirty="0"/>
          </a:p>
        </p:txBody>
      </p:sp>
      <p:pic>
        <p:nvPicPr>
          <p:cNvPr id="2171" name="Graphic 2170" descr="Marker with solid fill">
            <a:extLst>
              <a:ext uri="{FF2B5EF4-FFF2-40B4-BE49-F238E27FC236}">
                <a16:creationId xmlns:a16="http://schemas.microsoft.com/office/drawing/2014/main" id="{D1B18F3B-DFFE-D156-8BCD-E38916969FE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33126" y="2477809"/>
            <a:ext cx="356474" cy="356474"/>
          </a:xfrm>
          <a:prstGeom prst="rect">
            <a:avLst/>
          </a:prstGeom>
        </p:spPr>
      </p:pic>
      <p:pic>
        <p:nvPicPr>
          <p:cNvPr id="2185" name="Graphic 2184" descr="Marker with solid fill">
            <a:extLst>
              <a:ext uri="{FF2B5EF4-FFF2-40B4-BE49-F238E27FC236}">
                <a16:creationId xmlns:a16="http://schemas.microsoft.com/office/drawing/2014/main" id="{CBB0682D-8D3B-BADC-B88E-8366996B14A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307092" y="3609736"/>
            <a:ext cx="356474" cy="356474"/>
          </a:xfrm>
          <a:prstGeom prst="rect">
            <a:avLst/>
          </a:prstGeom>
        </p:spPr>
      </p:pic>
      <p:pic>
        <p:nvPicPr>
          <p:cNvPr id="2174" name="Graphic 2173" descr="Marker with solid fill">
            <a:extLst>
              <a:ext uri="{FF2B5EF4-FFF2-40B4-BE49-F238E27FC236}">
                <a16:creationId xmlns:a16="http://schemas.microsoft.com/office/drawing/2014/main" id="{BE3BB6E6-500B-B160-0DD8-DB1C4F4E015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340996" y="2538055"/>
            <a:ext cx="356474" cy="356474"/>
          </a:xfrm>
          <a:prstGeom prst="rect">
            <a:avLst/>
          </a:prstGeom>
        </p:spPr>
      </p:pic>
      <p:pic>
        <p:nvPicPr>
          <p:cNvPr id="2175" name="Graphic 2174" descr="Marker with solid fill">
            <a:extLst>
              <a:ext uri="{FF2B5EF4-FFF2-40B4-BE49-F238E27FC236}">
                <a16:creationId xmlns:a16="http://schemas.microsoft.com/office/drawing/2014/main" id="{A921A5B2-4C01-E739-0985-EEB8D2CC5E9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73054" y="3839408"/>
            <a:ext cx="356474" cy="356474"/>
          </a:xfrm>
          <a:prstGeom prst="rect">
            <a:avLst/>
          </a:prstGeom>
        </p:spPr>
      </p:pic>
      <p:pic>
        <p:nvPicPr>
          <p:cNvPr id="2176" name="Graphic 2175" descr="Marker with solid fill">
            <a:extLst>
              <a:ext uri="{FF2B5EF4-FFF2-40B4-BE49-F238E27FC236}">
                <a16:creationId xmlns:a16="http://schemas.microsoft.com/office/drawing/2014/main" id="{C06BC6D7-1D98-0C25-273C-567E68D549F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242323" y="3719275"/>
            <a:ext cx="356474" cy="356474"/>
          </a:xfrm>
          <a:prstGeom prst="rect">
            <a:avLst/>
          </a:prstGeom>
        </p:spPr>
      </p:pic>
      <p:pic>
        <p:nvPicPr>
          <p:cNvPr id="2177" name="Graphic 2176" descr="Marker with solid fill">
            <a:extLst>
              <a:ext uri="{FF2B5EF4-FFF2-40B4-BE49-F238E27FC236}">
                <a16:creationId xmlns:a16="http://schemas.microsoft.com/office/drawing/2014/main" id="{01AB62C7-3C92-9E5C-4E2A-D3ACFAE59CA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33049" y="3996810"/>
            <a:ext cx="356474" cy="356474"/>
          </a:xfrm>
          <a:prstGeom prst="rect">
            <a:avLst/>
          </a:prstGeom>
        </p:spPr>
      </p:pic>
      <p:pic>
        <p:nvPicPr>
          <p:cNvPr id="2178" name="Graphic 2177" descr="Marker with solid fill">
            <a:extLst>
              <a:ext uri="{FF2B5EF4-FFF2-40B4-BE49-F238E27FC236}">
                <a16:creationId xmlns:a16="http://schemas.microsoft.com/office/drawing/2014/main" id="{CACE288F-4067-FD0C-4244-866065732D9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489259" y="4015383"/>
            <a:ext cx="356474" cy="356474"/>
          </a:xfrm>
          <a:prstGeom prst="rect">
            <a:avLst/>
          </a:prstGeom>
        </p:spPr>
      </p:pic>
      <p:pic>
        <p:nvPicPr>
          <p:cNvPr id="2179" name="Graphic 2178" descr="Marker with solid fill">
            <a:extLst>
              <a:ext uri="{FF2B5EF4-FFF2-40B4-BE49-F238E27FC236}">
                <a16:creationId xmlns:a16="http://schemas.microsoft.com/office/drawing/2014/main" id="{DD41AE0A-00D4-640B-7717-C74886A204C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905138" y="3185040"/>
            <a:ext cx="356474" cy="356474"/>
          </a:xfrm>
          <a:prstGeom prst="rect">
            <a:avLst/>
          </a:prstGeom>
        </p:spPr>
      </p:pic>
      <p:pic>
        <p:nvPicPr>
          <p:cNvPr id="2180" name="Graphic 2179" descr="Marker with solid fill">
            <a:extLst>
              <a:ext uri="{FF2B5EF4-FFF2-40B4-BE49-F238E27FC236}">
                <a16:creationId xmlns:a16="http://schemas.microsoft.com/office/drawing/2014/main" id="{3737A57C-89AB-0FC0-6EFA-3CED1BA4998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002293" y="3219926"/>
            <a:ext cx="356474" cy="356474"/>
          </a:xfrm>
          <a:prstGeom prst="rect">
            <a:avLst/>
          </a:prstGeom>
        </p:spPr>
      </p:pic>
      <p:pic>
        <p:nvPicPr>
          <p:cNvPr id="2182" name="Graphic 2181" descr="Marker with solid fill">
            <a:extLst>
              <a:ext uri="{FF2B5EF4-FFF2-40B4-BE49-F238E27FC236}">
                <a16:creationId xmlns:a16="http://schemas.microsoft.com/office/drawing/2014/main" id="{F29E3E96-59F5-1F08-B720-3C8C3A0FBCA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522713" y="4260652"/>
            <a:ext cx="356474" cy="356474"/>
          </a:xfrm>
          <a:prstGeom prst="rect">
            <a:avLst/>
          </a:prstGeom>
        </p:spPr>
      </p:pic>
      <p:pic>
        <p:nvPicPr>
          <p:cNvPr id="2183" name="Graphic 2182" descr="Marker with solid fill">
            <a:extLst>
              <a:ext uri="{FF2B5EF4-FFF2-40B4-BE49-F238E27FC236}">
                <a16:creationId xmlns:a16="http://schemas.microsoft.com/office/drawing/2014/main" id="{E9C1DDE4-5701-9678-2599-10E560EEF0F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181957" y="4035623"/>
            <a:ext cx="356474" cy="356474"/>
          </a:xfrm>
          <a:prstGeom prst="rect">
            <a:avLst/>
          </a:prstGeom>
        </p:spPr>
      </p:pic>
      <p:pic>
        <p:nvPicPr>
          <p:cNvPr id="2186" name="Graphic 2185" descr="Marker with solid fill">
            <a:extLst>
              <a:ext uri="{FF2B5EF4-FFF2-40B4-BE49-F238E27FC236}">
                <a16:creationId xmlns:a16="http://schemas.microsoft.com/office/drawing/2014/main" id="{A37A5BA6-7FCE-4DD0-590D-9CDEE6B3622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261789" y="4081523"/>
            <a:ext cx="356474" cy="356474"/>
          </a:xfrm>
          <a:prstGeom prst="rect">
            <a:avLst/>
          </a:prstGeom>
        </p:spPr>
      </p:pic>
      <p:pic>
        <p:nvPicPr>
          <p:cNvPr id="2187" name="Graphic 2186" descr="Marker with solid fill">
            <a:extLst>
              <a:ext uri="{FF2B5EF4-FFF2-40B4-BE49-F238E27FC236}">
                <a16:creationId xmlns:a16="http://schemas.microsoft.com/office/drawing/2014/main" id="{5F21B5E7-D81A-7E8B-ABC5-714DCD257CF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222892" y="3103721"/>
            <a:ext cx="356474" cy="356474"/>
          </a:xfrm>
          <a:prstGeom prst="rect">
            <a:avLst/>
          </a:prstGeom>
        </p:spPr>
      </p:pic>
      <p:pic>
        <p:nvPicPr>
          <p:cNvPr id="2188" name="Graphic 2187" descr="Marker with solid fill">
            <a:extLst>
              <a:ext uri="{FF2B5EF4-FFF2-40B4-BE49-F238E27FC236}">
                <a16:creationId xmlns:a16="http://schemas.microsoft.com/office/drawing/2014/main" id="{86E928C3-117D-2DCB-DF27-A5575DEA2B3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449965" y="2693016"/>
            <a:ext cx="356474" cy="356474"/>
          </a:xfrm>
          <a:prstGeom prst="rect">
            <a:avLst/>
          </a:prstGeom>
        </p:spPr>
      </p:pic>
      <p:pic>
        <p:nvPicPr>
          <p:cNvPr id="2189" name="Graphic 2188" descr="Marker with solid fill">
            <a:extLst>
              <a:ext uri="{FF2B5EF4-FFF2-40B4-BE49-F238E27FC236}">
                <a16:creationId xmlns:a16="http://schemas.microsoft.com/office/drawing/2014/main" id="{4D0AC8E4-46D5-B293-8A13-79BB01019ED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261490" y="2785705"/>
            <a:ext cx="356474" cy="356474"/>
          </a:xfrm>
          <a:prstGeom prst="rect">
            <a:avLst/>
          </a:prstGeom>
        </p:spPr>
      </p:pic>
      <p:pic>
        <p:nvPicPr>
          <p:cNvPr id="2190" name="Graphic 2189" descr="Marker with solid fill">
            <a:extLst>
              <a:ext uri="{FF2B5EF4-FFF2-40B4-BE49-F238E27FC236}">
                <a16:creationId xmlns:a16="http://schemas.microsoft.com/office/drawing/2014/main" id="{D35591D0-9009-7F00-B4BE-9C3774CBECC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663304" y="1316593"/>
            <a:ext cx="356474" cy="356474"/>
          </a:xfrm>
          <a:prstGeom prst="rect">
            <a:avLst/>
          </a:prstGeom>
        </p:spPr>
      </p:pic>
      <p:pic>
        <p:nvPicPr>
          <p:cNvPr id="2192" name="Graphic 2191" descr="Marker with solid fill">
            <a:extLst>
              <a:ext uri="{FF2B5EF4-FFF2-40B4-BE49-F238E27FC236}">
                <a16:creationId xmlns:a16="http://schemas.microsoft.com/office/drawing/2014/main" id="{28555EA1-F06B-590D-897C-E7446084911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070253" y="3747969"/>
            <a:ext cx="356474" cy="356474"/>
          </a:xfrm>
          <a:prstGeom prst="rect">
            <a:avLst/>
          </a:prstGeom>
        </p:spPr>
      </p:pic>
      <p:pic>
        <p:nvPicPr>
          <p:cNvPr id="2199" name="Graphic 2198" descr="Marker with solid fill">
            <a:extLst>
              <a:ext uri="{FF2B5EF4-FFF2-40B4-BE49-F238E27FC236}">
                <a16:creationId xmlns:a16="http://schemas.microsoft.com/office/drawing/2014/main" id="{74490B1F-F0DE-3BAC-D1AD-7428EA7A795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5136" y="2259568"/>
            <a:ext cx="356474" cy="356474"/>
          </a:xfrm>
          <a:prstGeom prst="rect">
            <a:avLst/>
          </a:prstGeom>
        </p:spPr>
      </p:pic>
      <p:sp>
        <p:nvSpPr>
          <p:cNvPr id="2200" name="Star: 5 Points 2199">
            <a:extLst>
              <a:ext uri="{FF2B5EF4-FFF2-40B4-BE49-F238E27FC236}">
                <a16:creationId xmlns:a16="http://schemas.microsoft.com/office/drawing/2014/main" id="{57E83F61-B97A-3C6A-C02F-162D7B628FEC}"/>
              </a:ext>
            </a:extLst>
          </p:cNvPr>
          <p:cNvSpPr/>
          <p:nvPr/>
        </p:nvSpPr>
        <p:spPr>
          <a:xfrm>
            <a:off x="1242412" y="2324457"/>
            <a:ext cx="121325" cy="121325"/>
          </a:xfrm>
          <a:prstGeom prst="star5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13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7C689FA-16F6-7753-BC5E-954F1009731D}"/>
              </a:ext>
            </a:extLst>
          </p:cNvPr>
          <p:cNvGrpSpPr/>
          <p:nvPr/>
        </p:nvGrpSpPr>
        <p:grpSpPr>
          <a:xfrm>
            <a:off x="7336249" y="3892629"/>
            <a:ext cx="1415042" cy="801134"/>
            <a:chOff x="9222655" y="4477263"/>
            <a:chExt cx="1886723" cy="1068178"/>
          </a:xfrm>
        </p:grpSpPr>
        <p:sp>
          <p:nvSpPr>
            <p:cNvPr id="3" name="Rounded Rectangle 2">
              <a:extLst>
                <a:ext uri="{FF2B5EF4-FFF2-40B4-BE49-F238E27FC236}">
                  <a16:creationId xmlns:a16="http://schemas.microsoft.com/office/drawing/2014/main" id="{E150BEA2-8DCD-EF28-FE4C-2017AF41B206}"/>
                </a:ext>
              </a:extLst>
            </p:cNvPr>
            <p:cNvSpPr/>
            <p:nvPr/>
          </p:nvSpPr>
          <p:spPr>
            <a:xfrm>
              <a:off x="9222655" y="4477263"/>
              <a:ext cx="1886723" cy="1068178"/>
            </a:xfrm>
            <a:prstGeom prst="roundRect">
              <a:avLst>
                <a:gd name="adj" fmla="val 15700"/>
              </a:avLst>
            </a:prstGeom>
            <a:solidFill>
              <a:srgbClr val="CEE5DB">
                <a:alpha val="50188"/>
              </a:srgbClr>
            </a:solidFill>
            <a:ln w="3175">
              <a:solidFill>
                <a:srgbClr val="CEE5DB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290" rIns="34290" rtlCol="0" anchor="t"/>
            <a:lstStyle>
              <a:defPPr>
                <a:defRPr lang="en-US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Tx/>
                <a:buNone/>
                <a:tabLst/>
                <a:defRPr/>
              </a:pPr>
              <a:br>
                <a:rPr kumimoji="0" lang="en-US" sz="825" b="1" i="0" u="none" strike="noStrike" kern="1200" cap="none" spc="0" normalizeH="0" baseline="0" noProof="0">
                  <a:ln>
                    <a:noFill/>
                  </a:ln>
                  <a:solidFill>
                    <a:srgbClr val="004D2D"/>
                  </a:solidFill>
                  <a:effectLst/>
                  <a:uLnTx/>
                  <a:uFillTx/>
                  <a:latin typeface="Neue Haas Grotesk Text Pro" panose="020B0504020202020204" pitchFamily="34" charset="77"/>
                  <a:ea typeface="+mn-ea"/>
                  <a:cs typeface="Arial" panose="020B0604020202020204" pitchFamily="34" charset="0"/>
                </a:rPr>
              </a:br>
              <a:endParaRPr kumimoji="0" lang="en-US" sz="825" b="1" i="0" u="none" strike="noStrike" kern="1200" cap="none" spc="0" normalizeH="0" baseline="0" noProof="0">
                <a:ln>
                  <a:noFill/>
                </a:ln>
                <a:solidFill>
                  <a:srgbClr val="004D2D"/>
                </a:solidFill>
                <a:effectLst/>
                <a:uLnTx/>
                <a:uFillTx/>
                <a:latin typeface="Neue Haas Grotesk Text Pro" panose="020B0504020202020204" pitchFamily="34" charset="77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EFBE1EB5-EBD9-41D9-B673-C627252EB1B8}"/>
                </a:ext>
              </a:extLst>
            </p:cNvPr>
            <p:cNvGrpSpPr/>
            <p:nvPr/>
          </p:nvGrpSpPr>
          <p:grpSpPr>
            <a:xfrm>
              <a:off x="9317041" y="4640740"/>
              <a:ext cx="1680907" cy="760940"/>
              <a:chOff x="9317041" y="4640740"/>
              <a:chExt cx="1680907" cy="760940"/>
            </a:xfrm>
          </p:grpSpPr>
          <p:pic>
            <p:nvPicPr>
              <p:cNvPr id="2193" name="Graphic 2192" descr="Marker with solid fill">
                <a:extLst>
                  <a:ext uri="{FF2B5EF4-FFF2-40B4-BE49-F238E27FC236}">
                    <a16:creationId xmlns:a16="http://schemas.microsoft.com/office/drawing/2014/main" id="{F5708C25-BED0-17E9-F639-48F1EF8D922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9317041" y="4640740"/>
                <a:ext cx="282537" cy="282537"/>
              </a:xfrm>
              <a:prstGeom prst="rect">
                <a:avLst/>
              </a:prstGeom>
            </p:spPr>
          </p:pic>
          <p:sp>
            <p:nvSpPr>
              <p:cNvPr id="2194" name="TextBox 2193">
                <a:extLst>
                  <a:ext uri="{FF2B5EF4-FFF2-40B4-BE49-F238E27FC236}">
                    <a16:creationId xmlns:a16="http://schemas.microsoft.com/office/drawing/2014/main" id="{6A6164F4-A169-CAC7-5AD1-D9E65F634AE6}"/>
                  </a:ext>
                </a:extLst>
              </p:cNvPr>
              <p:cNvSpPr txBox="1"/>
              <p:nvPr/>
            </p:nvSpPr>
            <p:spPr>
              <a:xfrm>
                <a:off x="9513246" y="4645438"/>
                <a:ext cx="1484702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750" b="1">
                    <a:solidFill>
                      <a:srgbClr val="004D2D"/>
                    </a:solidFill>
                    <a:latin typeface="Neue Haas Grotesk Text Pro" panose="020B0504020202020204" pitchFamily="34" charset="0"/>
                  </a:rPr>
                  <a:t>Active (or upcoming)</a:t>
                </a:r>
              </a:p>
            </p:txBody>
          </p:sp>
          <p:pic>
            <p:nvPicPr>
              <p:cNvPr id="2195" name="Graphic 2194" descr="Marker with solid fill">
                <a:extLst>
                  <a:ext uri="{FF2B5EF4-FFF2-40B4-BE49-F238E27FC236}">
                    <a16:creationId xmlns:a16="http://schemas.microsoft.com/office/drawing/2014/main" id="{84A75BDC-1FD7-6493-7C2A-547A127CE59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9319968" y="4882172"/>
                <a:ext cx="276683" cy="276683"/>
              </a:xfrm>
              <a:prstGeom prst="rect">
                <a:avLst/>
              </a:prstGeom>
            </p:spPr>
          </p:pic>
          <p:sp>
            <p:nvSpPr>
              <p:cNvPr id="2196" name="TextBox 2195">
                <a:extLst>
                  <a:ext uri="{FF2B5EF4-FFF2-40B4-BE49-F238E27FC236}">
                    <a16:creationId xmlns:a16="http://schemas.microsoft.com/office/drawing/2014/main" id="{1C9E45FC-58CB-DFFF-9735-3B9F010AA11A}"/>
                  </a:ext>
                </a:extLst>
              </p:cNvPr>
              <p:cNvSpPr txBox="1"/>
              <p:nvPr/>
            </p:nvSpPr>
            <p:spPr>
              <a:xfrm>
                <a:off x="9513246" y="4900448"/>
                <a:ext cx="731290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750" b="1">
                    <a:solidFill>
                      <a:srgbClr val="004D2D"/>
                    </a:solidFill>
                    <a:latin typeface="Neue Haas Grotesk Text Pro" panose="020B0504020202020204" pitchFamily="34" charset="0"/>
                  </a:rPr>
                  <a:t>Previous</a:t>
                </a:r>
              </a:p>
            </p:txBody>
          </p:sp>
          <p:sp>
            <p:nvSpPr>
              <p:cNvPr id="2201" name="Star: 5 Points 2200">
                <a:extLst>
                  <a:ext uri="{FF2B5EF4-FFF2-40B4-BE49-F238E27FC236}">
                    <a16:creationId xmlns:a16="http://schemas.microsoft.com/office/drawing/2014/main" id="{66BA1608-9A03-2BE2-C0C4-8F900A4D38B6}"/>
                  </a:ext>
                </a:extLst>
              </p:cNvPr>
              <p:cNvSpPr/>
              <p:nvPr/>
            </p:nvSpPr>
            <p:spPr>
              <a:xfrm>
                <a:off x="9377426" y="5203869"/>
                <a:ext cx="161767" cy="161767"/>
              </a:xfrm>
              <a:prstGeom prst="star5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sz="1013">
                  <a:solidFill>
                    <a:schemeClr val="bg1">
                      <a:lumMod val="65000"/>
                    </a:schemeClr>
                  </a:solidFill>
                </a:endParaRPr>
              </a:p>
            </p:txBody>
          </p:sp>
          <p:sp>
            <p:nvSpPr>
              <p:cNvPr id="2202" name="TextBox 2201">
                <a:extLst>
                  <a:ext uri="{FF2B5EF4-FFF2-40B4-BE49-F238E27FC236}">
                    <a16:creationId xmlns:a16="http://schemas.microsoft.com/office/drawing/2014/main" id="{624F39E6-35A2-3F12-AE5C-39F9D7525FA7}"/>
                  </a:ext>
                </a:extLst>
              </p:cNvPr>
              <p:cNvSpPr txBox="1"/>
              <p:nvPr/>
            </p:nvSpPr>
            <p:spPr>
              <a:xfrm>
                <a:off x="9513246" y="5155459"/>
                <a:ext cx="950901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en-US"/>
                </a:defPPr>
                <a:lvl1pPr marL="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3429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6858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0287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3716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7145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0574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4003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743200" algn="l" defTabSz="685800" rtl="0" eaLnBrk="1" latinLnBrk="0" hangingPunct="1">
                  <a:defRPr sz="135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750" b="1">
                    <a:solidFill>
                      <a:srgbClr val="004D2D"/>
                    </a:solidFill>
                    <a:latin typeface="Neue Haas Grotesk Text Pro" panose="020B0504020202020204" pitchFamily="34" charset="0"/>
                  </a:rPr>
                  <a:t>FTA funding</a:t>
                </a:r>
              </a:p>
            </p:txBody>
          </p:sp>
        </p:grpSp>
      </p:grpSp>
      <p:sp>
        <p:nvSpPr>
          <p:cNvPr id="2203" name="Star: 5 Points 2202">
            <a:extLst>
              <a:ext uri="{FF2B5EF4-FFF2-40B4-BE49-F238E27FC236}">
                <a16:creationId xmlns:a16="http://schemas.microsoft.com/office/drawing/2014/main" id="{E5B9C082-C032-05D3-ECED-DB5B5F46BB51}"/>
              </a:ext>
            </a:extLst>
          </p:cNvPr>
          <p:cNvSpPr/>
          <p:nvPr/>
        </p:nvSpPr>
        <p:spPr>
          <a:xfrm>
            <a:off x="1350882" y="2541095"/>
            <a:ext cx="121325" cy="121325"/>
          </a:xfrm>
          <a:prstGeom prst="star5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13"/>
          </a:p>
        </p:txBody>
      </p:sp>
      <p:sp>
        <p:nvSpPr>
          <p:cNvPr id="2204" name="Star: 5 Points 2203">
            <a:extLst>
              <a:ext uri="{FF2B5EF4-FFF2-40B4-BE49-F238E27FC236}">
                <a16:creationId xmlns:a16="http://schemas.microsoft.com/office/drawing/2014/main" id="{14B8B417-88C2-9C4B-3759-169072F79A70}"/>
              </a:ext>
            </a:extLst>
          </p:cNvPr>
          <p:cNvSpPr/>
          <p:nvPr/>
        </p:nvSpPr>
        <p:spPr>
          <a:xfrm>
            <a:off x="1459169" y="2600567"/>
            <a:ext cx="121325" cy="121325"/>
          </a:xfrm>
          <a:prstGeom prst="star5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13"/>
          </a:p>
        </p:txBody>
      </p:sp>
      <p:sp>
        <p:nvSpPr>
          <p:cNvPr id="2205" name="Star: 5 Points 2204">
            <a:extLst>
              <a:ext uri="{FF2B5EF4-FFF2-40B4-BE49-F238E27FC236}">
                <a16:creationId xmlns:a16="http://schemas.microsoft.com/office/drawing/2014/main" id="{3BF267D3-D7D9-4812-5812-BDCE7B54895F}"/>
              </a:ext>
            </a:extLst>
          </p:cNvPr>
          <p:cNvSpPr/>
          <p:nvPr/>
        </p:nvSpPr>
        <p:spPr>
          <a:xfrm>
            <a:off x="6354717" y="3778538"/>
            <a:ext cx="131862" cy="131862"/>
          </a:xfrm>
          <a:prstGeom prst="star5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13"/>
          </a:p>
        </p:txBody>
      </p:sp>
      <p:cxnSp>
        <p:nvCxnSpPr>
          <p:cNvPr id="2211" name="Connector: Elbow 2210">
            <a:extLst>
              <a:ext uri="{FF2B5EF4-FFF2-40B4-BE49-F238E27FC236}">
                <a16:creationId xmlns:a16="http://schemas.microsoft.com/office/drawing/2014/main" id="{82D7B832-D2F7-8A48-BD67-0A658585BDB5}"/>
              </a:ext>
            </a:extLst>
          </p:cNvPr>
          <p:cNvCxnSpPr>
            <a:cxnSpLocks/>
          </p:cNvCxnSpPr>
          <p:nvPr/>
        </p:nvCxnSpPr>
        <p:spPr>
          <a:xfrm rot="16200000" flipH="1">
            <a:off x="2929766" y="1516261"/>
            <a:ext cx="188952" cy="365403"/>
          </a:xfrm>
          <a:prstGeom prst="bentConnector2">
            <a:avLst/>
          </a:prstGeom>
          <a:ln w="38100" cap="rnd">
            <a:solidFill>
              <a:srgbClr val="003366"/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8" name="Connector: Elbow 2217">
            <a:extLst>
              <a:ext uri="{FF2B5EF4-FFF2-40B4-BE49-F238E27FC236}">
                <a16:creationId xmlns:a16="http://schemas.microsoft.com/office/drawing/2014/main" id="{9580027B-54B4-AA8B-CBB0-F43357639A42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6427759" y="3195582"/>
            <a:ext cx="532685" cy="417545"/>
          </a:xfrm>
          <a:prstGeom prst="bentConnector2">
            <a:avLst/>
          </a:prstGeom>
          <a:ln w="38100" cap="rnd">
            <a:solidFill>
              <a:srgbClr val="003366"/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4" name="Connector: Elbow 2213">
            <a:extLst>
              <a:ext uri="{FF2B5EF4-FFF2-40B4-BE49-F238E27FC236}">
                <a16:creationId xmlns:a16="http://schemas.microsoft.com/office/drawing/2014/main" id="{594BBCA7-0A2F-EA4A-6A5A-7A9ACC385F81}"/>
              </a:ext>
            </a:extLst>
          </p:cNvPr>
          <p:cNvCxnSpPr>
            <a:cxnSpLocks/>
          </p:cNvCxnSpPr>
          <p:nvPr/>
        </p:nvCxnSpPr>
        <p:spPr>
          <a:xfrm rot="10800000" flipV="1">
            <a:off x="5540332" y="3490111"/>
            <a:ext cx="546020" cy="402518"/>
          </a:xfrm>
          <a:prstGeom prst="bentConnector3">
            <a:avLst/>
          </a:prstGeom>
          <a:ln w="38100" cap="rnd">
            <a:solidFill>
              <a:srgbClr val="0BA056"/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06" name="Star: 5 Points 2205">
            <a:extLst>
              <a:ext uri="{FF2B5EF4-FFF2-40B4-BE49-F238E27FC236}">
                <a16:creationId xmlns:a16="http://schemas.microsoft.com/office/drawing/2014/main" id="{F7E195CE-947D-A5E3-23CD-747524B5EBEF}"/>
              </a:ext>
            </a:extLst>
          </p:cNvPr>
          <p:cNvSpPr/>
          <p:nvPr/>
        </p:nvSpPr>
        <p:spPr>
          <a:xfrm>
            <a:off x="2780938" y="1379578"/>
            <a:ext cx="121325" cy="121325"/>
          </a:xfrm>
          <a:prstGeom prst="star5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013"/>
          </a:p>
        </p:txBody>
      </p:sp>
      <p:pic>
        <p:nvPicPr>
          <p:cNvPr id="2207" name="Picture 4">
            <a:extLst>
              <a:ext uri="{FF2B5EF4-FFF2-40B4-BE49-F238E27FC236}">
                <a16:creationId xmlns:a16="http://schemas.microsoft.com/office/drawing/2014/main" id="{4082644A-3B26-AEA6-4254-69C0E6DE52E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88" r="12305"/>
          <a:stretch/>
        </p:blipFill>
        <p:spPr bwMode="auto">
          <a:xfrm>
            <a:off x="3153234" y="1067038"/>
            <a:ext cx="1668078" cy="114395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cxnSp>
        <p:nvCxnSpPr>
          <p:cNvPr id="2222" name="Connector: Elbow 2221">
            <a:extLst>
              <a:ext uri="{FF2B5EF4-FFF2-40B4-BE49-F238E27FC236}">
                <a16:creationId xmlns:a16="http://schemas.microsoft.com/office/drawing/2014/main" id="{9D543A83-6E05-03FD-2C37-41F32078DF52}"/>
              </a:ext>
            </a:extLst>
          </p:cNvPr>
          <p:cNvCxnSpPr/>
          <p:nvPr/>
        </p:nvCxnSpPr>
        <p:spPr>
          <a:xfrm rot="10800000">
            <a:off x="798195" y="2146460"/>
            <a:ext cx="670084" cy="660797"/>
          </a:xfrm>
          <a:prstGeom prst="bentConnector3">
            <a:avLst/>
          </a:prstGeom>
          <a:ln w="38100" cap="rnd">
            <a:solidFill>
              <a:srgbClr val="0BA056"/>
            </a:solidFill>
            <a:prstDash val="sysDot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12" name="Picture 6">
            <a:extLst>
              <a:ext uri="{FF2B5EF4-FFF2-40B4-BE49-F238E27FC236}">
                <a16:creationId xmlns:a16="http://schemas.microsoft.com/office/drawing/2014/main" id="{CFE8BF62-506F-8DEE-39F3-A870322EF2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8580" y="3322934"/>
            <a:ext cx="1789266" cy="96757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2216" name="Picture 8">
            <a:extLst>
              <a:ext uri="{FF2B5EF4-FFF2-40B4-BE49-F238E27FC236}">
                <a16:creationId xmlns:a16="http://schemas.microsoft.com/office/drawing/2014/main" id="{B25E9BED-AD76-B14C-83C2-39604DB690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1914" y="2543175"/>
            <a:ext cx="1898225" cy="106775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2220" name="Picture 2219">
            <a:extLst>
              <a:ext uri="{FF2B5EF4-FFF2-40B4-BE49-F238E27FC236}">
                <a16:creationId xmlns:a16="http://schemas.microsoft.com/office/drawing/2014/main" id="{851EBE5C-C402-9A3F-CEB0-6A0B5ABD9DDC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16" t="26329" r="-116" b="5600"/>
          <a:stretch/>
        </p:blipFill>
        <p:spPr>
          <a:xfrm rot="16200000">
            <a:off x="705562" y="896899"/>
            <a:ext cx="1132523" cy="141850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37457197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20000">
        <p:fade/>
      </p:transition>
    </mc:Choice>
    <mc:Fallback>
      <p:transition spd="med" advClick="0" advTm="20000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8675CAA-57EC-7477-40A3-0EFDAA9D870D}"/>
              </a:ext>
            </a:extLst>
          </p:cNvPr>
          <p:cNvSpPr/>
          <p:nvPr/>
        </p:nvSpPr>
        <p:spPr>
          <a:xfrm>
            <a:off x="3189088" y="1096566"/>
            <a:ext cx="2776538" cy="2950368"/>
          </a:xfrm>
          <a:prstGeom prst="roundRect">
            <a:avLst>
              <a:gd name="adj" fmla="val 9655"/>
            </a:avLst>
          </a:prstGeom>
          <a:solidFill>
            <a:schemeClr val="bg1"/>
          </a:solidFill>
          <a:ln w="3175">
            <a:noFill/>
          </a:ln>
          <a:effectLst>
            <a:outerShdw blurRad="101600" dir="2700000" sx="95000" sy="95000" algn="t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b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450"/>
              </a:spcAft>
            </a:pPr>
            <a:r>
              <a:rPr lang="en-US" sz="825" b="1">
                <a:solidFill>
                  <a:srgbClr val="004D2D"/>
                </a:solidFill>
                <a:latin typeface="Neue Haas Grotesk Text Pro" panose="020B0504020202020204" pitchFamily="34" charset="77"/>
                <a:cs typeface="Arial" panose="020B0604020202020204" pitchFamily="34" charset="0"/>
              </a:rPr>
              <a:t>                                    </a:t>
            </a: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746DA524-7F22-465A-6ADD-0C26D660A844}"/>
              </a:ext>
            </a:extLst>
          </p:cNvPr>
          <p:cNvSpPr/>
          <p:nvPr/>
        </p:nvSpPr>
        <p:spPr>
          <a:xfrm>
            <a:off x="6029325" y="1096566"/>
            <a:ext cx="2776537" cy="2950368"/>
          </a:xfrm>
          <a:prstGeom prst="roundRect">
            <a:avLst>
              <a:gd name="adj" fmla="val 9655"/>
            </a:avLst>
          </a:prstGeom>
          <a:solidFill>
            <a:schemeClr val="bg1"/>
          </a:solidFill>
          <a:ln w="3175">
            <a:noFill/>
          </a:ln>
          <a:effectLst>
            <a:outerShdw blurRad="101600" dir="2700000" sx="95000" sy="95000" algn="t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b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450"/>
              </a:spcAft>
            </a:pPr>
            <a:r>
              <a:rPr lang="en-US" sz="825" b="1">
                <a:solidFill>
                  <a:srgbClr val="004D2D"/>
                </a:solidFill>
                <a:latin typeface="Neue Haas Grotesk Text Pro" panose="020B0504020202020204" pitchFamily="34" charset="77"/>
                <a:cs typeface="Arial" panose="020B0604020202020204" pitchFamily="34" charset="0"/>
              </a:rPr>
              <a:t>                                     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C0B8F95D-FC56-C39C-6B89-74365FFBF23F}"/>
              </a:ext>
            </a:extLst>
          </p:cNvPr>
          <p:cNvSpPr/>
          <p:nvPr/>
        </p:nvSpPr>
        <p:spPr>
          <a:xfrm>
            <a:off x="342900" y="1096566"/>
            <a:ext cx="2782490" cy="2950368"/>
          </a:xfrm>
          <a:prstGeom prst="roundRect">
            <a:avLst>
              <a:gd name="adj" fmla="val 9655"/>
            </a:avLst>
          </a:prstGeom>
          <a:solidFill>
            <a:schemeClr val="bg1"/>
          </a:solidFill>
          <a:ln w="3175">
            <a:noFill/>
          </a:ln>
          <a:effectLst>
            <a:outerShdw blurRad="101600" dir="2700000" sx="95000" sy="95000" algn="tl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rIns="34290" rtlCol="0" anchor="b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450"/>
              </a:spcAft>
            </a:pPr>
            <a:r>
              <a:rPr lang="en-US" sz="825" b="1">
                <a:solidFill>
                  <a:srgbClr val="004D2D"/>
                </a:solidFill>
                <a:latin typeface="Neue Haas Grotesk Text Pro" panose="020B0504020202020204" pitchFamily="34" charset="77"/>
                <a:cs typeface="Arial" panose="020B0604020202020204" pitchFamily="34" charset="0"/>
              </a:rPr>
              <a:t>                                    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A7A02C0-F264-BEF4-8656-CA4775379A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Review &amp; Outlook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BB2F6A9-0100-0D5F-E44C-B4D26D4A79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9101" y="2698578"/>
            <a:ext cx="2565320" cy="2027634"/>
          </a:xfrm>
        </p:spPr>
        <p:txBody>
          <a:bodyPr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buNone/>
            </a:pPr>
            <a:r>
              <a:rPr lang="en-US" sz="1050" b="1" dirty="0">
                <a:latin typeface="Neue Haas Grotesk Text Pro" panose="020B0504020202020204" pitchFamily="34" charset="77"/>
                <a:ea typeface="Calibri"/>
              </a:rPr>
              <a:t>Early Research</a:t>
            </a:r>
            <a:r>
              <a:rPr lang="en-US" sz="1050" b="1" dirty="0">
                <a:effectLst/>
                <a:latin typeface="Neue Haas Grotesk Text Pro" panose="020B0504020202020204" pitchFamily="34" charset="77"/>
                <a:ea typeface="Calibri"/>
              </a:rPr>
              <a:t> &amp; Demonstration </a:t>
            </a:r>
            <a:br>
              <a:rPr lang="en-US" sz="1050" b="1" dirty="0">
                <a:effectLst/>
                <a:latin typeface="Neue Haas Grotesk Text Pro" panose="020B0504020202020204" pitchFamily="34" charset="77"/>
                <a:ea typeface="Calibri"/>
              </a:rPr>
            </a:br>
            <a:r>
              <a:rPr lang="en-US" sz="1050" b="1" dirty="0">
                <a:effectLst/>
                <a:latin typeface="Neue Haas Grotesk Text Pro" panose="020B0504020202020204" pitchFamily="34" charset="77"/>
                <a:ea typeface="Calibri"/>
              </a:rPr>
              <a:t>(2018-2023)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buNone/>
            </a:pPr>
            <a:r>
              <a:rPr lang="en-US" sz="825" b="1" dirty="0">
                <a:latin typeface="Neue Haas Grotesk Text Pro" panose="020B0504020202020204" pitchFamily="34" charset="77"/>
                <a:ea typeface="Calibri"/>
              </a:rPr>
              <a:t>Developing </a:t>
            </a:r>
            <a:r>
              <a:rPr lang="en-US" sz="825" b="1" dirty="0">
                <a:effectLst/>
                <a:latin typeface="Neue Haas Grotesk Text Pro" panose="020B0504020202020204" pitchFamily="34" charset="77"/>
                <a:ea typeface="Calibri"/>
              </a:rPr>
              <a:t>a nascent technology</a:t>
            </a:r>
            <a:endParaRPr lang="en-US" sz="825" dirty="0">
              <a:effectLst/>
              <a:latin typeface="Neue Haas Grotesk Text Pro" panose="020B0504020202020204" pitchFamily="34" charset="77"/>
              <a:ea typeface="Calibri"/>
            </a:endParaRPr>
          </a:p>
          <a:p>
            <a:pPr marL="0" indent="0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buNone/>
            </a:pPr>
            <a:r>
              <a:rPr lang="en-US" sz="825" b="1" dirty="0">
                <a:latin typeface="Neue Haas Grotesk Text Pro" panose="020B0504020202020204" pitchFamily="34" charset="77"/>
                <a:ea typeface="Calibri"/>
              </a:rPr>
              <a:t>D</a:t>
            </a:r>
            <a:r>
              <a:rPr lang="en-US" sz="825" b="1" dirty="0">
                <a:effectLst/>
                <a:latin typeface="Neue Haas Grotesk Text Pro" panose="020B0504020202020204" pitchFamily="34" charset="77"/>
                <a:ea typeface="Calibri"/>
              </a:rPr>
              <a:t>emonstrating viability</a:t>
            </a:r>
            <a:endParaRPr lang="en-US" sz="1050" b="1" dirty="0">
              <a:effectLst/>
              <a:latin typeface="Neue Haas Grotesk Text Pro" panose="020B0504020202020204" pitchFamily="34" charset="77"/>
              <a:ea typeface="Calibri" panose="020F0502020204030204" pitchFamily="34" charset="0"/>
            </a:endParaRPr>
          </a:p>
          <a:p>
            <a:pPr marL="0" indent="0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buNone/>
            </a:pPr>
            <a:endParaRPr lang="en-US" sz="1050" dirty="0">
              <a:latin typeface="Neue Haas Grotesk Text Pro" panose="020B0504020202020204" pitchFamily="34" charset="77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EE6AC40-DC3D-D7A1-CBD9-4789F5E5F1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defPPr>
              <a:defRPr lang="en-US"/>
            </a:defPPr>
            <a:lvl1pPr marL="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57175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35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71525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870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285875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4305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00225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algn="l" defTabSz="514350" rtl="0" eaLnBrk="1" latinLnBrk="0" hangingPunct="1">
              <a:defRPr sz="101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D62B0A7-7A19-8C4C-BF0B-AC6965798314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F3417A9D-3CC9-85D3-A699-CAD27DF29598}"/>
              </a:ext>
            </a:extLst>
          </p:cNvPr>
          <p:cNvSpPr txBox="1">
            <a:spLocks/>
          </p:cNvSpPr>
          <p:nvPr/>
        </p:nvSpPr>
        <p:spPr>
          <a:xfrm>
            <a:off x="3267075" y="2698578"/>
            <a:ext cx="2592481" cy="202763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spcAft>
                <a:spcPts val="450"/>
              </a:spcAft>
              <a:buFont typeface="Arial" panose="020B0604020202020204" pitchFamily="34" charset="0"/>
              <a:buNone/>
            </a:pPr>
            <a:r>
              <a:rPr lang="en-US" sz="1050" b="1" dirty="0">
                <a:latin typeface="Neue Haas Grotesk Text Pro" panose="020B0504020202020204" pitchFamily="34" charset="77"/>
                <a:ea typeface="Calibri"/>
              </a:rPr>
              <a:t>Preparing for Scale </a:t>
            </a:r>
            <a:br>
              <a:rPr lang="en-US" sz="1050" b="1" dirty="0">
                <a:latin typeface="Neue Haas Grotesk Text Pro" panose="020B0504020202020204" pitchFamily="34" charset="77"/>
                <a:ea typeface="Calibri"/>
              </a:rPr>
            </a:br>
            <a:r>
              <a:rPr lang="en-US" sz="1050" b="1" dirty="0">
                <a:latin typeface="Neue Haas Grotesk Text Pro" panose="020B0504020202020204" pitchFamily="34" charset="77"/>
                <a:ea typeface="Calibri"/>
              </a:rPr>
              <a:t>(2024-2026)</a:t>
            </a:r>
            <a:endParaRPr lang="en-US" sz="1050" b="1" dirty="0">
              <a:latin typeface="Neue Haas Grotesk Text Pro" panose="020B0504020202020204" pitchFamily="34" charset="77"/>
            </a:endParaRPr>
          </a:p>
          <a:p>
            <a:pPr marL="0" indent="0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</a:pPr>
            <a:r>
              <a:rPr lang="en-US" sz="825" b="1" dirty="0">
                <a:latin typeface="Neue Haas Grotesk Text Pro" panose="020B0504020202020204" pitchFamily="34" charset="77"/>
                <a:ea typeface="Calibri"/>
              </a:rPr>
              <a:t>Applying operational lessons 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</a:pPr>
            <a:r>
              <a:rPr lang="en-US" sz="825" b="1" dirty="0">
                <a:latin typeface="Neue Haas Grotesk Text Pro" panose="020B0504020202020204" pitchFamily="34" charset="77"/>
                <a:ea typeface="Calibri"/>
              </a:rPr>
              <a:t>Piloting next-generation capabilities</a:t>
            </a:r>
            <a:endParaRPr lang="en-US" sz="1050" dirty="0">
              <a:latin typeface="Neue Haas Grotesk Text Pro" panose="020B0504020202020204" pitchFamily="34" charset="77"/>
            </a:endParaRP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AA789744-ABFF-3A5E-2640-5CD70827501F}"/>
              </a:ext>
            </a:extLst>
          </p:cNvPr>
          <p:cNvSpPr txBox="1">
            <a:spLocks/>
          </p:cNvSpPr>
          <p:nvPr/>
        </p:nvSpPr>
        <p:spPr>
          <a:xfrm>
            <a:off x="6134100" y="2698578"/>
            <a:ext cx="2540734" cy="21955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</a:pPr>
            <a:r>
              <a:rPr lang="en-US" sz="1050" b="1" dirty="0">
                <a:latin typeface="Neue Haas Grotesk Text Pro" panose="020B0504020202020204" pitchFamily="34" charset="77"/>
                <a:ea typeface="Calibri"/>
              </a:rPr>
              <a:t>Industrialization</a:t>
            </a:r>
            <a:br>
              <a:rPr lang="en-US" sz="1050" b="1" dirty="0">
                <a:latin typeface="Neue Haas Grotesk Text Pro" panose="020B0504020202020204" pitchFamily="34" charset="77"/>
                <a:ea typeface="Calibri"/>
              </a:rPr>
            </a:br>
            <a:r>
              <a:rPr lang="en-US" sz="1050" b="1" dirty="0">
                <a:latin typeface="Neue Haas Grotesk Text Pro" panose="020B0504020202020204" pitchFamily="34" charset="77"/>
                <a:ea typeface="Calibri"/>
              </a:rPr>
              <a:t>(2026-)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</a:pPr>
            <a:r>
              <a:rPr lang="en-US" sz="825" b="1" dirty="0">
                <a:latin typeface="Neue Haas Grotesk Text Pro" panose="020B0504020202020204" pitchFamily="34" charset="77"/>
                <a:ea typeface="Calibri" panose="020F0502020204030204" pitchFamily="34" charset="0"/>
              </a:rPr>
              <a:t>Serial production</a:t>
            </a:r>
            <a:endParaRPr lang="en-US" sz="825" dirty="0">
              <a:latin typeface="Neue Haas Grotesk Text Pro" panose="020B0504020202020204" pitchFamily="34" charset="77"/>
              <a:ea typeface="Calibri" panose="020F0502020204030204" pitchFamily="34" charset="0"/>
            </a:endParaRPr>
          </a:p>
          <a:p>
            <a:pPr marL="0" indent="0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</a:pPr>
            <a:r>
              <a:rPr lang="en-US" sz="825" b="1" dirty="0">
                <a:latin typeface="Neue Haas Grotesk Text Pro" panose="020B0504020202020204" pitchFamily="34" charset="77"/>
                <a:ea typeface="Calibri" panose="020F0502020204030204" pitchFamily="34" charset="0"/>
              </a:rPr>
              <a:t>Multimodal integration 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buFont typeface="Arial" panose="020B0604020202020204" pitchFamily="34" charset="0"/>
              <a:buNone/>
            </a:pPr>
            <a:r>
              <a:rPr lang="en-US" sz="825" b="1" dirty="0">
                <a:latin typeface="Neue Haas Grotesk Text Pro" panose="020B0504020202020204" pitchFamily="34" charset="77"/>
                <a:ea typeface="Calibri" panose="020F0502020204030204" pitchFamily="34" charset="0"/>
              </a:rPr>
              <a:t>Workforce transitions</a:t>
            </a:r>
            <a:endParaRPr lang="en-US" sz="1050" dirty="0">
              <a:latin typeface="Neue Haas Grotesk Text Pro" panose="020B0504020202020204" pitchFamily="34" charset="77"/>
            </a:endParaRPr>
          </a:p>
        </p:txBody>
      </p:sp>
      <p:pic>
        <p:nvPicPr>
          <p:cNvPr id="4100" name="Picture 4">
            <a:extLst>
              <a:ext uri="{FF2B5EF4-FFF2-40B4-BE49-F238E27FC236}">
                <a16:creationId xmlns:a16="http://schemas.microsoft.com/office/drawing/2014/main" id="{D70F5F8D-9A26-2F3F-B1F4-377BFBD581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 t="3720" b="3720"/>
          <a:stretch/>
        </p:blipFill>
        <p:spPr bwMode="auto">
          <a:xfrm>
            <a:off x="342899" y="1096367"/>
            <a:ext cx="2782490" cy="1448714"/>
          </a:xfrm>
          <a:prstGeom prst="round2SameRect">
            <a:avLst>
              <a:gd name="adj1" fmla="val 17933"/>
              <a:gd name="adj2" fmla="val 0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4" name="Picture 8">
            <a:extLst>
              <a:ext uri="{FF2B5EF4-FFF2-40B4-BE49-F238E27FC236}">
                <a16:creationId xmlns:a16="http://schemas.microsoft.com/office/drawing/2014/main" id="{6F6ECE7F-10A6-1F3F-E711-167A7C79958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/>
          <a:srcRect t="9045" r="2716" b="405"/>
          <a:stretch/>
        </p:blipFill>
        <p:spPr bwMode="auto">
          <a:xfrm>
            <a:off x="6029325" y="1096367"/>
            <a:ext cx="2771144" cy="1448714"/>
          </a:xfrm>
          <a:prstGeom prst="round2SameRect">
            <a:avLst>
              <a:gd name="adj1" fmla="val 15946"/>
              <a:gd name="adj2" fmla="val 0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8" name="Picture 12">
            <a:extLst>
              <a:ext uri="{FF2B5EF4-FFF2-40B4-BE49-F238E27FC236}">
                <a16:creationId xmlns:a16="http://schemas.microsoft.com/office/drawing/2014/main" id="{D4C4B714-CED3-46E2-2AA4-B95E2B328AB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61" t="17664" r="13883" b="17939"/>
          <a:stretch/>
        </p:blipFill>
        <p:spPr bwMode="auto">
          <a:xfrm>
            <a:off x="3189089" y="1096566"/>
            <a:ext cx="2776537" cy="1448515"/>
          </a:xfrm>
          <a:prstGeom prst="round2SameRect">
            <a:avLst>
              <a:gd name="adj1" fmla="val 17552"/>
              <a:gd name="adj2" fmla="val 0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00AE22E-0A41-98DF-E35A-D72D7863A137}"/>
              </a:ext>
            </a:extLst>
          </p:cNvPr>
          <p:cNvSpPr txBox="1"/>
          <p:nvPr/>
        </p:nvSpPr>
        <p:spPr>
          <a:xfrm>
            <a:off x="2290668" y="4572360"/>
            <a:ext cx="4573377" cy="248209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13" dirty="0">
                <a:hlinkClick r:id="rId6"/>
              </a:rPr>
              <a:t>Post | Feed | LinkedIn</a:t>
            </a:r>
            <a:endParaRPr lang="en-US" sz="1013" dirty="0"/>
          </a:p>
        </p:txBody>
      </p:sp>
    </p:spTree>
    <p:extLst>
      <p:ext uri="{BB962C8B-B14F-4D97-AF65-F5344CB8AC3E}">
        <p14:creationId xmlns:p14="http://schemas.microsoft.com/office/powerpoint/2010/main" val="11760830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40000">
        <p:fade/>
      </p:transition>
    </mc:Choice>
    <mc:Fallback>
      <p:transition spd="med" advClick="0" advTm="40000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phelia template">
  <a:themeElements>
    <a:clrScheme name="Custom 347">
      <a:dk1>
        <a:srgbClr val="4D4A56"/>
      </a:dk1>
      <a:lt1>
        <a:srgbClr val="FFFFFF"/>
      </a:lt1>
      <a:dk2>
        <a:srgbClr val="888394"/>
      </a:dk2>
      <a:lt2>
        <a:srgbClr val="E7E7EC"/>
      </a:lt2>
      <a:accent1>
        <a:srgbClr val="ECC1C8"/>
      </a:accent1>
      <a:accent2>
        <a:srgbClr val="E48DA3"/>
      </a:accent2>
      <a:accent3>
        <a:srgbClr val="AEA4CC"/>
      </a:accent3>
      <a:accent4>
        <a:srgbClr val="8F86AC"/>
      </a:accent4>
      <a:accent5>
        <a:srgbClr val="F0DFAE"/>
      </a:accent5>
      <a:accent6>
        <a:srgbClr val="E0B88E"/>
      </a:accent6>
      <a:hlink>
        <a:srgbClr val="4D4A56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Interior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1">
      <a:majorFont>
        <a:latin typeface="Montserrat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HEC Blue Widescreen.pptx" id="{2DC12E0D-CA4A-4CC3-AAFE-7B0F2EFD7898}" vid="{D33DE91D-A1F7-47C1-A18D-D225B65E1E2C}"/>
    </a:ext>
  </a:extLst>
</a:theme>
</file>

<file path=ppt/theme/theme3.xml><?xml version="1.0" encoding="utf-8"?>
<a:theme xmlns:a="http://schemas.openxmlformats.org/drawingml/2006/main" name="DHEC_Photos_Standard">
  <a:themeElements>
    <a:clrScheme name="DHEC colors">
      <a:dk1>
        <a:srgbClr val="00629B"/>
      </a:dk1>
      <a:lt1>
        <a:srgbClr val="FFFFFF"/>
      </a:lt1>
      <a:dk2>
        <a:srgbClr val="44546A"/>
      </a:dk2>
      <a:lt2>
        <a:srgbClr val="E7E6E6"/>
      </a:lt2>
      <a:accent1>
        <a:srgbClr val="00A9CE"/>
      </a:accent1>
      <a:accent2>
        <a:srgbClr val="84BD00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0A9CE"/>
      </a:hlink>
      <a:folHlink>
        <a:srgbClr val="954F72"/>
      </a:folHlink>
    </a:clrScheme>
    <a:fontScheme name="Custom 1">
      <a:majorFont>
        <a:latin typeface="Montserrat"/>
        <a:ea typeface=""/>
        <a:cs typeface=""/>
      </a:majorFont>
      <a:minorFont>
        <a:latin typeface="Open Sans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A3F51287-4672-41F9-A057-8D78352F8B35}" vid="{422EF0E1-A3C6-44BA-9D96-4A2ECC02210D}"/>
    </a:ext>
  </a:extLst>
</a:theme>
</file>

<file path=ppt/theme/theme4.xml><?xml version="1.0" encoding="utf-8"?>
<a:theme xmlns:a="http://schemas.openxmlformats.org/drawingml/2006/main" name="YMCA-Green">
  <a:themeElements>
    <a:clrScheme name="Y-PowerPoint">
      <a:dk1>
        <a:srgbClr val="000000"/>
      </a:dk1>
      <a:lt1>
        <a:srgbClr val="FFFFFF"/>
      </a:lt1>
      <a:dk2>
        <a:srgbClr val="464847"/>
      </a:dk2>
      <a:lt2>
        <a:srgbClr val="FFFFFF"/>
      </a:lt2>
      <a:accent1>
        <a:srgbClr val="F47920"/>
      </a:accent1>
      <a:accent2>
        <a:srgbClr val="ED1C24"/>
      </a:accent2>
      <a:accent3>
        <a:srgbClr val="92278F"/>
      </a:accent3>
      <a:accent4>
        <a:srgbClr val="0089D0"/>
      </a:accent4>
      <a:accent5>
        <a:srgbClr val="01A490"/>
      </a:accent5>
      <a:accent6>
        <a:srgbClr val="464847"/>
      </a:accent6>
      <a:hlink>
        <a:srgbClr val="007CBC"/>
      </a:hlink>
      <a:folHlink>
        <a:srgbClr val="01A490"/>
      </a:folHlink>
    </a:clrScheme>
    <a:fontScheme name="Office Theme">
      <a:majorFont>
        <a:latin typeface="Verdana"/>
        <a:ea typeface="ＭＳ Ｐゴシック"/>
        <a:cs typeface="ＭＳ Ｐゴシック"/>
      </a:majorFont>
      <a:minorFont>
        <a:latin typeface="Verdana"/>
        <a:ea typeface="ＭＳ Ｐゴシック"/>
        <a:cs typeface="ＭＳ Ｐゴシック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Verdana" pitchFamily="64" charset="0"/>
            <a:ea typeface="ＭＳ Ｐゴシック" pitchFamily="64" charset="-128"/>
            <a:cs typeface="ＭＳ Ｐゴシック" pitchFamily="6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Verdana" pitchFamily="64" charset="0"/>
            <a:ea typeface="ＭＳ Ｐゴシック" pitchFamily="64" charset="-128"/>
            <a:cs typeface="ＭＳ Ｐゴシック" pitchFamily="64" charset="-128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ModOverlayVTI">
  <a:themeElements>
    <a:clrScheme name="Custom 50">
      <a:dk1>
        <a:sysClr val="windowText" lastClr="000000"/>
      </a:dk1>
      <a:lt1>
        <a:srgbClr val="F4F2EC"/>
      </a:lt1>
      <a:dk2>
        <a:srgbClr val="09283F"/>
      </a:dk2>
      <a:lt2>
        <a:srgbClr val="FFFFFF"/>
      </a:lt2>
      <a:accent1>
        <a:srgbClr val="3C9A8F"/>
      </a:accent1>
      <a:accent2>
        <a:srgbClr val="18818C"/>
      </a:accent2>
      <a:accent3>
        <a:srgbClr val="800A2F"/>
      </a:accent3>
      <a:accent4>
        <a:srgbClr val="F6635C"/>
      </a:accent4>
      <a:accent5>
        <a:srgbClr val="F48E7C"/>
      </a:accent5>
      <a:accent6>
        <a:srgbClr val="DA9D16"/>
      </a:accent6>
      <a:hlink>
        <a:srgbClr val="ED621D"/>
      </a:hlink>
      <a:folHlink>
        <a:srgbClr val="A18A6D"/>
      </a:folHlink>
    </a:clrScheme>
    <a:fontScheme name="Elephant Arial Nova Light">
      <a:majorFont>
        <a:latin typeface="Elephant"/>
        <a:ea typeface=""/>
        <a:cs typeface=""/>
      </a:majorFont>
      <a:minorFont>
        <a:latin typeface="Arial Nova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odOverlayVTI" id="{85202D65-63D3-4793-A090-FA8DF18DC0BE}" vid="{91924FCD-E846-48AE-B233-F25A78D18B8D}"/>
    </a:ext>
  </a:extLst>
</a:theme>
</file>

<file path=ppt/theme/theme6.xml><?xml version="1.0" encoding="utf-8"?>
<a:theme xmlns:a="http://schemas.openxmlformats.org/drawingml/2006/main" name="2_Office Theme">
  <a:themeElements>
    <a:clrScheme name="Custom 3">
      <a:dk1>
        <a:srgbClr val="000000"/>
      </a:dk1>
      <a:lt1>
        <a:srgbClr val="FFFFFF"/>
      </a:lt1>
      <a:dk2>
        <a:srgbClr val="535659"/>
      </a:dk2>
      <a:lt2>
        <a:srgbClr val="E7E6E6"/>
      </a:lt2>
      <a:accent1>
        <a:srgbClr val="00BF6F"/>
      </a:accent1>
      <a:accent2>
        <a:srgbClr val="004D2C"/>
      </a:accent2>
      <a:accent3>
        <a:srgbClr val="CEE5DB"/>
      </a:accent3>
      <a:accent4>
        <a:srgbClr val="FFE501"/>
      </a:accent4>
      <a:accent5>
        <a:srgbClr val="5B9BD5"/>
      </a:accent5>
      <a:accent6>
        <a:srgbClr val="70AD47"/>
      </a:accent6>
      <a:hlink>
        <a:srgbClr val="00966C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BDBDC8A4DCE9D4B90E2ABFFE714037C" ma:contentTypeVersion="18" ma:contentTypeDescription="Create a new document." ma:contentTypeScope="" ma:versionID="b11576251a79e10e012a1dd943c8df9a">
  <xsd:schema xmlns:xsd="http://www.w3.org/2001/XMLSchema" xmlns:xs="http://www.w3.org/2001/XMLSchema" xmlns:p="http://schemas.microsoft.com/office/2006/metadata/properties" xmlns:ns2="1534a23f-d0cd-4ef3-b36c-f5375c80445c" xmlns:ns3="3b183aac-699a-4125-b6e7-984211f4a549" targetNamespace="http://schemas.microsoft.com/office/2006/metadata/properties" ma:root="true" ma:fieldsID="08fdf583ec835e3aefcb9bfddfc7b383" ns2:_="" ns3:_="">
    <xsd:import namespace="1534a23f-d0cd-4ef3-b36c-f5375c80445c"/>
    <xsd:import namespace="3b183aac-699a-4125-b6e7-984211f4a54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534a23f-d0cd-4ef3-b36c-f5375c80445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a0ab49ec-2853-4106-9827-913de7df177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b183aac-699a-4125-b6e7-984211f4a549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c8cfe6ce-0cb2-4845-ad35-55d8d8a59bb8}" ma:internalName="TaxCatchAll" ma:showField="CatchAllData" ma:web="3b183aac-699a-4125-b6e7-984211f4a54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3b183aac-699a-4125-b6e7-984211f4a549" xsi:nil="true"/>
    <lcf76f155ced4ddcb4097134ff3c332f xmlns="1534a23f-d0cd-4ef3-b36c-f5375c80445c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F18E45CB-ACB7-4FE3-AF04-583765577DE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D898AB1-136A-439D-8762-C8E2530387DD}">
  <ds:schemaRefs>
    <ds:schemaRef ds:uri="1534a23f-d0cd-4ef3-b36c-f5375c80445c"/>
    <ds:schemaRef ds:uri="3b183aac-699a-4125-b6e7-984211f4a54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7059FC80-3ED2-446D-8982-C71F3585D30B}">
  <ds:schemaRefs>
    <ds:schemaRef ds:uri="1534a23f-d0cd-4ef3-b36c-f5375c80445c"/>
    <ds:schemaRef ds:uri="3b183aac-699a-4125-b6e7-984211f4a549"/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0</TotalTime>
  <Words>1155</Words>
  <Application>Microsoft Office PowerPoint</Application>
  <PresentationFormat>On-screen Show (16:9)</PresentationFormat>
  <Paragraphs>265</Paragraphs>
  <Slides>19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9" baseType="lpstr">
      <vt:lpstr>Calibri</vt:lpstr>
      <vt:lpstr>Tenorite</vt:lpstr>
      <vt:lpstr>Verdana</vt:lpstr>
      <vt:lpstr>Tinos</vt:lpstr>
      <vt:lpstr>Elephant</vt:lpstr>
      <vt:lpstr>Playfair Display</vt:lpstr>
      <vt:lpstr>Open Sans</vt:lpstr>
      <vt:lpstr>Century Gothic</vt:lpstr>
      <vt:lpstr>Arial</vt:lpstr>
      <vt:lpstr>Montserrat Medium</vt:lpstr>
      <vt:lpstr>Neue Haas Grotesk Text Pro</vt:lpstr>
      <vt:lpstr>Montserrat</vt:lpstr>
      <vt:lpstr>Arial Nova Light</vt:lpstr>
      <vt:lpstr>Ophelia template</vt:lpstr>
      <vt:lpstr>Interior</vt:lpstr>
      <vt:lpstr>DHEC_Photos_Standard</vt:lpstr>
      <vt:lpstr>YMCA-Green</vt:lpstr>
      <vt:lpstr>ModOverlayVTI</vt:lpstr>
      <vt:lpstr>2_Office Theme</vt:lpstr>
      <vt:lpstr>think-cell Folie</vt:lpstr>
      <vt:lpstr>PowerPoint Presentation</vt:lpstr>
      <vt:lpstr>TATT Chat</vt:lpstr>
      <vt:lpstr>Strategic Focus</vt:lpstr>
      <vt:lpstr>Enabled by Autonomy: The Multi-Passenger Form Factor</vt:lpstr>
      <vt:lpstr>Beyond Physics </vt:lpstr>
      <vt:lpstr>Industry Leadership</vt:lpstr>
      <vt:lpstr>Broad Range Of Use Cases</vt:lpstr>
      <vt:lpstr>U.S. Pilot Programs | Active and Previous</vt:lpstr>
      <vt:lpstr>Review &amp; Outlook</vt:lpstr>
      <vt:lpstr>Beep Next-Generation Shuttle Requirements</vt:lpstr>
      <vt:lpstr>A World-Class Next-Generation Platform</vt:lpstr>
      <vt:lpstr>Integrated Beep AutonomOS™ Service Governance &amp; Passenger Experience</vt:lpstr>
      <vt:lpstr>PowerPoint Presentation</vt:lpstr>
      <vt:lpstr>Brandon Corsentino</vt:lpstr>
      <vt:lpstr>Mary Sunshine House</vt:lpstr>
      <vt:lpstr>Why the need for Mary Sunshine House?</vt:lpstr>
      <vt:lpstr>Mary Sunshine House Programs</vt:lpstr>
      <vt:lpstr>PowerPoint Presentation</vt:lpstr>
      <vt:lpstr>Key Contributors/Investors Updat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ustine Allen</dc:creator>
  <cp:lastModifiedBy>Justine Allen</cp:lastModifiedBy>
  <cp:revision>1</cp:revision>
  <dcterms:modified xsi:type="dcterms:W3CDTF">2024-04-11T17:10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BDBDC8A4DCE9D4B90E2ABFFE714037C</vt:lpwstr>
  </property>
  <property fmtid="{D5CDD505-2E9C-101B-9397-08002B2CF9AE}" pid="3" name="MediaServiceImageTags">
    <vt:lpwstr/>
  </property>
</Properties>
</file>